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2"/>
  </p:notesMasterIdLst>
  <p:sldIdLst>
    <p:sldId id="683" r:id="rId2"/>
    <p:sldId id="682" r:id="rId3"/>
    <p:sldId id="257" r:id="rId4"/>
    <p:sldId id="259" r:id="rId5"/>
    <p:sldId id="261" r:id="rId6"/>
    <p:sldId id="685" r:id="rId7"/>
    <p:sldId id="440" r:id="rId8"/>
    <p:sldId id="441" r:id="rId9"/>
    <p:sldId id="688" r:id="rId10"/>
    <p:sldId id="465" r:id="rId11"/>
    <p:sldId id="694" r:id="rId12"/>
    <p:sldId id="470" r:id="rId13"/>
    <p:sldId id="448" r:id="rId14"/>
    <p:sldId id="687" r:id="rId15"/>
    <p:sldId id="675" r:id="rId16"/>
    <p:sldId id="456" r:id="rId17"/>
    <p:sldId id="442" r:id="rId18"/>
    <p:sldId id="444" r:id="rId19"/>
    <p:sldId id="455" r:id="rId20"/>
    <p:sldId id="696" r:id="rId21"/>
    <p:sldId id="655" r:id="rId22"/>
    <p:sldId id="637" r:id="rId23"/>
    <p:sldId id="692" r:id="rId24"/>
    <p:sldId id="690" r:id="rId25"/>
    <p:sldId id="693" r:id="rId26"/>
    <p:sldId id="697" r:id="rId27"/>
    <p:sldId id="691" r:id="rId28"/>
    <p:sldId id="689" r:id="rId29"/>
    <p:sldId id="447" r:id="rId30"/>
    <p:sldId id="695" r:id="rId31"/>
  </p:sldIdLst>
  <p:sldSz cx="12192000" cy="6858000"/>
  <p:notesSz cx="7053263" cy="9309100"/>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8605"/>
    <a:srgbClr val="D94728"/>
    <a:srgbClr val="8B4A45"/>
    <a:srgbClr val="504789"/>
    <a:srgbClr val="B5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2"/>
    <p:restoredTop sz="94698"/>
  </p:normalViewPr>
  <p:slideViewPr>
    <p:cSldViewPr snapToObjects="1">
      <p:cViewPr varScale="1">
        <p:scale>
          <a:sx n="157" d="100"/>
          <a:sy n="157" d="100"/>
        </p:scale>
        <p:origin x="1816" y="176"/>
      </p:cViewPr>
      <p:guideLst>
        <p:guide orient="horz" pos="2160"/>
        <p:guide pos="3840"/>
      </p:guideLst>
    </p:cSldViewPr>
  </p:slideViewPr>
  <p:notesTextViewPr>
    <p:cViewPr>
      <p:scale>
        <a:sx n="100" d="100"/>
        <a:sy n="100" d="100"/>
      </p:scale>
      <p:origin x="0" y="0"/>
    </p:cViewPr>
  </p:notesTextViewPr>
  <p:sorterViewPr>
    <p:cViewPr>
      <p:scale>
        <a:sx n="56" d="100"/>
        <a:sy n="56" d="100"/>
      </p:scale>
      <p:origin x="0" y="-1644"/>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5938" cy="466725"/>
          </a:xfrm>
          <a:prstGeom prst="rect">
            <a:avLst/>
          </a:prstGeom>
        </p:spPr>
        <p:txBody>
          <a:bodyPr vert="horz" lIns="93475" tIns="46739" rIns="93475" bIns="46739"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95738" y="0"/>
            <a:ext cx="3055937" cy="466725"/>
          </a:xfrm>
          <a:prstGeom prst="rect">
            <a:avLst/>
          </a:prstGeom>
        </p:spPr>
        <p:txBody>
          <a:bodyPr vert="horz" wrap="square" lIns="93475" tIns="46739" rIns="93475" bIns="46739" numCol="1" anchor="t" anchorCtr="0" compatLnSpc="1">
            <a:prstTxWarp prst="textNoShape">
              <a:avLst/>
            </a:prstTxWarp>
          </a:bodyPr>
          <a:lstStyle>
            <a:lvl1pPr algn="r" eaLnBrk="1" hangingPunct="1">
              <a:defRPr sz="1200">
                <a:ea typeface="ＭＳ Ｐゴシック" charset="-128"/>
              </a:defRPr>
            </a:lvl1pPr>
          </a:lstStyle>
          <a:p>
            <a:pPr>
              <a:defRPr/>
            </a:pPr>
            <a:fld id="{82DCE9A3-E37E-47F7-A31D-C5442D287BFD}" type="datetimeFigureOut">
              <a:rPr lang="en-US" altLang="en-US"/>
              <a:pPr>
                <a:defRPr/>
              </a:pPr>
              <a:t>6/25/19</a:t>
            </a:fld>
            <a:endParaRPr lang="en-US" altLang="en-US"/>
          </a:p>
        </p:txBody>
      </p:sp>
      <p:sp>
        <p:nvSpPr>
          <p:cNvPr id="4" name="Slide Image Placeholder 3"/>
          <p:cNvSpPr>
            <a:spLocks noGrp="1" noRot="1" noChangeAspect="1"/>
          </p:cNvSpPr>
          <p:nvPr>
            <p:ph type="sldImg" idx="2"/>
          </p:nvPr>
        </p:nvSpPr>
        <p:spPr>
          <a:xfrm>
            <a:off x="736600" y="1165225"/>
            <a:ext cx="5580063" cy="3140075"/>
          </a:xfrm>
          <a:prstGeom prst="rect">
            <a:avLst/>
          </a:prstGeom>
          <a:noFill/>
          <a:ln w="12700">
            <a:solidFill>
              <a:prstClr val="black"/>
            </a:solidFill>
          </a:ln>
        </p:spPr>
        <p:txBody>
          <a:bodyPr vert="horz" lIns="93475" tIns="46739" rIns="93475" bIns="46739" rtlCol="0" anchor="ctr"/>
          <a:lstStyle/>
          <a:p>
            <a:pPr lvl="0"/>
            <a:endParaRPr lang="en-US" noProof="0"/>
          </a:p>
        </p:txBody>
      </p:sp>
      <p:sp>
        <p:nvSpPr>
          <p:cNvPr id="5" name="Notes Placeholder 4"/>
          <p:cNvSpPr>
            <a:spLocks noGrp="1"/>
          </p:cNvSpPr>
          <p:nvPr>
            <p:ph type="body" sz="quarter" idx="3"/>
          </p:nvPr>
        </p:nvSpPr>
        <p:spPr>
          <a:xfrm>
            <a:off x="704850" y="4479925"/>
            <a:ext cx="5643563" cy="3665538"/>
          </a:xfrm>
          <a:prstGeom prst="rect">
            <a:avLst/>
          </a:prstGeom>
        </p:spPr>
        <p:txBody>
          <a:bodyPr vert="horz" lIns="93475" tIns="46739" rIns="93475" bIns="4673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42375"/>
            <a:ext cx="3055938" cy="466725"/>
          </a:xfrm>
          <a:prstGeom prst="rect">
            <a:avLst/>
          </a:prstGeom>
        </p:spPr>
        <p:txBody>
          <a:bodyPr vert="horz" lIns="93475" tIns="46739" rIns="93475" bIns="46739"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95738" y="8842375"/>
            <a:ext cx="3055937" cy="466725"/>
          </a:xfrm>
          <a:prstGeom prst="rect">
            <a:avLst/>
          </a:prstGeom>
        </p:spPr>
        <p:txBody>
          <a:bodyPr vert="horz" wrap="square" lIns="93475" tIns="46739" rIns="93475" bIns="46739" numCol="1" anchor="b" anchorCtr="0" compatLnSpc="1">
            <a:prstTxWarp prst="textNoShape">
              <a:avLst/>
            </a:prstTxWarp>
          </a:bodyPr>
          <a:lstStyle>
            <a:lvl1pPr algn="r" eaLnBrk="1" hangingPunct="1">
              <a:defRPr sz="1200"/>
            </a:lvl1pPr>
          </a:lstStyle>
          <a:p>
            <a:fld id="{6A8CF205-2C6D-49AC-B739-AF6640031C03}" type="slidenum">
              <a:rPr lang="en-US" altLang="en-US"/>
              <a:pPr/>
              <a:t>‹#›</a:t>
            </a:fld>
            <a:endParaRPr lang="en-US" altLang="en-US"/>
          </a:p>
        </p:txBody>
      </p:sp>
    </p:spTree>
    <p:extLst>
      <p:ext uri="{BB962C8B-B14F-4D97-AF65-F5344CB8AC3E}">
        <p14:creationId xmlns:p14="http://schemas.microsoft.com/office/powerpoint/2010/main" val="33750178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8CF205-2C6D-49AC-B739-AF6640031C03}" type="slidenum">
              <a:rPr lang="en-US" altLang="en-US" smtClean="0"/>
              <a:pPr/>
              <a:t>2</a:t>
            </a:fld>
            <a:endParaRPr lang="en-US" altLang="en-US"/>
          </a:p>
        </p:txBody>
      </p:sp>
    </p:spTree>
    <p:extLst>
      <p:ext uri="{BB962C8B-B14F-4D97-AF65-F5344CB8AC3E}">
        <p14:creationId xmlns:p14="http://schemas.microsoft.com/office/powerpoint/2010/main" val="10120359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de-DE"/>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e-DE"/>
          </a:p>
        </p:txBody>
      </p:sp>
      <p:sp>
        <p:nvSpPr>
          <p:cNvPr id="4" name="Date Placeholder 3"/>
          <p:cNvSpPr>
            <a:spLocks noGrp="1"/>
          </p:cNvSpPr>
          <p:nvPr>
            <p:ph type="dt" sz="half" idx="10"/>
          </p:nvPr>
        </p:nvSpPr>
        <p:spPr/>
        <p:txBody>
          <a:bodyPr/>
          <a:lstStyle>
            <a:lvl1pPr>
              <a:defRPr/>
            </a:lvl1pPr>
          </a:lstStyle>
          <a:p>
            <a:pPr>
              <a:defRPr/>
            </a:pPr>
            <a:fld id="{33927D01-F71B-4B56-AC61-9628D8CC0434}" type="datetime1">
              <a:rPr lang="en-US" altLang="en-US" smtClean="0"/>
              <a:t>6/25/19</a:t>
            </a:fld>
            <a:endParaRPr lang="de-DE" altLang="en-US"/>
          </a:p>
        </p:txBody>
      </p:sp>
      <p:sp>
        <p:nvSpPr>
          <p:cNvPr id="5" name="Footer Placeholder 4"/>
          <p:cNvSpPr>
            <a:spLocks noGrp="1"/>
          </p:cNvSpPr>
          <p:nvPr>
            <p:ph type="ftr" sz="quarter" idx="11"/>
          </p:nvPr>
        </p:nvSpPr>
        <p:spPr>
          <a:xfrm>
            <a:off x="2844800" y="6416676"/>
            <a:ext cx="6299200" cy="365125"/>
          </a:xfrm>
        </p:spPr>
        <p:txBody>
          <a:bodyPr/>
          <a:lstStyle>
            <a:lvl2pPr lvl="1">
              <a:defRPr/>
            </a:lvl2pPr>
          </a:lstStyle>
          <a:p>
            <a:pPr lvl="1">
              <a:defRPr/>
            </a:pPr>
            <a:r>
              <a:rPr lang="en-US"/>
              <a:t>2019 ®Equal1 Proprietary &amp; Confidential</a:t>
            </a:r>
            <a:endParaRPr lang="de-DE"/>
          </a:p>
        </p:txBody>
      </p:sp>
      <p:sp>
        <p:nvSpPr>
          <p:cNvPr id="6" name="Slide Number Placeholder 5"/>
          <p:cNvSpPr>
            <a:spLocks noGrp="1"/>
          </p:cNvSpPr>
          <p:nvPr>
            <p:ph type="sldNum" sz="quarter" idx="12"/>
          </p:nvPr>
        </p:nvSpPr>
        <p:spPr/>
        <p:txBody>
          <a:bodyPr/>
          <a:lstStyle>
            <a:lvl1pPr>
              <a:defRPr/>
            </a:lvl1pPr>
          </a:lstStyle>
          <a:p>
            <a:fld id="{C56D64AA-2DE7-4DF6-B656-5B8988A5DEAE}" type="slidenum">
              <a:rPr lang="de-DE" altLang="en-US"/>
              <a:pPr/>
              <a:t>‹#›</a:t>
            </a:fld>
            <a:endParaRPr lang="de-DE" altLang="en-US"/>
          </a:p>
        </p:txBody>
      </p:sp>
    </p:spTree>
    <p:extLst>
      <p:ext uri="{BB962C8B-B14F-4D97-AF65-F5344CB8AC3E}">
        <p14:creationId xmlns:p14="http://schemas.microsoft.com/office/powerpoint/2010/main" val="21961877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lvl1pPr>
              <a:defRPr/>
            </a:lvl1pPr>
          </a:lstStyle>
          <a:p>
            <a:pPr>
              <a:defRPr/>
            </a:pPr>
            <a:fld id="{D8B81F8E-08D1-4F5D-82BB-F888E3B60CB1}" type="datetime1">
              <a:rPr lang="en-US" altLang="en-US" smtClean="0"/>
              <a:t>6/25/19</a:t>
            </a:fld>
            <a:endParaRPr lang="de-DE" altLang="en-US"/>
          </a:p>
        </p:txBody>
      </p:sp>
      <p:sp>
        <p:nvSpPr>
          <p:cNvPr id="5" name="Footer Placeholder 4"/>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6" name="Slide Number Placeholder 5"/>
          <p:cNvSpPr>
            <a:spLocks noGrp="1"/>
          </p:cNvSpPr>
          <p:nvPr>
            <p:ph type="sldNum" sz="quarter" idx="12"/>
          </p:nvPr>
        </p:nvSpPr>
        <p:spPr/>
        <p:txBody>
          <a:bodyPr/>
          <a:lstStyle>
            <a:lvl1pPr>
              <a:defRPr/>
            </a:lvl1pPr>
          </a:lstStyle>
          <a:p>
            <a:fld id="{5E329080-EC26-4376-B2AB-782801D2C1CB}" type="slidenum">
              <a:rPr lang="de-DE" altLang="en-US"/>
              <a:pPr/>
              <a:t>‹#›</a:t>
            </a:fld>
            <a:endParaRPr lang="de-DE" altLang="en-US"/>
          </a:p>
        </p:txBody>
      </p:sp>
    </p:spTree>
    <p:extLst>
      <p:ext uri="{BB962C8B-B14F-4D97-AF65-F5344CB8AC3E}">
        <p14:creationId xmlns:p14="http://schemas.microsoft.com/office/powerpoint/2010/main" val="1164358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lvl1pPr>
              <a:defRPr/>
            </a:lvl1pPr>
          </a:lstStyle>
          <a:p>
            <a:pPr>
              <a:defRPr/>
            </a:pPr>
            <a:fld id="{E2263A2F-D191-426B-977B-7C3FCC6E65E9}" type="datetime1">
              <a:rPr lang="en-US" altLang="en-US" smtClean="0"/>
              <a:t>6/25/19</a:t>
            </a:fld>
            <a:endParaRPr lang="de-DE" altLang="en-US"/>
          </a:p>
        </p:txBody>
      </p:sp>
      <p:sp>
        <p:nvSpPr>
          <p:cNvPr id="5" name="Footer Placeholder 4"/>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6" name="Slide Number Placeholder 5"/>
          <p:cNvSpPr>
            <a:spLocks noGrp="1"/>
          </p:cNvSpPr>
          <p:nvPr>
            <p:ph type="sldNum" sz="quarter" idx="12"/>
          </p:nvPr>
        </p:nvSpPr>
        <p:spPr/>
        <p:txBody>
          <a:bodyPr/>
          <a:lstStyle>
            <a:lvl1pPr>
              <a:defRPr/>
            </a:lvl1pPr>
          </a:lstStyle>
          <a:p>
            <a:fld id="{8C880F97-B3EB-4429-9D18-8460D6612DA3}" type="slidenum">
              <a:rPr lang="de-DE" altLang="en-US"/>
              <a:pPr/>
              <a:t>‹#›</a:t>
            </a:fld>
            <a:endParaRPr lang="de-DE" altLang="en-US"/>
          </a:p>
        </p:txBody>
      </p:sp>
    </p:spTree>
    <p:extLst>
      <p:ext uri="{BB962C8B-B14F-4D97-AF65-F5344CB8AC3E}">
        <p14:creationId xmlns:p14="http://schemas.microsoft.com/office/powerpoint/2010/main" val="198694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lvl1pPr>
              <a:defRPr/>
            </a:lvl1pPr>
          </a:lstStyle>
          <a:p>
            <a:pPr>
              <a:defRPr/>
            </a:pPr>
            <a:fld id="{E3750F17-1B4E-484E-9FE8-2CF722A8E123}" type="datetime1">
              <a:rPr lang="en-US" altLang="en-US" smtClean="0"/>
              <a:t>6/25/19</a:t>
            </a:fld>
            <a:endParaRPr lang="de-DE" altLang="en-US"/>
          </a:p>
        </p:txBody>
      </p:sp>
      <p:sp>
        <p:nvSpPr>
          <p:cNvPr id="5" name="Footer Placeholder 4"/>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6" name="Slide Number Placeholder 5"/>
          <p:cNvSpPr>
            <a:spLocks noGrp="1"/>
          </p:cNvSpPr>
          <p:nvPr>
            <p:ph type="sldNum" sz="quarter" idx="12"/>
          </p:nvPr>
        </p:nvSpPr>
        <p:spPr/>
        <p:txBody>
          <a:bodyPr/>
          <a:lstStyle>
            <a:lvl1pPr>
              <a:defRPr/>
            </a:lvl1pPr>
          </a:lstStyle>
          <a:p>
            <a:fld id="{BDDA4418-520B-4E43-A742-115F1EFE0E3F}" type="slidenum">
              <a:rPr lang="de-DE" altLang="en-US"/>
              <a:pPr/>
              <a:t>‹#›</a:t>
            </a:fld>
            <a:endParaRPr lang="de-DE" altLang="en-US"/>
          </a:p>
        </p:txBody>
      </p:sp>
    </p:spTree>
    <p:extLst>
      <p:ext uri="{BB962C8B-B14F-4D97-AF65-F5344CB8AC3E}">
        <p14:creationId xmlns:p14="http://schemas.microsoft.com/office/powerpoint/2010/main" val="3694225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de-DE"/>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F4AC988B-B4D3-47F9-B428-0CA2132D4D1E}" type="datetime1">
              <a:rPr lang="en-US" altLang="en-US" smtClean="0"/>
              <a:t>6/25/19</a:t>
            </a:fld>
            <a:endParaRPr lang="de-DE" altLang="en-US"/>
          </a:p>
        </p:txBody>
      </p:sp>
      <p:sp>
        <p:nvSpPr>
          <p:cNvPr id="5" name="Footer Placeholder 4"/>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6" name="Slide Number Placeholder 5"/>
          <p:cNvSpPr>
            <a:spLocks noGrp="1"/>
          </p:cNvSpPr>
          <p:nvPr>
            <p:ph type="sldNum" sz="quarter" idx="12"/>
          </p:nvPr>
        </p:nvSpPr>
        <p:spPr/>
        <p:txBody>
          <a:bodyPr/>
          <a:lstStyle>
            <a:lvl1pPr>
              <a:defRPr/>
            </a:lvl1pPr>
          </a:lstStyle>
          <a:p>
            <a:fld id="{4B429F45-EE42-4D96-B28A-A327C39D6CFF}" type="slidenum">
              <a:rPr lang="de-DE" altLang="en-US"/>
              <a:pPr/>
              <a:t>‹#›</a:t>
            </a:fld>
            <a:endParaRPr lang="de-DE" altLang="en-US"/>
          </a:p>
        </p:txBody>
      </p:sp>
    </p:spTree>
    <p:extLst>
      <p:ext uri="{BB962C8B-B14F-4D97-AF65-F5344CB8AC3E}">
        <p14:creationId xmlns:p14="http://schemas.microsoft.com/office/powerpoint/2010/main" val="2550388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lvl1pPr>
              <a:defRPr/>
            </a:lvl1pPr>
          </a:lstStyle>
          <a:p>
            <a:pPr>
              <a:defRPr/>
            </a:pPr>
            <a:fld id="{D9913A55-6D75-48C4-8F59-AA4962625202}" type="datetime1">
              <a:rPr lang="en-US" altLang="en-US" smtClean="0"/>
              <a:t>6/25/19</a:t>
            </a:fld>
            <a:endParaRPr lang="de-DE" altLang="en-US"/>
          </a:p>
        </p:txBody>
      </p:sp>
      <p:sp>
        <p:nvSpPr>
          <p:cNvPr id="6" name="Footer Placeholder 5"/>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7" name="Slide Number Placeholder 6"/>
          <p:cNvSpPr>
            <a:spLocks noGrp="1"/>
          </p:cNvSpPr>
          <p:nvPr>
            <p:ph type="sldNum" sz="quarter" idx="12"/>
          </p:nvPr>
        </p:nvSpPr>
        <p:spPr/>
        <p:txBody>
          <a:bodyPr/>
          <a:lstStyle>
            <a:lvl1pPr>
              <a:defRPr/>
            </a:lvl1pPr>
          </a:lstStyle>
          <a:p>
            <a:fld id="{AA09FCC1-8665-406A-8203-E1421C5CBAA1}" type="slidenum">
              <a:rPr lang="de-DE" altLang="en-US"/>
              <a:pPr/>
              <a:t>‹#›</a:t>
            </a:fld>
            <a:endParaRPr lang="de-DE" altLang="en-US"/>
          </a:p>
        </p:txBody>
      </p:sp>
    </p:spTree>
    <p:extLst>
      <p:ext uri="{BB962C8B-B14F-4D97-AF65-F5344CB8AC3E}">
        <p14:creationId xmlns:p14="http://schemas.microsoft.com/office/powerpoint/2010/main" val="174852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de-DE"/>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lvl1pPr>
              <a:defRPr/>
            </a:lvl1pPr>
          </a:lstStyle>
          <a:p>
            <a:pPr>
              <a:defRPr/>
            </a:pPr>
            <a:fld id="{5C3679FF-69FA-42C2-9786-5F3C6C32C821}" type="datetime1">
              <a:rPr lang="en-US" altLang="en-US" smtClean="0"/>
              <a:t>6/25/19</a:t>
            </a:fld>
            <a:endParaRPr lang="de-DE" altLang="en-US"/>
          </a:p>
        </p:txBody>
      </p:sp>
      <p:sp>
        <p:nvSpPr>
          <p:cNvPr id="8" name="Footer Placeholder 7"/>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9" name="Slide Number Placeholder 8"/>
          <p:cNvSpPr>
            <a:spLocks noGrp="1"/>
          </p:cNvSpPr>
          <p:nvPr>
            <p:ph type="sldNum" sz="quarter" idx="12"/>
          </p:nvPr>
        </p:nvSpPr>
        <p:spPr/>
        <p:txBody>
          <a:bodyPr/>
          <a:lstStyle>
            <a:lvl1pPr>
              <a:defRPr/>
            </a:lvl1pPr>
          </a:lstStyle>
          <a:p>
            <a:fld id="{12F5D821-1255-4642-894F-10B197C8BAA7}" type="slidenum">
              <a:rPr lang="de-DE" altLang="en-US"/>
              <a:pPr/>
              <a:t>‹#›</a:t>
            </a:fld>
            <a:endParaRPr lang="de-DE" altLang="en-US"/>
          </a:p>
        </p:txBody>
      </p:sp>
    </p:spTree>
    <p:extLst>
      <p:ext uri="{BB962C8B-B14F-4D97-AF65-F5344CB8AC3E}">
        <p14:creationId xmlns:p14="http://schemas.microsoft.com/office/powerpoint/2010/main" val="310877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lvl1pPr>
              <a:defRPr/>
            </a:lvl1pPr>
          </a:lstStyle>
          <a:p>
            <a:pPr>
              <a:defRPr/>
            </a:pPr>
            <a:fld id="{08703422-BCFB-4B2A-AB83-CA3CA44B285B}" type="datetime1">
              <a:rPr lang="en-US" altLang="en-US" smtClean="0"/>
              <a:t>6/25/19</a:t>
            </a:fld>
            <a:endParaRPr lang="de-DE" altLang="en-US"/>
          </a:p>
        </p:txBody>
      </p:sp>
      <p:sp>
        <p:nvSpPr>
          <p:cNvPr id="4" name="Footer Placeholder 3"/>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5" name="Slide Number Placeholder 4"/>
          <p:cNvSpPr>
            <a:spLocks noGrp="1"/>
          </p:cNvSpPr>
          <p:nvPr>
            <p:ph type="sldNum" sz="quarter" idx="12"/>
          </p:nvPr>
        </p:nvSpPr>
        <p:spPr/>
        <p:txBody>
          <a:bodyPr/>
          <a:lstStyle>
            <a:lvl1pPr>
              <a:defRPr/>
            </a:lvl1pPr>
          </a:lstStyle>
          <a:p>
            <a:fld id="{F361C7F4-5D2F-49D8-A453-F35AF34BAD78}" type="slidenum">
              <a:rPr lang="de-DE" altLang="en-US"/>
              <a:pPr/>
              <a:t>‹#›</a:t>
            </a:fld>
            <a:endParaRPr lang="de-DE" altLang="en-US"/>
          </a:p>
        </p:txBody>
      </p:sp>
    </p:spTree>
    <p:extLst>
      <p:ext uri="{BB962C8B-B14F-4D97-AF65-F5344CB8AC3E}">
        <p14:creationId xmlns:p14="http://schemas.microsoft.com/office/powerpoint/2010/main" val="1349184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B5963182-3E80-4852-86DD-258C32C9A54C}" type="datetime1">
              <a:rPr lang="en-US" altLang="en-US" smtClean="0"/>
              <a:t>6/25/19</a:t>
            </a:fld>
            <a:endParaRPr lang="de-DE" altLang="en-US"/>
          </a:p>
        </p:txBody>
      </p:sp>
      <p:sp>
        <p:nvSpPr>
          <p:cNvPr id="3" name="Footer Placeholder 2"/>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4" name="Slide Number Placeholder 3"/>
          <p:cNvSpPr>
            <a:spLocks noGrp="1"/>
          </p:cNvSpPr>
          <p:nvPr>
            <p:ph type="sldNum" sz="quarter" idx="12"/>
          </p:nvPr>
        </p:nvSpPr>
        <p:spPr/>
        <p:txBody>
          <a:bodyPr/>
          <a:lstStyle>
            <a:lvl1pPr>
              <a:defRPr/>
            </a:lvl1pPr>
          </a:lstStyle>
          <a:p>
            <a:fld id="{1E6FB0AE-3456-4B8D-BA56-67BDEB594AE1}" type="slidenum">
              <a:rPr lang="de-DE" altLang="en-US"/>
              <a:pPr/>
              <a:t>‹#›</a:t>
            </a:fld>
            <a:endParaRPr lang="de-DE" altLang="en-US"/>
          </a:p>
        </p:txBody>
      </p:sp>
    </p:spTree>
    <p:extLst>
      <p:ext uri="{BB962C8B-B14F-4D97-AF65-F5344CB8AC3E}">
        <p14:creationId xmlns:p14="http://schemas.microsoft.com/office/powerpoint/2010/main" val="2975626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de-DE"/>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fld id="{0AD60FF7-BEC7-4E99-9F2C-B07E980FC0B1}" type="datetime1">
              <a:rPr lang="en-US" altLang="en-US" smtClean="0"/>
              <a:t>6/25/19</a:t>
            </a:fld>
            <a:endParaRPr lang="de-DE" altLang="en-US"/>
          </a:p>
        </p:txBody>
      </p:sp>
      <p:sp>
        <p:nvSpPr>
          <p:cNvPr id="6" name="Footer Placeholder 5"/>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7" name="Slide Number Placeholder 6"/>
          <p:cNvSpPr>
            <a:spLocks noGrp="1"/>
          </p:cNvSpPr>
          <p:nvPr>
            <p:ph type="sldNum" sz="quarter" idx="12"/>
          </p:nvPr>
        </p:nvSpPr>
        <p:spPr/>
        <p:txBody>
          <a:bodyPr/>
          <a:lstStyle>
            <a:lvl1pPr>
              <a:defRPr/>
            </a:lvl1pPr>
          </a:lstStyle>
          <a:p>
            <a:fld id="{A34BF7A0-6DDA-46A6-9951-8138D6E54660}" type="slidenum">
              <a:rPr lang="de-DE" altLang="en-US"/>
              <a:pPr/>
              <a:t>‹#›</a:t>
            </a:fld>
            <a:endParaRPr lang="de-DE" altLang="en-US"/>
          </a:p>
        </p:txBody>
      </p:sp>
    </p:spTree>
    <p:extLst>
      <p:ext uri="{BB962C8B-B14F-4D97-AF65-F5344CB8AC3E}">
        <p14:creationId xmlns:p14="http://schemas.microsoft.com/office/powerpoint/2010/main" val="4213689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de-DE"/>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fld id="{01999CD4-9BF3-424A-9EFB-3D3270B1E608}" type="datetime1">
              <a:rPr lang="en-US" altLang="en-US" smtClean="0"/>
              <a:t>6/25/19</a:t>
            </a:fld>
            <a:endParaRPr lang="de-DE" altLang="en-US"/>
          </a:p>
        </p:txBody>
      </p:sp>
      <p:sp>
        <p:nvSpPr>
          <p:cNvPr id="6" name="Footer Placeholder 5"/>
          <p:cNvSpPr>
            <a:spLocks noGrp="1"/>
          </p:cNvSpPr>
          <p:nvPr>
            <p:ph type="ftr" sz="quarter" idx="11"/>
          </p:nvPr>
        </p:nvSpPr>
        <p:spPr/>
        <p:txBody>
          <a:bodyPr wrap="square" numCol="1" anchorCtr="0" compatLnSpc="1">
            <a:prstTxWarp prst="textNoShape">
              <a:avLst/>
            </a:prstTxWarp>
          </a:bodyPr>
          <a:lstStyle>
            <a:lvl1pPr eaLnBrk="1" hangingPunct="1">
              <a:defRPr>
                <a:solidFill>
                  <a:srgbClr val="898989"/>
                </a:solidFill>
                <a:ea typeface="ＭＳ Ｐゴシック" charset="-128"/>
              </a:defRPr>
            </a:lvl1pPr>
          </a:lstStyle>
          <a:p>
            <a:pPr>
              <a:defRPr/>
            </a:pPr>
            <a:r>
              <a:rPr lang="de-DE" altLang="en-US"/>
              <a:t>2019 ®Equal1 Proprietary &amp; Confidential</a:t>
            </a:r>
          </a:p>
        </p:txBody>
      </p:sp>
      <p:sp>
        <p:nvSpPr>
          <p:cNvPr id="7" name="Slide Number Placeholder 6"/>
          <p:cNvSpPr>
            <a:spLocks noGrp="1"/>
          </p:cNvSpPr>
          <p:nvPr>
            <p:ph type="sldNum" sz="quarter" idx="12"/>
          </p:nvPr>
        </p:nvSpPr>
        <p:spPr/>
        <p:txBody>
          <a:bodyPr/>
          <a:lstStyle>
            <a:lvl1pPr>
              <a:defRPr/>
            </a:lvl1pPr>
          </a:lstStyle>
          <a:p>
            <a:fld id="{11D07334-CCCA-47B5-8259-E5EBF6560688}" type="slidenum">
              <a:rPr lang="de-DE" altLang="en-US"/>
              <a:pPr/>
              <a:t>‹#›</a:t>
            </a:fld>
            <a:endParaRPr lang="de-DE" altLang="en-US"/>
          </a:p>
        </p:txBody>
      </p:sp>
    </p:spTree>
    <p:extLst>
      <p:ext uri="{BB962C8B-B14F-4D97-AF65-F5344CB8AC3E}">
        <p14:creationId xmlns:p14="http://schemas.microsoft.com/office/powerpoint/2010/main" val="3187974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de-DE" altLang="en-US"/>
          </a:p>
        </p:txBody>
      </p:sp>
      <p:sp>
        <p:nvSpPr>
          <p:cNvPr id="1027" name="Text Placeholder 2"/>
          <p:cNvSpPr>
            <a:spLocks noGrp="1"/>
          </p:cNvSpPr>
          <p:nvPr>
            <p:ph type="body" idx="1"/>
          </p:nvPr>
        </p:nvSpPr>
        <p:spPr bwMode="auto">
          <a:xfrm>
            <a:off x="609600" y="990600"/>
            <a:ext cx="10972800" cy="536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de-DE" altLang="en-US"/>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ea typeface="ＭＳ Ｐゴシック" charset="-128"/>
              </a:defRPr>
            </a:lvl1pPr>
          </a:lstStyle>
          <a:p>
            <a:pPr>
              <a:defRPr/>
            </a:pPr>
            <a:fld id="{9A4580D8-529F-4017-9EDF-C7F4A8589A4A}" type="datetime1">
              <a:rPr lang="en-US" altLang="en-US" smtClean="0"/>
              <a:t>6/25/19</a:t>
            </a:fld>
            <a:endParaRPr lang="de-DE" altLang="en-US"/>
          </a:p>
        </p:txBody>
      </p:sp>
      <p:sp>
        <p:nvSpPr>
          <p:cNvPr id="5" name="Footer Placeholder 4"/>
          <p:cNvSpPr>
            <a:spLocks noGrp="1"/>
          </p:cNvSpPr>
          <p:nvPr>
            <p:ph type="ftr" sz="quarter" idx="3"/>
          </p:nvPr>
        </p:nvSpPr>
        <p:spPr>
          <a:xfrm>
            <a:off x="3251200" y="6416676"/>
            <a:ext cx="5892800" cy="365125"/>
          </a:xfrm>
          <a:prstGeom prst="rect">
            <a:avLst/>
          </a:prstGeom>
        </p:spPr>
        <p:txBody>
          <a:bodyPr vert="horz" lIns="91440" tIns="45720" rIns="91440" bIns="45720" rtlCol="0" anchor="ctr"/>
          <a:lstStyle>
            <a:lvl1pPr algn="ctr">
              <a:defRPr sz="1200">
                <a:solidFill>
                  <a:schemeClr val="tx1">
                    <a:tint val="75000"/>
                  </a:schemeClr>
                </a:solidFill>
              </a:defRPr>
            </a:lvl1pPr>
            <a:lvl2pPr marL="0" lvl="1" algn="ctr" eaLnBrk="1" fontAlgn="auto" hangingPunct="1">
              <a:spcBef>
                <a:spcPts val="0"/>
              </a:spcBef>
              <a:spcAft>
                <a:spcPts val="0"/>
              </a:spcAft>
              <a:defRPr sz="1400">
                <a:latin typeface="+mn-lt"/>
                <a:ea typeface="+mn-ea"/>
                <a:cs typeface="+mn-cs"/>
              </a:defRPr>
            </a:lvl2pPr>
          </a:lstStyle>
          <a:p>
            <a:pPr lvl="1">
              <a:defRPr/>
            </a:pPr>
            <a:r>
              <a:rPr lang="en-US"/>
              <a:t>2019 ®Equal1 Proprietary &amp; Confidential</a:t>
            </a:r>
            <a:endParaRPr lang="de-DE" sz="120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55021B49-A465-4D7E-BDC8-C13E78F9B4E7}" type="slidenum">
              <a:rPr lang="de-DE" altLang="en-US"/>
              <a:pPr/>
              <a:t>‹#›</a:t>
            </a:fld>
            <a:endParaRPr lang="de-DE" altLang="en-US"/>
          </a:p>
        </p:txBody>
      </p:sp>
      <p:cxnSp>
        <p:nvCxnSpPr>
          <p:cNvPr id="8" name="Straight Connector 7"/>
          <p:cNvCxnSpPr>
            <a:cxnSpLocks noChangeShapeType="1"/>
          </p:cNvCxnSpPr>
          <p:nvPr/>
        </p:nvCxnSpPr>
        <p:spPr bwMode="auto">
          <a:xfrm>
            <a:off x="0" y="990600"/>
            <a:ext cx="12192000" cy="1588"/>
          </a:xfrm>
          <a:prstGeom prst="line">
            <a:avLst/>
          </a:prstGeom>
          <a:noFill/>
          <a:ln w="63500">
            <a:solidFill>
              <a:srgbClr val="93CDDD"/>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1" name="Straight Connector 10"/>
          <p:cNvCxnSpPr>
            <a:cxnSpLocks noChangeShapeType="1"/>
          </p:cNvCxnSpPr>
          <p:nvPr/>
        </p:nvCxnSpPr>
        <p:spPr bwMode="auto">
          <a:xfrm>
            <a:off x="0" y="6356350"/>
            <a:ext cx="12192000" cy="1588"/>
          </a:xfrm>
          <a:prstGeom prst="line">
            <a:avLst/>
          </a:prstGeom>
          <a:noFill/>
          <a:ln w="63500">
            <a:solidFill>
              <a:srgbClr val="93CDDD"/>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Tree>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Lst>
  <p:hf hdr="0" dt="0"/>
  <p:txStyles>
    <p:titleStyle>
      <a:lvl1pPr algn="ctr" defTabSz="457200" rtl="0" eaLnBrk="0" fontAlgn="base" hangingPunct="0">
        <a:spcBef>
          <a:spcPct val="0"/>
        </a:spcBef>
        <a:spcAft>
          <a:spcPct val="0"/>
        </a:spcAft>
        <a:defRPr sz="2400" b="1" kern="1200">
          <a:solidFill>
            <a:schemeClr val="tx1"/>
          </a:solidFill>
          <a:latin typeface="Arial"/>
          <a:ea typeface="ＭＳ Ｐゴシック" charset="0"/>
          <a:cs typeface="Arial"/>
        </a:defRPr>
      </a:lvl1pPr>
      <a:lvl2pPr algn="ctr" defTabSz="457200" rtl="0" eaLnBrk="0" fontAlgn="base" hangingPunct="0">
        <a:spcBef>
          <a:spcPct val="0"/>
        </a:spcBef>
        <a:spcAft>
          <a:spcPct val="0"/>
        </a:spcAft>
        <a:defRPr sz="2400" b="1">
          <a:solidFill>
            <a:schemeClr val="tx1"/>
          </a:solidFill>
          <a:latin typeface="Arial" charset="0"/>
          <a:ea typeface="ＭＳ Ｐゴシック" charset="0"/>
          <a:cs typeface="Arial" charset="0"/>
        </a:defRPr>
      </a:lvl2pPr>
      <a:lvl3pPr algn="ctr" defTabSz="457200" rtl="0" eaLnBrk="0" fontAlgn="base" hangingPunct="0">
        <a:spcBef>
          <a:spcPct val="0"/>
        </a:spcBef>
        <a:spcAft>
          <a:spcPct val="0"/>
        </a:spcAft>
        <a:defRPr sz="2400" b="1">
          <a:solidFill>
            <a:schemeClr val="tx1"/>
          </a:solidFill>
          <a:latin typeface="Arial" charset="0"/>
          <a:ea typeface="ＭＳ Ｐゴシック" charset="0"/>
          <a:cs typeface="Arial" charset="0"/>
        </a:defRPr>
      </a:lvl3pPr>
      <a:lvl4pPr algn="ctr" defTabSz="457200" rtl="0" eaLnBrk="0" fontAlgn="base" hangingPunct="0">
        <a:spcBef>
          <a:spcPct val="0"/>
        </a:spcBef>
        <a:spcAft>
          <a:spcPct val="0"/>
        </a:spcAft>
        <a:defRPr sz="2400" b="1">
          <a:solidFill>
            <a:schemeClr val="tx1"/>
          </a:solidFill>
          <a:latin typeface="Arial" charset="0"/>
          <a:ea typeface="ＭＳ Ｐゴシック" charset="0"/>
          <a:cs typeface="Arial" charset="0"/>
        </a:defRPr>
      </a:lvl4pPr>
      <a:lvl5pPr algn="ctr" defTabSz="457200" rtl="0" eaLnBrk="0" fontAlgn="base" hangingPunct="0">
        <a:spcBef>
          <a:spcPct val="0"/>
        </a:spcBef>
        <a:spcAft>
          <a:spcPct val="0"/>
        </a:spcAft>
        <a:defRPr sz="2400" b="1">
          <a:solidFill>
            <a:schemeClr val="tx1"/>
          </a:solidFill>
          <a:latin typeface="Arial" charset="0"/>
          <a:ea typeface="ＭＳ Ｐゴシック" charset="0"/>
          <a:cs typeface="Arial" charset="0"/>
        </a:defRPr>
      </a:lvl5pPr>
      <a:lvl6pPr marL="457200" algn="ctr" defTabSz="457200" rtl="0" fontAlgn="base">
        <a:spcBef>
          <a:spcPct val="0"/>
        </a:spcBef>
        <a:spcAft>
          <a:spcPct val="0"/>
        </a:spcAft>
        <a:defRPr sz="2400" b="1">
          <a:solidFill>
            <a:schemeClr val="tx1"/>
          </a:solidFill>
          <a:latin typeface="Arial" charset="0"/>
          <a:ea typeface="ＭＳ Ｐゴシック" charset="0"/>
        </a:defRPr>
      </a:lvl6pPr>
      <a:lvl7pPr marL="914400" algn="ctr" defTabSz="457200" rtl="0" fontAlgn="base">
        <a:spcBef>
          <a:spcPct val="0"/>
        </a:spcBef>
        <a:spcAft>
          <a:spcPct val="0"/>
        </a:spcAft>
        <a:defRPr sz="2400" b="1">
          <a:solidFill>
            <a:schemeClr val="tx1"/>
          </a:solidFill>
          <a:latin typeface="Arial" charset="0"/>
          <a:ea typeface="ＭＳ Ｐゴシック" charset="0"/>
        </a:defRPr>
      </a:lvl7pPr>
      <a:lvl8pPr marL="1371600" algn="ctr" defTabSz="457200" rtl="0" fontAlgn="base">
        <a:spcBef>
          <a:spcPct val="0"/>
        </a:spcBef>
        <a:spcAft>
          <a:spcPct val="0"/>
        </a:spcAft>
        <a:defRPr sz="2400" b="1">
          <a:solidFill>
            <a:schemeClr val="tx1"/>
          </a:solidFill>
          <a:latin typeface="Arial" charset="0"/>
          <a:ea typeface="ＭＳ Ｐゴシック" charset="0"/>
        </a:defRPr>
      </a:lvl8pPr>
      <a:lvl9pPr marL="1828800" algn="ctr" defTabSz="457200" rtl="0" fontAlgn="base">
        <a:spcBef>
          <a:spcPct val="0"/>
        </a:spcBef>
        <a:spcAft>
          <a:spcPct val="0"/>
        </a:spcAft>
        <a:defRPr sz="2400" b="1">
          <a:solidFill>
            <a:schemeClr val="tx1"/>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1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qual1.com/"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9.tiff"/><Relationship Id="rId7" Type="http://schemas.openxmlformats.org/officeDocument/2006/relationships/image" Target="../media/image33.tiff"/><Relationship Id="rId2" Type="http://schemas.openxmlformats.org/officeDocument/2006/relationships/image" Target="../media/image28.jpeg"/><Relationship Id="rId1" Type="http://schemas.openxmlformats.org/officeDocument/2006/relationships/slideLayout" Target="../slideLayouts/slideLayout2.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tiff"/></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cid:part3.116C6FBB.7FE71C17@equal1.com" TargetMode="External"/><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image" Target="../media/image58.png"/><Relationship Id="rId1" Type="http://schemas.openxmlformats.org/officeDocument/2006/relationships/slideLayout" Target="../slideLayouts/slideLayout2.xml"/><Relationship Id="rId4" Type="http://schemas.openxmlformats.org/officeDocument/2006/relationships/image" Target="../media/image60.tiff"/></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image" Target="../media/image6.jpeg"/><Relationship Id="rId7"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10.jpeg"/><Relationship Id="rId7"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13.emf"/><Relationship Id="rId11" Type="http://schemas.openxmlformats.org/officeDocument/2006/relationships/image" Target="../media/image14.emf"/><Relationship Id="rId5" Type="http://schemas.openxmlformats.org/officeDocument/2006/relationships/image" Target="../media/image12.emf"/><Relationship Id="rId10" Type="http://schemas.openxmlformats.org/officeDocument/2006/relationships/image" Target="../media/image9.emf"/><Relationship Id="rId4" Type="http://schemas.openxmlformats.org/officeDocument/2006/relationships/image" Target="../media/image11.emf"/><Relationship Id="rId9"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2502F-D410-E24F-A1A5-636FC292932C}"/>
              </a:ext>
            </a:extLst>
          </p:cNvPr>
          <p:cNvSpPr>
            <a:spLocks noGrp="1"/>
          </p:cNvSpPr>
          <p:nvPr>
            <p:ph type="title"/>
          </p:nvPr>
        </p:nvSpPr>
        <p:spPr>
          <a:xfrm>
            <a:off x="2030895" y="2654109"/>
            <a:ext cx="7886700" cy="1528943"/>
          </a:xfrm>
        </p:spPr>
        <p:txBody>
          <a:bodyPr>
            <a:noAutofit/>
          </a:bodyPr>
          <a:lstStyle/>
          <a:p>
            <a:pPr algn="ctr"/>
            <a:r>
              <a:rPr lang="en-US" sz="3000" dirty="0"/>
              <a:t>Fully integrated quantum computing SOC in 22nm FD-SOI</a:t>
            </a:r>
          </a:p>
        </p:txBody>
      </p:sp>
      <p:sp>
        <p:nvSpPr>
          <p:cNvPr id="3" name="Content Placeholder 2">
            <a:extLst>
              <a:ext uri="{FF2B5EF4-FFF2-40B4-BE49-F238E27FC236}">
                <a16:creationId xmlns:a16="http://schemas.microsoft.com/office/drawing/2014/main" id="{4FF405EC-2C51-4413-8A64-9B78EA52CA18}"/>
              </a:ext>
            </a:extLst>
          </p:cNvPr>
          <p:cNvSpPr>
            <a:spLocks noGrp="1"/>
          </p:cNvSpPr>
          <p:nvPr>
            <p:ph idx="1"/>
          </p:nvPr>
        </p:nvSpPr>
        <p:spPr>
          <a:xfrm>
            <a:off x="551384" y="4274004"/>
            <a:ext cx="11485276" cy="1855296"/>
          </a:xfrm>
        </p:spPr>
        <p:txBody>
          <a:bodyPr>
            <a:normAutofit fontScale="92500" lnSpcReduction="10000"/>
          </a:bodyPr>
          <a:lstStyle/>
          <a:p>
            <a:pPr marL="0" indent="0">
              <a:buNone/>
            </a:pPr>
            <a:r>
              <a:rPr lang="en-US" dirty="0"/>
              <a:t>Dirk Leipold (1), Hannes Leipold (3), Lutz Leipold (1), Elena Blokhina (2), Panagiotis Giounanlis (2), Krzysztof Pomorski (2), Robert Staszewski (2), Imran Bashir (1), George Maxim (1), Mike Asker (1), Cagri Cetintepe (2), Ali Esmailiyan, </a:t>
            </a:r>
            <a:r>
              <a:rPr lang="en-US" dirty="0" err="1"/>
              <a:t>Hongying</a:t>
            </a:r>
            <a:r>
              <a:rPr lang="en-US" dirty="0"/>
              <a:t> Wang (2), </a:t>
            </a:r>
            <a:r>
              <a:rPr lang="en-US" dirty="0" err="1"/>
              <a:t>Teerachot</a:t>
            </a:r>
            <a:r>
              <a:rPr lang="en-US" dirty="0"/>
              <a:t> </a:t>
            </a:r>
            <a:r>
              <a:rPr lang="en-US" dirty="0" err="1"/>
              <a:t>Siriburanon</a:t>
            </a:r>
            <a:r>
              <a:rPr lang="en-US" dirty="0"/>
              <a:t> (2)</a:t>
            </a:r>
          </a:p>
          <a:p>
            <a:pPr marL="0" indent="0">
              <a:buNone/>
            </a:pPr>
            <a:endParaRPr lang="en-US" dirty="0"/>
          </a:p>
          <a:p>
            <a:pPr marL="257175" indent="-257175" algn="ctr">
              <a:buAutoNum type="arabicParenBoth"/>
            </a:pPr>
            <a:r>
              <a:rPr lang="en-US" sz="1200" dirty="0"/>
              <a:t>Equal1.labs, Inc. Fremont CA, USA </a:t>
            </a:r>
            <a:r>
              <a:rPr lang="en-US" sz="1200" dirty="0">
                <a:hlinkClick r:id="rId2"/>
              </a:rPr>
              <a:t>www.equal1.com</a:t>
            </a:r>
            <a:endParaRPr lang="en-US" sz="1200" dirty="0"/>
          </a:p>
          <a:p>
            <a:pPr marL="257175" indent="-257175" algn="ctr">
              <a:buAutoNum type="arabicParenBoth"/>
            </a:pPr>
            <a:r>
              <a:rPr lang="en-US" sz="1200" dirty="0"/>
              <a:t>University College Dublin, Ireland</a:t>
            </a:r>
          </a:p>
          <a:p>
            <a:pPr marL="257175" indent="-257175" algn="ctr">
              <a:buAutoNum type="arabicParenBoth"/>
            </a:pPr>
            <a:r>
              <a:rPr lang="en-US" sz="1200" dirty="0"/>
              <a:t>University of Southern California, USA</a:t>
            </a:r>
          </a:p>
        </p:txBody>
      </p:sp>
      <p:pic>
        <p:nvPicPr>
          <p:cNvPr id="4" name="Picture 3">
            <a:extLst>
              <a:ext uri="{FF2B5EF4-FFF2-40B4-BE49-F238E27FC236}">
                <a16:creationId xmlns:a16="http://schemas.microsoft.com/office/drawing/2014/main" id="{609E72A6-22AC-4731-8715-4D208BF1A31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8222" y="1195840"/>
            <a:ext cx="3052046" cy="968184"/>
          </a:xfrm>
          <a:prstGeom prst="rect">
            <a:avLst/>
          </a:prstGeom>
        </p:spPr>
      </p:pic>
      <p:sp>
        <p:nvSpPr>
          <p:cNvPr id="5" name="Rectangle 4">
            <a:extLst>
              <a:ext uri="{FF2B5EF4-FFF2-40B4-BE49-F238E27FC236}">
                <a16:creationId xmlns:a16="http://schemas.microsoft.com/office/drawing/2014/main" id="{C7624473-F029-4653-8825-899D4E894518}"/>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6" name="Footer Placeholder 3">
            <a:extLst>
              <a:ext uri="{FF2B5EF4-FFF2-40B4-BE49-F238E27FC236}">
                <a16:creationId xmlns:a16="http://schemas.microsoft.com/office/drawing/2014/main" id="{25064633-75A7-4C4D-9CAD-86EDF91C7501}"/>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968713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qual1 </a:t>
            </a:r>
            <a:r>
              <a:rPr lang="en-US" dirty="0" err="1"/>
              <a:t>Cryo</a:t>
            </a:r>
            <a:r>
              <a:rPr lang="en-US" dirty="0"/>
              <a:t> Measurement Machine</a:t>
            </a:r>
          </a:p>
        </p:txBody>
      </p:sp>
      <p:sp>
        <p:nvSpPr>
          <p:cNvPr id="4" name="Footer Placeholder 3"/>
          <p:cNvSpPr>
            <a:spLocks noGrp="1"/>
          </p:cNvSpPr>
          <p:nvPr>
            <p:ph type="ftr" sz="quarter" idx="11"/>
          </p:nvPr>
        </p:nvSpPr>
        <p:spPr/>
        <p:txBody>
          <a:bodyPr/>
          <a:lstStyle/>
          <a:p>
            <a:pPr>
              <a:defRPr/>
            </a:pPr>
            <a:r>
              <a:rPr lang="de-DE" altLang="en-US"/>
              <a:t>2019 ®Equal1 Proprietary &amp; Confidential</a:t>
            </a:r>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10</a:t>
            </a:fld>
            <a:endParaRPr lang="de-DE" altLang="en-US"/>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a:ext>
            </a:extLst>
          </a:blip>
          <a:srcRect/>
          <a:stretch>
            <a:fillRect/>
          </a:stretch>
        </p:blipFill>
        <p:spPr bwMode="auto">
          <a:xfrm>
            <a:off x="119336" y="1111151"/>
            <a:ext cx="8072610" cy="5198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a:extLst>
              <a:ext uri="{FF2B5EF4-FFF2-40B4-BE49-F238E27FC236}">
                <a16:creationId xmlns:a16="http://schemas.microsoft.com/office/drawing/2014/main" id="{712480BC-D17A-468C-A2FE-913A39A93CA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16180" y="1016732"/>
            <a:ext cx="4248472" cy="287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965247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20D2-F172-AF4E-8353-8D5B4104E9E6}"/>
              </a:ext>
            </a:extLst>
          </p:cNvPr>
          <p:cNvSpPr>
            <a:spLocks noGrp="1"/>
          </p:cNvSpPr>
          <p:nvPr>
            <p:ph type="title"/>
          </p:nvPr>
        </p:nvSpPr>
        <p:spPr/>
        <p:txBody>
          <a:bodyPr/>
          <a:lstStyle/>
          <a:p>
            <a:r>
              <a:rPr lang="en-US" dirty="0"/>
              <a:t>equal1.labs: all for one and one for all!</a:t>
            </a:r>
          </a:p>
        </p:txBody>
      </p:sp>
      <p:sp>
        <p:nvSpPr>
          <p:cNvPr id="5" name="Slide Number Placeholder 4">
            <a:extLst>
              <a:ext uri="{FF2B5EF4-FFF2-40B4-BE49-F238E27FC236}">
                <a16:creationId xmlns:a16="http://schemas.microsoft.com/office/drawing/2014/main" id="{3E0B84F6-7C99-AB47-B70B-551C898993AF}"/>
              </a:ext>
            </a:extLst>
          </p:cNvPr>
          <p:cNvSpPr>
            <a:spLocks noGrp="1"/>
          </p:cNvSpPr>
          <p:nvPr>
            <p:ph type="sldNum" sz="quarter" idx="12"/>
          </p:nvPr>
        </p:nvSpPr>
        <p:spPr/>
        <p:txBody>
          <a:bodyPr/>
          <a:lstStyle/>
          <a:p>
            <a:fld id="{BDDA4418-520B-4E43-A742-115F1EFE0E3F}" type="slidenum">
              <a:rPr lang="de-DE" altLang="en-US" smtClean="0"/>
              <a:pPr/>
              <a:t>11</a:t>
            </a:fld>
            <a:endParaRPr lang="de-DE" altLang="en-US"/>
          </a:p>
        </p:txBody>
      </p:sp>
      <p:pic>
        <p:nvPicPr>
          <p:cNvPr id="9" name="Picture 8">
            <a:extLst>
              <a:ext uri="{FF2B5EF4-FFF2-40B4-BE49-F238E27FC236}">
                <a16:creationId xmlns:a16="http://schemas.microsoft.com/office/drawing/2014/main" id="{269EDC52-F7F0-6A4A-A572-F6AF7418BC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6846883" y="1519460"/>
            <a:ext cx="3825044" cy="2868783"/>
          </a:xfrm>
          <a:prstGeom prst="rect">
            <a:avLst/>
          </a:prstGeom>
        </p:spPr>
      </p:pic>
      <p:sp>
        <p:nvSpPr>
          <p:cNvPr id="11" name="Content Placeholder 10">
            <a:extLst>
              <a:ext uri="{FF2B5EF4-FFF2-40B4-BE49-F238E27FC236}">
                <a16:creationId xmlns:a16="http://schemas.microsoft.com/office/drawing/2014/main" id="{88F61EDD-D761-B045-9D2B-7B1D39FECF0E}"/>
              </a:ext>
            </a:extLst>
          </p:cNvPr>
          <p:cNvSpPr>
            <a:spLocks noGrp="1"/>
          </p:cNvSpPr>
          <p:nvPr>
            <p:ph idx="1"/>
          </p:nvPr>
        </p:nvSpPr>
        <p:spPr>
          <a:xfrm>
            <a:off x="1964197" y="5361364"/>
            <a:ext cx="8229600" cy="715962"/>
          </a:xfrm>
        </p:spPr>
        <p:txBody>
          <a:bodyPr/>
          <a:lstStyle/>
          <a:p>
            <a:r>
              <a:rPr lang="en-US" dirty="0"/>
              <a:t>True silicon valley garage (i.e. living room) start-up operation</a:t>
            </a:r>
          </a:p>
          <a:p>
            <a:r>
              <a:rPr lang="en-US" dirty="0"/>
              <a:t>Culmination of 3 years successful design operation in Ireland, India and US</a:t>
            </a:r>
          </a:p>
        </p:txBody>
      </p:sp>
      <p:pic>
        <p:nvPicPr>
          <p:cNvPr id="12" name="Picture 11">
            <a:extLst>
              <a:ext uri="{FF2B5EF4-FFF2-40B4-BE49-F238E27FC236}">
                <a16:creationId xmlns:a16="http://schemas.microsoft.com/office/drawing/2014/main" id="{83EA51E0-E656-4046-921B-D2E52068A92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1884" y="1196752"/>
            <a:ext cx="2507958" cy="1880968"/>
          </a:xfrm>
          <a:prstGeom prst="rect">
            <a:avLst/>
          </a:prstGeom>
        </p:spPr>
      </p:pic>
      <p:pic>
        <p:nvPicPr>
          <p:cNvPr id="13" name="Picture 12">
            <a:extLst>
              <a:ext uri="{FF2B5EF4-FFF2-40B4-BE49-F238E27FC236}">
                <a16:creationId xmlns:a16="http://schemas.microsoft.com/office/drawing/2014/main" id="{259532BB-53CB-8949-A844-B6A71FCB7C4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74540" y="1487591"/>
            <a:ext cx="2590800" cy="1943100"/>
          </a:xfrm>
          <a:prstGeom prst="rect">
            <a:avLst/>
          </a:prstGeom>
        </p:spPr>
      </p:pic>
      <p:pic>
        <p:nvPicPr>
          <p:cNvPr id="17" name="Picture 16">
            <a:extLst>
              <a:ext uri="{FF2B5EF4-FFF2-40B4-BE49-F238E27FC236}">
                <a16:creationId xmlns:a16="http://schemas.microsoft.com/office/drawing/2014/main" id="{B5E0F752-9B8B-984F-840A-C07CBCA2359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5133312" y="3077720"/>
            <a:ext cx="2123728" cy="1592796"/>
          </a:xfrm>
          <a:prstGeom prst="rect">
            <a:avLst/>
          </a:prstGeom>
        </p:spPr>
      </p:pic>
      <p:pic>
        <p:nvPicPr>
          <p:cNvPr id="19" name="Picture 18">
            <a:extLst>
              <a:ext uri="{FF2B5EF4-FFF2-40B4-BE49-F238E27FC236}">
                <a16:creationId xmlns:a16="http://schemas.microsoft.com/office/drawing/2014/main" id="{F4AFDC8D-7733-2B40-9D5D-97DC1A4A66F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5400000">
            <a:off x="1589476" y="3638704"/>
            <a:ext cx="1943099" cy="1457324"/>
          </a:xfrm>
          <a:prstGeom prst="rect">
            <a:avLst/>
          </a:prstGeom>
        </p:spPr>
      </p:pic>
      <p:pic>
        <p:nvPicPr>
          <p:cNvPr id="20" name="Picture 19">
            <a:extLst>
              <a:ext uri="{FF2B5EF4-FFF2-40B4-BE49-F238E27FC236}">
                <a16:creationId xmlns:a16="http://schemas.microsoft.com/office/drawing/2014/main" id="{253FCC30-EB45-5D4D-A563-E214297B3CA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80270" y="3508958"/>
            <a:ext cx="1372469" cy="1829959"/>
          </a:xfrm>
          <a:prstGeom prst="rect">
            <a:avLst/>
          </a:prstGeom>
        </p:spPr>
      </p:pic>
      <p:sp>
        <p:nvSpPr>
          <p:cNvPr id="14" name="Rectangle 13">
            <a:extLst>
              <a:ext uri="{FF2B5EF4-FFF2-40B4-BE49-F238E27FC236}">
                <a16:creationId xmlns:a16="http://schemas.microsoft.com/office/drawing/2014/main" id="{1C6AF732-5A10-44CD-B582-6E134199E645}"/>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5" name="Footer Placeholder 3">
            <a:extLst>
              <a:ext uri="{FF2B5EF4-FFF2-40B4-BE49-F238E27FC236}">
                <a16:creationId xmlns:a16="http://schemas.microsoft.com/office/drawing/2014/main" id="{2FD4F6BA-15AD-4E25-BAFA-A83F8966C3FD}"/>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09672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rly observations of transistor behavior</a:t>
            </a:r>
          </a:p>
        </p:txBody>
      </p:sp>
      <p:sp>
        <p:nvSpPr>
          <p:cNvPr id="6" name="Content Placeholder 5">
            <a:extLst>
              <a:ext uri="{FF2B5EF4-FFF2-40B4-BE49-F238E27FC236}">
                <a16:creationId xmlns:a16="http://schemas.microsoft.com/office/drawing/2014/main" id="{941F17BF-D026-4AC3-975B-1F00960C0743}"/>
              </a:ext>
            </a:extLst>
          </p:cNvPr>
          <p:cNvSpPr>
            <a:spLocks noGrp="1"/>
          </p:cNvSpPr>
          <p:nvPr>
            <p:ph idx="1"/>
          </p:nvPr>
        </p:nvSpPr>
        <p:spPr>
          <a:xfrm>
            <a:off x="119336" y="990600"/>
            <a:ext cx="4860540" cy="5318720"/>
          </a:xfrm>
        </p:spPr>
        <p:txBody>
          <a:bodyPr/>
          <a:lstStyle/>
          <a:p>
            <a:r>
              <a:rPr lang="en-US" dirty="0"/>
              <a:t>Our current setup had only one SMU so initial snapshot is based on diode connected measurements</a:t>
            </a:r>
          </a:p>
          <a:p>
            <a:r>
              <a:rPr lang="en-US" dirty="0"/>
              <a:t>Constant current density Vth measurement method shows 70 mV Vth shift from room temp to 5.2 K</a:t>
            </a:r>
          </a:p>
          <a:p>
            <a:r>
              <a:rPr lang="en-US" dirty="0"/>
              <a:t>Maximum gm quadratic region Vth extrapolation shows very little Vth shift</a:t>
            </a:r>
          </a:p>
          <a:p>
            <a:r>
              <a:rPr lang="en-US" dirty="0"/>
              <a:t>For most analog and digital design it makes sense to use Maximum gm Vth definition</a:t>
            </a:r>
          </a:p>
          <a:p>
            <a:r>
              <a:rPr lang="en-US" dirty="0"/>
              <a:t>When using subthreshold design constant current density method makes sense</a:t>
            </a:r>
          </a:p>
          <a:p>
            <a:r>
              <a:rPr lang="en-US" dirty="0"/>
              <a:t>For this case very little shift between 100K and 5.2K -&gt; use 100K as fudge temp</a:t>
            </a:r>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12</a:t>
            </a:fld>
            <a:endParaRPr lang="de-DE" altLang="en-US"/>
          </a:p>
        </p:txBody>
      </p:sp>
      <p:sp>
        <p:nvSpPr>
          <p:cNvPr id="8" name="TextBox 7">
            <a:extLst>
              <a:ext uri="{FF2B5EF4-FFF2-40B4-BE49-F238E27FC236}">
                <a16:creationId xmlns:a16="http://schemas.microsoft.com/office/drawing/2014/main" id="{9443F38A-B3B0-42CA-BE91-56A1FF7D4E08}"/>
              </a:ext>
            </a:extLst>
          </p:cNvPr>
          <p:cNvSpPr txBox="1"/>
          <p:nvPr/>
        </p:nvSpPr>
        <p:spPr>
          <a:xfrm>
            <a:off x="6123914" y="1181743"/>
            <a:ext cx="184730" cy="369332"/>
          </a:xfrm>
          <a:prstGeom prst="rect">
            <a:avLst/>
          </a:prstGeom>
          <a:noFill/>
        </p:spPr>
        <p:txBody>
          <a:bodyPr wrap="none" rtlCol="0">
            <a:spAutoFit/>
          </a:bodyPr>
          <a:lstStyle/>
          <a:p>
            <a:pPr algn="ctr"/>
            <a:endParaRPr lang="en-US" b="1" dirty="0"/>
          </a:p>
        </p:txBody>
      </p:sp>
      <p:pic>
        <p:nvPicPr>
          <p:cNvPr id="13" name="Picture 12">
            <a:extLst>
              <a:ext uri="{FF2B5EF4-FFF2-40B4-BE49-F238E27FC236}">
                <a16:creationId xmlns:a16="http://schemas.microsoft.com/office/drawing/2014/main" id="{7E9DEEC0-E36A-47E9-A6C3-2BDFCFC4C0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02457" y="1115397"/>
            <a:ext cx="3204589" cy="2601635"/>
          </a:xfrm>
          <a:prstGeom prst="rect">
            <a:avLst/>
          </a:prstGeom>
        </p:spPr>
      </p:pic>
      <p:pic>
        <p:nvPicPr>
          <p:cNvPr id="14" name="Picture 13">
            <a:extLst>
              <a:ext uri="{FF2B5EF4-FFF2-40B4-BE49-F238E27FC236}">
                <a16:creationId xmlns:a16="http://schemas.microsoft.com/office/drawing/2014/main" id="{B20E06DA-04C0-4FF7-B21B-635A7BF5F5D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12208" y="1052736"/>
            <a:ext cx="3204355" cy="2725298"/>
          </a:xfrm>
          <a:prstGeom prst="rect">
            <a:avLst/>
          </a:prstGeom>
        </p:spPr>
      </p:pic>
      <p:pic>
        <p:nvPicPr>
          <p:cNvPr id="15" name="Picture 14">
            <a:extLst>
              <a:ext uri="{FF2B5EF4-FFF2-40B4-BE49-F238E27FC236}">
                <a16:creationId xmlns:a16="http://schemas.microsoft.com/office/drawing/2014/main" id="{66E4B7CD-9B35-4AFE-98DB-AB8FE1CE622D}"/>
              </a:ext>
            </a:extLst>
          </p:cNvPr>
          <p:cNvPicPr>
            <a:picLocks noChangeAspect="1"/>
          </p:cNvPicPr>
          <p:nvPr/>
        </p:nvPicPr>
        <p:blipFill>
          <a:blip r:embed="rId4"/>
          <a:stretch>
            <a:fillRect/>
          </a:stretch>
        </p:blipFill>
        <p:spPr>
          <a:xfrm>
            <a:off x="4844540" y="3788433"/>
            <a:ext cx="3339692" cy="2520887"/>
          </a:xfrm>
          <a:prstGeom prst="rect">
            <a:avLst/>
          </a:prstGeom>
        </p:spPr>
      </p:pic>
      <p:pic>
        <p:nvPicPr>
          <p:cNvPr id="16" name="Picture 15">
            <a:extLst>
              <a:ext uri="{FF2B5EF4-FFF2-40B4-BE49-F238E27FC236}">
                <a16:creationId xmlns:a16="http://schemas.microsoft.com/office/drawing/2014/main" id="{5182F4A5-8981-4481-A935-1D801544B919}"/>
              </a:ext>
            </a:extLst>
          </p:cNvPr>
          <p:cNvPicPr>
            <a:picLocks noChangeAspect="1"/>
          </p:cNvPicPr>
          <p:nvPr/>
        </p:nvPicPr>
        <p:blipFill>
          <a:blip r:embed="rId5"/>
          <a:stretch>
            <a:fillRect/>
          </a:stretch>
        </p:blipFill>
        <p:spPr>
          <a:xfrm>
            <a:off x="8415282" y="3836712"/>
            <a:ext cx="3261338" cy="2472608"/>
          </a:xfrm>
          <a:prstGeom prst="rect">
            <a:avLst/>
          </a:prstGeom>
        </p:spPr>
      </p:pic>
      <p:sp>
        <p:nvSpPr>
          <p:cNvPr id="18" name="Rectangle 17">
            <a:extLst>
              <a:ext uri="{FF2B5EF4-FFF2-40B4-BE49-F238E27FC236}">
                <a16:creationId xmlns:a16="http://schemas.microsoft.com/office/drawing/2014/main" id="{C2B8E872-5B83-4A65-BF73-4B6CB2D99049}"/>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9" name="Footer Placeholder 3">
            <a:extLst>
              <a:ext uri="{FF2B5EF4-FFF2-40B4-BE49-F238E27FC236}">
                <a16:creationId xmlns:a16="http://schemas.microsoft.com/office/drawing/2014/main" id="{B7BD6157-EC22-459B-80BA-F52FD3965A55}"/>
              </a:ext>
            </a:extLst>
          </p:cNvPr>
          <p:cNvSpPr txBox="1">
            <a:spLocks/>
          </p:cNvSpPr>
          <p:nvPr/>
        </p:nvSpPr>
        <p:spPr>
          <a:xfrm>
            <a:off x="353005" y="6478923"/>
            <a:ext cx="1677890" cy="202741"/>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ctr" defTabSz="457200" rtl="0" eaLnBrk="1" fontAlgn="base" hangingPunct="1">
              <a:spcBef>
                <a:spcPct val="0"/>
              </a:spcBef>
              <a:spcAft>
                <a:spcPct val="0"/>
              </a:spcAft>
              <a:defRPr sz="1200" kern="1200">
                <a:solidFill>
                  <a:srgbClr val="898989"/>
                </a:solidFill>
                <a:latin typeface="Calibri" pitchFamily="34" charset="0"/>
                <a:ea typeface="ＭＳ Ｐゴシック" charset="-128"/>
                <a:cs typeface="+mn-cs"/>
              </a:defRPr>
            </a:lvl1pPr>
            <a:lvl2pPr marL="0" lvl="1" algn="ctr" defTabSz="457200" rtl="0" eaLnBrk="1" fontAlgn="auto" hangingPunct="1">
              <a:spcBef>
                <a:spcPts val="0"/>
              </a:spcBef>
              <a:spcAft>
                <a:spcPts val="0"/>
              </a:spcAft>
              <a:defRPr sz="1400" kern="1200">
                <a:solidFill>
                  <a:schemeClr val="tx1"/>
                </a:solidFill>
                <a:latin typeface="+mn-lt"/>
                <a:ea typeface="+mn-ea"/>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a:lstStyle>
          <a:p>
            <a:pPr>
              <a:defRPr/>
            </a:pPr>
            <a:r>
              <a:rPr lang="en-US" altLang="en-US"/>
              <a:t>© 2019 Equal 1 Inc.  </a:t>
            </a:r>
            <a:endParaRPr lang="de-DE" altLang="en-US" dirty="0"/>
          </a:p>
        </p:txBody>
      </p:sp>
    </p:spTree>
    <p:extLst>
      <p:ext uri="{BB962C8B-B14F-4D97-AF65-F5344CB8AC3E}">
        <p14:creationId xmlns:p14="http://schemas.microsoft.com/office/powerpoint/2010/main" val="1280606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22FDX Advantage for Cryogenic Electronics</a:t>
            </a:r>
          </a:p>
        </p:txBody>
      </p:sp>
      <p:sp>
        <p:nvSpPr>
          <p:cNvPr id="3" name="Content Placeholder 2"/>
          <p:cNvSpPr>
            <a:spLocks noGrp="1"/>
          </p:cNvSpPr>
          <p:nvPr>
            <p:ph idx="1"/>
          </p:nvPr>
        </p:nvSpPr>
        <p:spPr>
          <a:xfrm>
            <a:off x="1981200" y="5625244"/>
            <a:ext cx="9263372" cy="731106"/>
          </a:xfrm>
        </p:spPr>
        <p:txBody>
          <a:bodyPr/>
          <a:lstStyle/>
          <a:p>
            <a:r>
              <a:rPr lang="en-US" dirty="0"/>
              <a:t>22FDX experiences very small timing variation from room temperature (300K) down to cryogenic (4K) – 22FDX is very suitable for digital design at 5k</a:t>
            </a:r>
            <a:endParaRPr lang="en-US" b="1" i="1" u="sng" dirty="0"/>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13</a:t>
            </a:fld>
            <a:endParaRPr lang="de-DE" altLang="en-US"/>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851846" y="1088741"/>
            <a:ext cx="8815029" cy="15708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7"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67022" y="3140968"/>
            <a:ext cx="8815029" cy="1747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2324255" y="5008530"/>
            <a:ext cx="7900561" cy="369332"/>
          </a:xfrm>
          <a:prstGeom prst="rect">
            <a:avLst/>
          </a:prstGeom>
          <a:noFill/>
        </p:spPr>
        <p:txBody>
          <a:bodyPr wrap="none" rtlCol="0">
            <a:spAutoFit/>
          </a:bodyPr>
          <a:lstStyle/>
          <a:p>
            <a:r>
              <a:rPr lang="en-US" b="1" dirty="0">
                <a:solidFill>
                  <a:srgbClr val="FF0000"/>
                </a:solidFill>
              </a:rPr>
              <a:t>INV NAND NOR timing have 2.5% total temperature variation from 300K to 4K !!!</a:t>
            </a:r>
          </a:p>
        </p:txBody>
      </p:sp>
      <p:cxnSp>
        <p:nvCxnSpPr>
          <p:cNvPr id="8" name="Straight Arrow Connector 7"/>
          <p:cNvCxnSpPr/>
          <p:nvPr/>
        </p:nvCxnSpPr>
        <p:spPr>
          <a:xfrm>
            <a:off x="3143672" y="1700808"/>
            <a:ext cx="0" cy="28803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a:off x="2891644" y="4014926"/>
            <a:ext cx="0" cy="28803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2891644" y="3645024"/>
            <a:ext cx="1328954" cy="369332"/>
          </a:xfrm>
          <a:prstGeom prst="rect">
            <a:avLst/>
          </a:prstGeom>
          <a:noFill/>
        </p:spPr>
        <p:txBody>
          <a:bodyPr wrap="none" rtlCol="0">
            <a:spAutoFit/>
          </a:bodyPr>
          <a:lstStyle/>
          <a:p>
            <a:r>
              <a:rPr lang="en-US" b="1" dirty="0"/>
              <a:t>3% for 285K</a:t>
            </a:r>
          </a:p>
        </p:txBody>
      </p:sp>
      <p:sp>
        <p:nvSpPr>
          <p:cNvPr id="14" name="TextBox 13"/>
          <p:cNvSpPr txBox="1"/>
          <p:nvPr/>
        </p:nvSpPr>
        <p:spPr>
          <a:xfrm>
            <a:off x="3198713" y="1365908"/>
            <a:ext cx="1381853" cy="369332"/>
          </a:xfrm>
          <a:prstGeom prst="rect">
            <a:avLst/>
          </a:prstGeom>
          <a:noFill/>
        </p:spPr>
        <p:txBody>
          <a:bodyPr wrap="none" rtlCol="0">
            <a:spAutoFit/>
          </a:bodyPr>
          <a:lstStyle/>
          <a:p>
            <a:r>
              <a:rPr lang="en-US" b="1" dirty="0"/>
              <a:t>3% for 285K </a:t>
            </a:r>
          </a:p>
        </p:txBody>
      </p:sp>
      <p:sp>
        <p:nvSpPr>
          <p:cNvPr id="13" name="Rectangle 12">
            <a:extLst>
              <a:ext uri="{FF2B5EF4-FFF2-40B4-BE49-F238E27FC236}">
                <a16:creationId xmlns:a16="http://schemas.microsoft.com/office/drawing/2014/main" id="{787A7270-21C2-41D8-854B-00DF63037AFD}"/>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5" name="Footer Placeholder 3">
            <a:extLst>
              <a:ext uri="{FF2B5EF4-FFF2-40B4-BE49-F238E27FC236}">
                <a16:creationId xmlns:a16="http://schemas.microsoft.com/office/drawing/2014/main" id="{B6294944-D03A-46BC-B7A3-E1F2D8447543}"/>
              </a:ext>
            </a:extLst>
          </p:cNvPr>
          <p:cNvSpPr txBox="1">
            <a:spLocks/>
          </p:cNvSpPr>
          <p:nvPr/>
        </p:nvSpPr>
        <p:spPr>
          <a:xfrm>
            <a:off x="353005" y="6478923"/>
            <a:ext cx="1677890" cy="202741"/>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ctr" defTabSz="457200" rtl="0" eaLnBrk="1" fontAlgn="base" hangingPunct="1">
              <a:spcBef>
                <a:spcPct val="0"/>
              </a:spcBef>
              <a:spcAft>
                <a:spcPct val="0"/>
              </a:spcAft>
              <a:defRPr sz="1200" kern="1200">
                <a:solidFill>
                  <a:srgbClr val="898989"/>
                </a:solidFill>
                <a:latin typeface="Calibri" pitchFamily="34" charset="0"/>
                <a:ea typeface="ＭＳ Ｐゴシック" charset="-128"/>
                <a:cs typeface="+mn-cs"/>
              </a:defRPr>
            </a:lvl1pPr>
            <a:lvl2pPr marL="0" lvl="1" algn="ctr" defTabSz="457200" rtl="0" eaLnBrk="1" fontAlgn="auto" hangingPunct="1">
              <a:spcBef>
                <a:spcPts val="0"/>
              </a:spcBef>
              <a:spcAft>
                <a:spcPts val="0"/>
              </a:spcAft>
              <a:defRPr sz="1400" kern="1200">
                <a:solidFill>
                  <a:schemeClr val="tx1"/>
                </a:solidFill>
                <a:latin typeface="+mn-lt"/>
                <a:ea typeface="+mn-ea"/>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a:lstStyle>
          <a:p>
            <a:pPr>
              <a:defRPr/>
            </a:pPr>
            <a:r>
              <a:rPr lang="en-US" altLang="en-US"/>
              <a:t>© 2019 Equal 1 Inc.  </a:t>
            </a:r>
            <a:endParaRPr lang="de-DE" altLang="en-US" dirty="0"/>
          </a:p>
        </p:txBody>
      </p:sp>
    </p:spTree>
    <p:extLst>
      <p:ext uri="{BB962C8B-B14F-4D97-AF65-F5344CB8AC3E}">
        <p14:creationId xmlns:p14="http://schemas.microsoft.com/office/powerpoint/2010/main" val="4078208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D9E0D-455D-434A-8414-998B89F495F9}"/>
              </a:ext>
            </a:extLst>
          </p:cNvPr>
          <p:cNvSpPr>
            <a:spLocks noGrp="1"/>
          </p:cNvSpPr>
          <p:nvPr>
            <p:ph type="title"/>
          </p:nvPr>
        </p:nvSpPr>
        <p:spPr/>
        <p:txBody>
          <a:bodyPr/>
          <a:lstStyle/>
          <a:p>
            <a:r>
              <a:rPr lang="en-US" dirty="0"/>
              <a:t>entangled quantum aperture logic 1 dimensional = equal1</a:t>
            </a:r>
          </a:p>
        </p:txBody>
      </p:sp>
      <p:sp>
        <p:nvSpPr>
          <p:cNvPr id="3" name="Content Placeholder 2">
            <a:extLst>
              <a:ext uri="{FF2B5EF4-FFF2-40B4-BE49-F238E27FC236}">
                <a16:creationId xmlns:a16="http://schemas.microsoft.com/office/drawing/2014/main" id="{F59CB8CF-9C74-2C45-9A73-8BEEEC15B1D8}"/>
              </a:ext>
            </a:extLst>
          </p:cNvPr>
          <p:cNvSpPr>
            <a:spLocks noGrp="1"/>
          </p:cNvSpPr>
          <p:nvPr>
            <p:ph idx="1"/>
          </p:nvPr>
        </p:nvSpPr>
        <p:spPr>
          <a:xfrm>
            <a:off x="276671" y="1340768"/>
            <a:ext cx="4615756" cy="4743345"/>
          </a:xfrm>
        </p:spPr>
        <p:txBody>
          <a:bodyPr>
            <a:normAutofit/>
          </a:bodyPr>
          <a:lstStyle/>
          <a:p>
            <a:r>
              <a:rPr lang="en-US" dirty="0"/>
              <a:t>Structure is realized in Global Foundry 22nm FD-SOI process</a:t>
            </a:r>
          </a:p>
          <a:p>
            <a:r>
              <a:rPr lang="en-US" dirty="0"/>
              <a:t>Very good cooperation with GF in getting optimizing structure</a:t>
            </a:r>
          </a:p>
          <a:p>
            <a:r>
              <a:rPr lang="en-US" dirty="0"/>
              <a:t>5 nm Silicon film with high K gate oxide and thick gate oxide on back side allow near zero threshold voltage structure  (= near zero gate oxide leakage current)</a:t>
            </a:r>
          </a:p>
          <a:p>
            <a:r>
              <a:rPr lang="en-US" dirty="0"/>
              <a:t>Electron injection and readout structure have 4mV per electron sensitivity</a:t>
            </a:r>
          </a:p>
          <a:p>
            <a:r>
              <a:rPr lang="en-US" dirty="0"/>
              <a:t>With integrated amplifier 50mV per electron output signal</a:t>
            </a:r>
          </a:p>
        </p:txBody>
      </p:sp>
      <p:pic>
        <p:nvPicPr>
          <p:cNvPr id="4" name="Picture 3">
            <a:extLst>
              <a:ext uri="{FF2B5EF4-FFF2-40B4-BE49-F238E27FC236}">
                <a16:creationId xmlns:a16="http://schemas.microsoft.com/office/drawing/2014/main" id="{FB0BDD4B-60DD-2A43-8280-6A8CD2C544E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94143" y="3840440"/>
            <a:ext cx="3370305" cy="1564064"/>
          </a:xfrm>
          <a:prstGeom prst="rect">
            <a:avLst/>
          </a:prstGeom>
        </p:spPr>
      </p:pic>
      <p:pic>
        <p:nvPicPr>
          <p:cNvPr id="5" name="Picture 4">
            <a:extLst>
              <a:ext uri="{FF2B5EF4-FFF2-40B4-BE49-F238E27FC236}">
                <a16:creationId xmlns:a16="http://schemas.microsoft.com/office/drawing/2014/main" id="{CCF8DCC6-31E4-8D40-8E5E-77413A2601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25245" y="1544992"/>
            <a:ext cx="2521205" cy="1736831"/>
          </a:xfrm>
          <a:prstGeom prst="rect">
            <a:avLst/>
          </a:prstGeom>
        </p:spPr>
      </p:pic>
      <p:pic>
        <p:nvPicPr>
          <p:cNvPr id="6" name="Picture 5">
            <a:extLst>
              <a:ext uri="{FF2B5EF4-FFF2-40B4-BE49-F238E27FC236}">
                <a16:creationId xmlns:a16="http://schemas.microsoft.com/office/drawing/2014/main" id="{4CA65E63-C998-8E4A-83E8-0D289F57EAC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90543" y="1544992"/>
            <a:ext cx="2789570" cy="1736831"/>
          </a:xfrm>
          <a:prstGeom prst="rect">
            <a:avLst/>
          </a:prstGeom>
        </p:spPr>
      </p:pic>
      <p:sp>
        <p:nvSpPr>
          <p:cNvPr id="7" name="TextBox 6">
            <a:extLst>
              <a:ext uri="{FF2B5EF4-FFF2-40B4-BE49-F238E27FC236}">
                <a16:creationId xmlns:a16="http://schemas.microsoft.com/office/drawing/2014/main" id="{B410C656-A655-4B7A-A454-89B541438387}"/>
              </a:ext>
            </a:extLst>
          </p:cNvPr>
          <p:cNvSpPr txBox="1"/>
          <p:nvPr/>
        </p:nvSpPr>
        <p:spPr>
          <a:xfrm>
            <a:off x="5826589" y="4443152"/>
            <a:ext cx="1715213" cy="369332"/>
          </a:xfrm>
          <a:prstGeom prst="rect">
            <a:avLst/>
          </a:prstGeom>
          <a:noFill/>
        </p:spPr>
        <p:txBody>
          <a:bodyPr wrap="none" rtlCol="0">
            <a:spAutoFit/>
          </a:bodyPr>
          <a:lstStyle/>
          <a:p>
            <a:r>
              <a:rPr lang="en-US" dirty="0">
                <a:solidFill>
                  <a:srgbClr val="00B050"/>
                </a:solidFill>
              </a:rPr>
              <a:t>5 nm silicon film</a:t>
            </a:r>
          </a:p>
        </p:txBody>
      </p:sp>
      <p:sp>
        <p:nvSpPr>
          <p:cNvPr id="10" name="TextBox 9">
            <a:extLst>
              <a:ext uri="{FF2B5EF4-FFF2-40B4-BE49-F238E27FC236}">
                <a16:creationId xmlns:a16="http://schemas.microsoft.com/office/drawing/2014/main" id="{8A4111D8-6C56-4A8D-A010-5B5E167F879F}"/>
              </a:ext>
            </a:extLst>
          </p:cNvPr>
          <p:cNvSpPr txBox="1"/>
          <p:nvPr/>
        </p:nvSpPr>
        <p:spPr>
          <a:xfrm>
            <a:off x="5730961" y="4656478"/>
            <a:ext cx="1970219" cy="369332"/>
          </a:xfrm>
          <a:prstGeom prst="rect">
            <a:avLst/>
          </a:prstGeom>
          <a:noFill/>
        </p:spPr>
        <p:txBody>
          <a:bodyPr wrap="none" rtlCol="0">
            <a:spAutoFit/>
          </a:bodyPr>
          <a:lstStyle/>
          <a:p>
            <a:r>
              <a:rPr lang="en-US" dirty="0">
                <a:solidFill>
                  <a:srgbClr val="00B0F0"/>
                </a:solidFill>
              </a:rPr>
              <a:t>Thick </a:t>
            </a:r>
            <a:r>
              <a:rPr lang="en-US" dirty="0" err="1">
                <a:solidFill>
                  <a:srgbClr val="00B0F0"/>
                </a:solidFill>
              </a:rPr>
              <a:t>oxid</a:t>
            </a:r>
            <a:r>
              <a:rPr lang="en-US" dirty="0">
                <a:solidFill>
                  <a:srgbClr val="00B0F0"/>
                </a:solidFill>
              </a:rPr>
              <a:t> isolation</a:t>
            </a:r>
          </a:p>
        </p:txBody>
      </p:sp>
      <p:sp>
        <p:nvSpPr>
          <p:cNvPr id="11" name="TextBox 10">
            <a:extLst>
              <a:ext uri="{FF2B5EF4-FFF2-40B4-BE49-F238E27FC236}">
                <a16:creationId xmlns:a16="http://schemas.microsoft.com/office/drawing/2014/main" id="{BCA074F4-BC82-44B7-A3BA-3ACA2815E967}"/>
              </a:ext>
            </a:extLst>
          </p:cNvPr>
          <p:cNvSpPr txBox="1"/>
          <p:nvPr/>
        </p:nvSpPr>
        <p:spPr>
          <a:xfrm>
            <a:off x="5267908" y="4246578"/>
            <a:ext cx="2522357" cy="369332"/>
          </a:xfrm>
          <a:prstGeom prst="rect">
            <a:avLst/>
          </a:prstGeom>
          <a:noFill/>
        </p:spPr>
        <p:txBody>
          <a:bodyPr wrap="none" rtlCol="0">
            <a:spAutoFit/>
          </a:bodyPr>
          <a:lstStyle/>
          <a:p>
            <a:r>
              <a:rPr lang="en-US" dirty="0">
                <a:solidFill>
                  <a:srgbClr val="7030A0"/>
                </a:solidFill>
              </a:rPr>
              <a:t>High k gate </a:t>
            </a:r>
            <a:r>
              <a:rPr lang="en-US" dirty="0" err="1">
                <a:solidFill>
                  <a:srgbClr val="7030A0"/>
                </a:solidFill>
              </a:rPr>
              <a:t>oxid</a:t>
            </a:r>
            <a:r>
              <a:rPr lang="en-US" dirty="0">
                <a:solidFill>
                  <a:srgbClr val="7030A0"/>
                </a:solidFill>
              </a:rPr>
              <a:t> isolation</a:t>
            </a:r>
          </a:p>
        </p:txBody>
      </p:sp>
      <p:sp>
        <p:nvSpPr>
          <p:cNvPr id="12" name="TextBox 11">
            <a:extLst>
              <a:ext uri="{FF2B5EF4-FFF2-40B4-BE49-F238E27FC236}">
                <a16:creationId xmlns:a16="http://schemas.microsoft.com/office/drawing/2014/main" id="{2320BD3D-E23D-44B5-84A3-09864A011300}"/>
              </a:ext>
            </a:extLst>
          </p:cNvPr>
          <p:cNvSpPr txBox="1"/>
          <p:nvPr/>
        </p:nvSpPr>
        <p:spPr>
          <a:xfrm>
            <a:off x="6051842" y="4014507"/>
            <a:ext cx="1414875" cy="369332"/>
          </a:xfrm>
          <a:prstGeom prst="rect">
            <a:avLst/>
          </a:prstGeom>
          <a:noFill/>
        </p:spPr>
        <p:txBody>
          <a:bodyPr wrap="none" rtlCol="0">
            <a:spAutoFit/>
          </a:bodyPr>
          <a:lstStyle/>
          <a:p>
            <a:r>
              <a:rPr lang="en-US" dirty="0" err="1">
                <a:solidFill>
                  <a:srgbClr val="FF0000"/>
                </a:solidFill>
              </a:rPr>
              <a:t>Silicided</a:t>
            </a:r>
            <a:r>
              <a:rPr lang="en-US" dirty="0">
                <a:solidFill>
                  <a:srgbClr val="FF0000"/>
                </a:solidFill>
              </a:rPr>
              <a:t> gate</a:t>
            </a:r>
          </a:p>
        </p:txBody>
      </p:sp>
      <p:sp>
        <p:nvSpPr>
          <p:cNvPr id="13" name="TextBox 12">
            <a:extLst>
              <a:ext uri="{FF2B5EF4-FFF2-40B4-BE49-F238E27FC236}">
                <a16:creationId xmlns:a16="http://schemas.microsoft.com/office/drawing/2014/main" id="{280AFE8F-A41F-4393-9A50-F59F15DA296F}"/>
              </a:ext>
            </a:extLst>
          </p:cNvPr>
          <p:cNvSpPr txBox="1"/>
          <p:nvPr/>
        </p:nvSpPr>
        <p:spPr>
          <a:xfrm>
            <a:off x="6074649" y="4895872"/>
            <a:ext cx="1508939" cy="369332"/>
          </a:xfrm>
          <a:prstGeom prst="rect">
            <a:avLst/>
          </a:prstGeom>
          <a:noFill/>
        </p:spPr>
        <p:txBody>
          <a:bodyPr wrap="none" rtlCol="0">
            <a:spAutoFit/>
          </a:bodyPr>
          <a:lstStyle/>
          <a:p>
            <a:r>
              <a:rPr lang="en-US" dirty="0">
                <a:solidFill>
                  <a:schemeClr val="accent6">
                    <a:lumMod val="75000"/>
                  </a:schemeClr>
                </a:solidFill>
              </a:rPr>
              <a:t>Backside gate </a:t>
            </a:r>
          </a:p>
        </p:txBody>
      </p:sp>
      <p:cxnSp>
        <p:nvCxnSpPr>
          <p:cNvPr id="15" name="Straight Arrow Connector 14">
            <a:extLst>
              <a:ext uri="{FF2B5EF4-FFF2-40B4-BE49-F238E27FC236}">
                <a16:creationId xmlns:a16="http://schemas.microsoft.com/office/drawing/2014/main" id="{4E7E1CB0-0F03-490C-8279-5E5422594978}"/>
              </a:ext>
            </a:extLst>
          </p:cNvPr>
          <p:cNvCxnSpPr>
            <a:cxnSpLocks/>
            <a:stCxn id="12" idx="3"/>
          </p:cNvCxnSpPr>
          <p:nvPr/>
        </p:nvCxnSpPr>
        <p:spPr>
          <a:xfrm>
            <a:off x="7466717" y="4199174"/>
            <a:ext cx="505661" cy="3065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3720CAD-948C-42CE-AA69-CD76DB0DC96C}"/>
              </a:ext>
            </a:extLst>
          </p:cNvPr>
          <p:cNvCxnSpPr>
            <a:cxnSpLocks/>
            <a:stCxn id="11" idx="3"/>
          </p:cNvCxnSpPr>
          <p:nvPr/>
        </p:nvCxnSpPr>
        <p:spPr>
          <a:xfrm flipV="1">
            <a:off x="7790265" y="4368726"/>
            <a:ext cx="460386" cy="62518"/>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A9E90F4-FB96-4552-AF72-93E14B4F661C}"/>
              </a:ext>
            </a:extLst>
          </p:cNvPr>
          <p:cNvCxnSpPr>
            <a:cxnSpLocks/>
            <a:stCxn id="7" idx="3"/>
          </p:cNvCxnSpPr>
          <p:nvPr/>
        </p:nvCxnSpPr>
        <p:spPr>
          <a:xfrm flipV="1">
            <a:off x="7541802" y="4417020"/>
            <a:ext cx="934162" cy="210798"/>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33DEE03A-23C2-4AD0-8322-07A7184AF59A}"/>
              </a:ext>
            </a:extLst>
          </p:cNvPr>
          <p:cNvCxnSpPr>
            <a:cxnSpLocks/>
            <a:stCxn id="10" idx="3"/>
          </p:cNvCxnSpPr>
          <p:nvPr/>
        </p:nvCxnSpPr>
        <p:spPr>
          <a:xfrm flipV="1">
            <a:off x="7701180" y="4431245"/>
            <a:ext cx="1239136" cy="409899"/>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56083C9-6197-46BD-BAB2-39216EF298DF}"/>
              </a:ext>
            </a:extLst>
          </p:cNvPr>
          <p:cNvCxnSpPr>
            <a:cxnSpLocks/>
            <a:stCxn id="13" idx="3"/>
          </p:cNvCxnSpPr>
          <p:nvPr/>
        </p:nvCxnSpPr>
        <p:spPr>
          <a:xfrm flipV="1">
            <a:off x="7583588" y="4514633"/>
            <a:ext cx="1832805" cy="565905"/>
          </a:xfrm>
          <a:prstGeom prst="straightConnector1">
            <a:avLst/>
          </a:prstGeom>
          <a:ln w="571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BE82553-0381-476F-A3B5-0CB9736B67A8}"/>
              </a:ext>
            </a:extLst>
          </p:cNvPr>
          <p:cNvSpPr txBox="1"/>
          <p:nvPr/>
        </p:nvSpPr>
        <p:spPr>
          <a:xfrm>
            <a:off x="6982427" y="1200541"/>
            <a:ext cx="3887026" cy="369332"/>
          </a:xfrm>
          <a:prstGeom prst="rect">
            <a:avLst/>
          </a:prstGeom>
          <a:noFill/>
        </p:spPr>
        <p:txBody>
          <a:bodyPr wrap="none" rtlCol="0">
            <a:spAutoFit/>
          </a:bodyPr>
          <a:lstStyle/>
          <a:p>
            <a:r>
              <a:rPr lang="en-US" dirty="0"/>
              <a:t>TEM picture of 4 qubit equal1 structure</a:t>
            </a:r>
          </a:p>
        </p:txBody>
      </p:sp>
      <p:sp>
        <p:nvSpPr>
          <p:cNvPr id="24" name="Rectangle 23">
            <a:extLst>
              <a:ext uri="{FF2B5EF4-FFF2-40B4-BE49-F238E27FC236}">
                <a16:creationId xmlns:a16="http://schemas.microsoft.com/office/drawing/2014/main" id="{CD0CFA64-CC8E-4029-8262-486807360DAC}"/>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25" name="Footer Placeholder 3">
            <a:extLst>
              <a:ext uri="{FF2B5EF4-FFF2-40B4-BE49-F238E27FC236}">
                <a16:creationId xmlns:a16="http://schemas.microsoft.com/office/drawing/2014/main" id="{9DD15304-CD81-4B8B-9901-ADAB39B8861A}"/>
              </a:ext>
            </a:extLst>
          </p:cNvPr>
          <p:cNvSpPr txBox="1">
            <a:spLocks/>
          </p:cNvSpPr>
          <p:nvPr/>
        </p:nvSpPr>
        <p:spPr>
          <a:xfrm>
            <a:off x="353005" y="6478923"/>
            <a:ext cx="1677890" cy="202741"/>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ctr" defTabSz="457200" rtl="0" eaLnBrk="1" fontAlgn="base" hangingPunct="1">
              <a:spcBef>
                <a:spcPct val="0"/>
              </a:spcBef>
              <a:spcAft>
                <a:spcPct val="0"/>
              </a:spcAft>
              <a:defRPr sz="1200" kern="1200">
                <a:solidFill>
                  <a:srgbClr val="898989"/>
                </a:solidFill>
                <a:latin typeface="Calibri" pitchFamily="34" charset="0"/>
                <a:ea typeface="ＭＳ Ｐゴシック" charset="-128"/>
                <a:cs typeface="+mn-cs"/>
              </a:defRPr>
            </a:lvl1pPr>
            <a:lvl2pPr marL="0" lvl="1" algn="ctr" defTabSz="457200" rtl="0" eaLnBrk="1" fontAlgn="auto" hangingPunct="1">
              <a:spcBef>
                <a:spcPts val="0"/>
              </a:spcBef>
              <a:spcAft>
                <a:spcPts val="0"/>
              </a:spcAft>
              <a:defRPr sz="1400" kern="1200">
                <a:solidFill>
                  <a:schemeClr val="tx1"/>
                </a:solidFill>
                <a:latin typeface="+mn-lt"/>
                <a:ea typeface="+mn-ea"/>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a:lstStyle>
          <a:p>
            <a:pPr>
              <a:defRPr/>
            </a:pPr>
            <a:r>
              <a:rPr lang="en-US" altLang="en-US"/>
              <a:t>© 2019 Equal 1 Inc.  </a:t>
            </a:r>
            <a:endParaRPr lang="de-DE" altLang="en-US" dirty="0"/>
          </a:p>
        </p:txBody>
      </p:sp>
    </p:spTree>
    <p:extLst>
      <p:ext uri="{BB962C8B-B14F-4D97-AF65-F5344CB8AC3E}">
        <p14:creationId xmlns:p14="http://schemas.microsoft.com/office/powerpoint/2010/main" val="707427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1"/>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306982" y="1916833"/>
            <a:ext cx="5187908" cy="3327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E92D82EA-F61F-5D4D-A3D3-9F521BAE14C1}"/>
              </a:ext>
            </a:extLst>
          </p:cNvPr>
          <p:cNvSpPr>
            <a:spLocks noGrp="1"/>
          </p:cNvSpPr>
          <p:nvPr>
            <p:ph type="title"/>
          </p:nvPr>
        </p:nvSpPr>
        <p:spPr/>
        <p:txBody>
          <a:bodyPr/>
          <a:lstStyle/>
          <a:p>
            <a:r>
              <a:rPr lang="en-US" dirty="0"/>
              <a:t>QC SOC block diagram</a:t>
            </a:r>
          </a:p>
        </p:txBody>
      </p:sp>
      <p:sp>
        <p:nvSpPr>
          <p:cNvPr id="6" name="Content Placeholder 5">
            <a:extLst>
              <a:ext uri="{FF2B5EF4-FFF2-40B4-BE49-F238E27FC236}">
                <a16:creationId xmlns:a16="http://schemas.microsoft.com/office/drawing/2014/main" id="{EBEE9F6A-A2B9-5941-B6BE-BCD6F25A86B4}"/>
              </a:ext>
            </a:extLst>
          </p:cNvPr>
          <p:cNvSpPr>
            <a:spLocks noGrp="1"/>
          </p:cNvSpPr>
          <p:nvPr>
            <p:ph idx="1"/>
          </p:nvPr>
        </p:nvSpPr>
        <p:spPr>
          <a:xfrm>
            <a:off x="353005" y="1340769"/>
            <a:ext cx="5112353" cy="4841990"/>
          </a:xfrm>
        </p:spPr>
        <p:txBody>
          <a:bodyPr>
            <a:normAutofit/>
          </a:bodyPr>
          <a:lstStyle/>
          <a:p>
            <a:r>
              <a:rPr lang="en-US" dirty="0"/>
              <a:t>Key building blocks:</a:t>
            </a:r>
          </a:p>
          <a:p>
            <a:pPr lvl="1"/>
            <a:r>
              <a:rPr lang="en-US" dirty="0"/>
              <a:t>On chip 1k x 64 pattern memory</a:t>
            </a:r>
          </a:p>
          <a:p>
            <a:pPr lvl="2"/>
            <a:r>
              <a:rPr lang="en-US" dirty="0"/>
              <a:t>External addressable pattern sequences </a:t>
            </a:r>
          </a:p>
          <a:p>
            <a:pPr lvl="2"/>
            <a:r>
              <a:rPr lang="en-US" dirty="0"/>
              <a:t>1.6 </a:t>
            </a:r>
            <a:r>
              <a:rPr lang="en-US" dirty="0" err="1"/>
              <a:t>mW</a:t>
            </a:r>
            <a:r>
              <a:rPr lang="en-US" dirty="0"/>
              <a:t> power dissipation at 400 MS/s with 6 GHz clock</a:t>
            </a:r>
          </a:p>
          <a:p>
            <a:pPr lvl="2"/>
            <a:r>
              <a:rPr lang="en-US" dirty="0"/>
              <a:t>0.3 mm area consumption</a:t>
            </a:r>
          </a:p>
          <a:p>
            <a:pPr lvl="1"/>
            <a:r>
              <a:rPr lang="en-US" dirty="0"/>
              <a:t>8 bit capacitive DAC</a:t>
            </a:r>
          </a:p>
          <a:p>
            <a:pPr lvl="2"/>
            <a:r>
              <a:rPr lang="en-US" dirty="0"/>
              <a:t>50 mV swing with 0.2mV resolution with</a:t>
            </a:r>
          </a:p>
          <a:p>
            <a:pPr lvl="2"/>
            <a:r>
              <a:rPr lang="en-US" dirty="0"/>
              <a:t>50 </a:t>
            </a:r>
            <a:r>
              <a:rPr lang="en-US" dirty="0" err="1"/>
              <a:t>uV</a:t>
            </a:r>
            <a:r>
              <a:rPr lang="en-US" dirty="0"/>
              <a:t> noise 0.1-100 MHz</a:t>
            </a:r>
          </a:p>
          <a:p>
            <a:pPr lvl="2"/>
            <a:r>
              <a:rPr lang="en-US" dirty="0"/>
              <a:t>150 </a:t>
            </a:r>
            <a:r>
              <a:rPr lang="en-US" dirty="0" err="1"/>
              <a:t>psec</a:t>
            </a:r>
            <a:r>
              <a:rPr lang="en-US" dirty="0"/>
              <a:t> minimum pulse width</a:t>
            </a:r>
          </a:p>
          <a:p>
            <a:pPr lvl="2"/>
            <a:r>
              <a:rPr lang="en-US" dirty="0"/>
              <a:t>0.9uW power dissipation</a:t>
            </a:r>
          </a:p>
          <a:p>
            <a:pPr lvl="2"/>
            <a:r>
              <a:rPr lang="en-US" dirty="0"/>
              <a:t>3 x 30 um size</a:t>
            </a:r>
          </a:p>
          <a:p>
            <a:pPr lvl="1"/>
            <a:r>
              <a:rPr lang="en-US" dirty="0"/>
              <a:t>100 MHz correlated double sampled detector</a:t>
            </a:r>
          </a:p>
          <a:p>
            <a:pPr lvl="2"/>
            <a:r>
              <a:rPr lang="en-US" dirty="0"/>
              <a:t>4mV/e input sensitivity</a:t>
            </a:r>
          </a:p>
          <a:p>
            <a:pPr lvl="2"/>
            <a:r>
              <a:rPr lang="en-US" dirty="0"/>
              <a:t>50mV/e output signal</a:t>
            </a:r>
          </a:p>
          <a:p>
            <a:pPr lvl="2"/>
            <a:r>
              <a:rPr lang="en-US" dirty="0"/>
              <a:t>0.4 mV input noise 0.1-100MHz</a:t>
            </a:r>
          </a:p>
          <a:p>
            <a:pPr lvl="1"/>
            <a:endParaRPr lang="en-US" dirty="0"/>
          </a:p>
        </p:txBody>
      </p:sp>
      <p:sp>
        <p:nvSpPr>
          <p:cNvPr id="3" name="Slide Number Placeholder 2"/>
          <p:cNvSpPr>
            <a:spLocks noGrp="1"/>
          </p:cNvSpPr>
          <p:nvPr>
            <p:ph type="sldNum" sz="quarter" idx="12"/>
          </p:nvPr>
        </p:nvSpPr>
        <p:spPr/>
        <p:txBody>
          <a:bodyPr/>
          <a:lstStyle/>
          <a:p>
            <a:fld id="{C43AAD86-3C19-40C3-8D8D-C16BAD3EF3A6}" type="slidenum">
              <a:rPr lang="en-US" smtClean="0"/>
              <a:t>15</a:t>
            </a:fld>
            <a:endParaRPr lang="en-US"/>
          </a:p>
        </p:txBody>
      </p:sp>
      <p:sp>
        <p:nvSpPr>
          <p:cNvPr id="7" name="Rectangle 6">
            <a:extLst>
              <a:ext uri="{FF2B5EF4-FFF2-40B4-BE49-F238E27FC236}">
                <a16:creationId xmlns:a16="http://schemas.microsoft.com/office/drawing/2014/main" id="{14ED0726-A70E-4B3E-85A9-8183D4A90FDC}"/>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8" name="Footer Placeholder 3">
            <a:extLst>
              <a:ext uri="{FF2B5EF4-FFF2-40B4-BE49-F238E27FC236}">
                <a16:creationId xmlns:a16="http://schemas.microsoft.com/office/drawing/2014/main" id="{F60B9854-E71C-44E5-AE0A-DD8620B5AF2D}"/>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1310629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02F4695F-FFE3-421E-8D16-5213A043188B}"/>
              </a:ext>
            </a:extLst>
          </p:cNvPr>
          <p:cNvSpPr>
            <a:spLocks noGrp="1"/>
          </p:cNvSpPr>
          <p:nvPr>
            <p:ph type="title"/>
          </p:nvPr>
        </p:nvSpPr>
        <p:spPr/>
        <p:txBody>
          <a:bodyPr/>
          <a:lstStyle/>
          <a:p>
            <a:r>
              <a:rPr lang="en-US" altLang="en-US" dirty="0">
                <a:latin typeface="Arial" panose="020B0604020202020204" pitchFamily="34" charset="0"/>
                <a:ea typeface="ＭＳ Ｐゴシック" panose="020B0600070205080204" pitchFamily="34" charset="-128"/>
                <a:cs typeface="Arial" panose="020B0604020202020204" pitchFamily="34" charset="0"/>
              </a:rPr>
              <a:t>Floorplan of QC electronics and qubit cell</a:t>
            </a:r>
          </a:p>
        </p:txBody>
      </p:sp>
      <p:sp>
        <p:nvSpPr>
          <p:cNvPr id="4" name="Footer Placeholder 3">
            <a:extLst>
              <a:ext uri="{FF2B5EF4-FFF2-40B4-BE49-F238E27FC236}">
                <a16:creationId xmlns:a16="http://schemas.microsoft.com/office/drawing/2014/main" id="{CF4C4216-A5AC-4D12-8D8D-D8AD75DD64E0}"/>
              </a:ext>
            </a:extLst>
          </p:cNvPr>
          <p:cNvSpPr>
            <a:spLocks noGrp="1"/>
          </p:cNvSpPr>
          <p:nvPr>
            <p:ph type="ftr" sz="quarter" idx="11"/>
          </p:nvPr>
        </p:nvSpPr>
        <p:spPr/>
        <p:txBody>
          <a:bodyPr/>
          <a:lstStyle/>
          <a:p>
            <a:pPr>
              <a:defRPr/>
            </a:pPr>
            <a:r>
              <a:rPr lang="de-DE" altLang="en-US"/>
              <a:t>2015 ®Equal1 Proprietary &amp; Confidential</a:t>
            </a:r>
          </a:p>
        </p:txBody>
      </p:sp>
      <p:sp>
        <p:nvSpPr>
          <p:cNvPr id="5" name="Slide Number Placeholder 4">
            <a:extLst>
              <a:ext uri="{FF2B5EF4-FFF2-40B4-BE49-F238E27FC236}">
                <a16:creationId xmlns:a16="http://schemas.microsoft.com/office/drawing/2014/main" id="{E448770B-215C-4CA5-B222-EE0CC9FE2B69}"/>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E14D1C3F-2CAE-4A0F-92B2-228FD99FC9F0}" type="slidenum">
              <a:rPr lang="de-DE" altLang="en-US">
                <a:solidFill>
                  <a:srgbClr val="898989"/>
                </a:solidFill>
              </a:rPr>
              <a:pPr eaLnBrk="1" hangingPunct="1"/>
              <a:t>16</a:t>
            </a:fld>
            <a:endParaRPr lang="de-DE" altLang="en-US">
              <a:solidFill>
                <a:srgbClr val="898989"/>
              </a:solidFill>
            </a:endParaRPr>
          </a:p>
        </p:txBody>
      </p:sp>
      <p:pic>
        <p:nvPicPr>
          <p:cNvPr id="16390" name="Picture 2">
            <a:extLst>
              <a:ext uri="{FF2B5EF4-FFF2-40B4-BE49-F238E27FC236}">
                <a16:creationId xmlns:a16="http://schemas.microsoft.com/office/drawing/2014/main" id="{8EB7999D-07BD-48DC-B5AF-D72DC124B39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23992" y="1327559"/>
            <a:ext cx="5691188" cy="4657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5">
            <a:extLst>
              <a:ext uri="{FF2B5EF4-FFF2-40B4-BE49-F238E27FC236}">
                <a16:creationId xmlns:a16="http://schemas.microsoft.com/office/drawing/2014/main" id="{8DCC229A-5BB6-4381-B538-466F27B8D638}"/>
              </a:ext>
            </a:extLst>
          </p:cNvPr>
          <p:cNvSpPr>
            <a:spLocks noGrp="1"/>
          </p:cNvSpPr>
          <p:nvPr>
            <p:ph idx="1"/>
          </p:nvPr>
        </p:nvSpPr>
        <p:spPr>
          <a:xfrm>
            <a:off x="476820" y="943569"/>
            <a:ext cx="5691188" cy="5365751"/>
          </a:xfrm>
        </p:spPr>
        <p:txBody>
          <a:bodyPr/>
          <a:lstStyle/>
          <a:p>
            <a:r>
              <a:rPr lang="en-US" dirty="0"/>
              <a:t>Quantum cell </a:t>
            </a:r>
          </a:p>
          <a:p>
            <a:pPr lvl="1"/>
            <a:r>
              <a:rPr lang="en-US" dirty="0"/>
              <a:t>(2 x 8 qubit max on this chip)</a:t>
            </a:r>
          </a:p>
          <a:p>
            <a:pPr lvl="1"/>
            <a:r>
              <a:rPr lang="en-US" dirty="0"/>
              <a:t>Integrated 2 x 2 readout source follower, bootstrapped</a:t>
            </a:r>
          </a:p>
          <a:p>
            <a:pPr lvl="1"/>
            <a:r>
              <a:rPr lang="en-US" dirty="0"/>
              <a:t>4 mV per electron, 1uA</a:t>
            </a:r>
          </a:p>
          <a:p>
            <a:r>
              <a:rPr lang="en-US" dirty="0"/>
              <a:t>Preamp for source follower</a:t>
            </a:r>
          </a:p>
          <a:p>
            <a:pPr lvl="1"/>
            <a:r>
              <a:rPr lang="en-US" dirty="0"/>
              <a:t>10 dB gain with 10uA, 2 GHz bandwidth</a:t>
            </a:r>
          </a:p>
          <a:p>
            <a:pPr lvl="1"/>
            <a:r>
              <a:rPr lang="en-US" dirty="0"/>
              <a:t>Biased at -1V to shift qubit Vth to 100 mV</a:t>
            </a:r>
          </a:p>
          <a:p>
            <a:pPr lvl="1"/>
            <a:r>
              <a:rPr lang="en-US" dirty="0"/>
              <a:t>Eliminates gate leakage in qubit</a:t>
            </a:r>
          </a:p>
          <a:p>
            <a:r>
              <a:rPr lang="en-US" dirty="0"/>
              <a:t>Correlated double sampler</a:t>
            </a:r>
          </a:p>
          <a:p>
            <a:pPr lvl="1"/>
            <a:r>
              <a:rPr lang="en-US" dirty="0"/>
              <a:t>15 dB gain, 10uA, 2.5 </a:t>
            </a:r>
            <a:r>
              <a:rPr lang="en-US" dirty="0" err="1"/>
              <a:t>nsec</a:t>
            </a:r>
            <a:r>
              <a:rPr lang="en-US" dirty="0"/>
              <a:t> sample time</a:t>
            </a:r>
          </a:p>
          <a:p>
            <a:pPr lvl="1"/>
            <a:r>
              <a:rPr lang="en-US" dirty="0"/>
              <a:t>100 MHz readout speed</a:t>
            </a:r>
          </a:p>
          <a:p>
            <a:r>
              <a:rPr lang="en-US" dirty="0"/>
              <a:t>8 bit </a:t>
            </a:r>
            <a:r>
              <a:rPr lang="en-US" dirty="0" err="1"/>
              <a:t>cdac</a:t>
            </a:r>
            <a:endParaRPr lang="en-US" dirty="0"/>
          </a:p>
          <a:p>
            <a:pPr lvl="1"/>
            <a:r>
              <a:rPr lang="en-US" dirty="0"/>
              <a:t>50mV, 200uV resolution, 150 </a:t>
            </a:r>
            <a:r>
              <a:rPr lang="en-US" dirty="0" err="1"/>
              <a:t>psec</a:t>
            </a:r>
            <a:r>
              <a:rPr lang="en-US" dirty="0"/>
              <a:t> pulse width</a:t>
            </a:r>
          </a:p>
          <a:p>
            <a:pPr lvl="1"/>
            <a:r>
              <a:rPr lang="en-US" dirty="0"/>
              <a:t>Zero DC current, 60uA current during pulse </a:t>
            </a:r>
          </a:p>
          <a:p>
            <a:r>
              <a:rPr lang="en-US" dirty="0"/>
              <a:t>128 bit wide pulse train bus </a:t>
            </a:r>
          </a:p>
          <a:p>
            <a:pPr lvl="1"/>
            <a:r>
              <a:rPr lang="en-US" dirty="0"/>
              <a:t>150psec min pulse</a:t>
            </a:r>
          </a:p>
          <a:p>
            <a:r>
              <a:rPr lang="en-US" dirty="0"/>
              <a:t>Low speed clock gating logic</a:t>
            </a:r>
          </a:p>
        </p:txBody>
      </p:sp>
      <p:sp>
        <p:nvSpPr>
          <p:cNvPr id="7" name="Rectangle 6">
            <a:extLst>
              <a:ext uri="{FF2B5EF4-FFF2-40B4-BE49-F238E27FC236}">
                <a16:creationId xmlns:a16="http://schemas.microsoft.com/office/drawing/2014/main" id="{DD4412DE-5FCA-47AA-A8D4-1279C8C9B94B}"/>
              </a:ext>
            </a:extLst>
          </p:cNvPr>
          <p:cNvSpPr/>
          <p:nvPr/>
        </p:nvSpPr>
        <p:spPr>
          <a:xfrm>
            <a:off x="9876420" y="1916832"/>
            <a:ext cx="288032" cy="324036"/>
          </a:xfrm>
          <a:prstGeom prst="rect">
            <a:avLst/>
          </a:prstGeom>
          <a:noFill/>
          <a:ln w="76200">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E4707AE-6CB5-41B0-A2F3-46E2C66F03E3}"/>
              </a:ext>
            </a:extLst>
          </p:cNvPr>
          <p:cNvSpPr/>
          <p:nvPr/>
        </p:nvSpPr>
        <p:spPr>
          <a:xfrm>
            <a:off x="9084332" y="2096852"/>
            <a:ext cx="720080" cy="144016"/>
          </a:xfrm>
          <a:prstGeom prst="rect">
            <a:avLst/>
          </a:prstGeom>
          <a:noFill/>
          <a:ln w="76200">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E538431-2FCF-4A52-8554-902690398FE4}"/>
              </a:ext>
            </a:extLst>
          </p:cNvPr>
          <p:cNvSpPr/>
          <p:nvPr/>
        </p:nvSpPr>
        <p:spPr>
          <a:xfrm>
            <a:off x="7230126" y="2105236"/>
            <a:ext cx="1602178" cy="891716"/>
          </a:xfrm>
          <a:prstGeom prst="rect">
            <a:avLst/>
          </a:prstGeom>
          <a:noFill/>
          <a:ln w="76200">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42BF950-2359-4D68-AE46-04ADA2AB7450}"/>
              </a:ext>
            </a:extLst>
          </p:cNvPr>
          <p:cNvSpPr/>
          <p:nvPr/>
        </p:nvSpPr>
        <p:spPr>
          <a:xfrm>
            <a:off x="8869586" y="3068960"/>
            <a:ext cx="178742" cy="1836204"/>
          </a:xfrm>
          <a:prstGeom prst="rect">
            <a:avLst/>
          </a:prstGeom>
          <a:noFill/>
          <a:ln w="76200">
            <a:solidFill>
              <a:srgbClr val="FB860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AC1A195-C035-499C-A6E2-786918924C77}"/>
              </a:ext>
            </a:extLst>
          </p:cNvPr>
          <p:cNvSpPr/>
          <p:nvPr/>
        </p:nvSpPr>
        <p:spPr>
          <a:xfrm>
            <a:off x="6420036" y="4918087"/>
            <a:ext cx="5295144" cy="324036"/>
          </a:xfrm>
          <a:prstGeom prst="rect">
            <a:avLst/>
          </a:prstGeom>
          <a:noFill/>
          <a:ln w="762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851B3DF-E13A-4B2B-BB3E-998620AE6EAE}"/>
              </a:ext>
            </a:extLst>
          </p:cNvPr>
          <p:cNvSpPr/>
          <p:nvPr/>
        </p:nvSpPr>
        <p:spPr>
          <a:xfrm>
            <a:off x="8869586" y="5301208"/>
            <a:ext cx="2122958" cy="696999"/>
          </a:xfrm>
          <a:prstGeom prst="rect">
            <a:avLst/>
          </a:prstGeom>
          <a:noFill/>
          <a:ln w="76200">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ADD03291-C713-422E-8403-7733169E7DDC}"/>
              </a:ext>
            </a:extLst>
          </p:cNvPr>
          <p:cNvCxnSpPr/>
          <p:nvPr/>
        </p:nvCxnSpPr>
        <p:spPr>
          <a:xfrm>
            <a:off x="2711624" y="1160748"/>
            <a:ext cx="7092788" cy="756084"/>
          </a:xfrm>
          <a:prstGeom prst="straightConnector1">
            <a:avLst/>
          </a:prstGeom>
          <a:ln w="38100">
            <a:solidFill>
              <a:srgbClr val="FFC000"/>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11049359-7B2C-4BF8-8FEE-6FF3DBB5A258}"/>
              </a:ext>
            </a:extLst>
          </p:cNvPr>
          <p:cNvCxnSpPr>
            <a:cxnSpLocks/>
            <a:endCxn id="14" idx="1"/>
          </p:cNvCxnSpPr>
          <p:nvPr/>
        </p:nvCxnSpPr>
        <p:spPr>
          <a:xfrm flipV="1">
            <a:off x="3863752" y="2168860"/>
            <a:ext cx="5220580" cy="179364"/>
          </a:xfrm>
          <a:prstGeom prst="straightConnector1">
            <a:avLst/>
          </a:prstGeom>
          <a:ln w="38100">
            <a:solidFill>
              <a:srgbClr val="92D050"/>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DF87AF03-1A3E-4C52-A1CD-907660D53401}"/>
              </a:ext>
            </a:extLst>
          </p:cNvPr>
          <p:cNvCxnSpPr>
            <a:cxnSpLocks/>
            <a:endCxn id="15" idx="1"/>
          </p:cNvCxnSpPr>
          <p:nvPr/>
        </p:nvCxnSpPr>
        <p:spPr>
          <a:xfrm flipV="1">
            <a:off x="3863752" y="2551094"/>
            <a:ext cx="3366374" cy="1114789"/>
          </a:xfrm>
          <a:prstGeom prst="straightConnector1">
            <a:avLst/>
          </a:prstGeom>
          <a:ln w="38100">
            <a:solidFill>
              <a:srgbClr val="00B0F0"/>
            </a:solidFill>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753D6FEA-5FAD-4E6D-8B63-2751969C054B}"/>
              </a:ext>
            </a:extLst>
          </p:cNvPr>
          <p:cNvCxnSpPr>
            <a:cxnSpLocks/>
          </p:cNvCxnSpPr>
          <p:nvPr/>
        </p:nvCxnSpPr>
        <p:spPr>
          <a:xfrm flipV="1">
            <a:off x="2099556" y="4334814"/>
            <a:ext cx="6698022" cy="270698"/>
          </a:xfrm>
          <a:prstGeom prst="straightConnector1">
            <a:avLst/>
          </a:prstGeom>
          <a:ln w="38100">
            <a:solidFill>
              <a:srgbClr val="FB8605"/>
            </a:solidFill>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288E4996-3726-40DC-97AF-AE3D59447F2E}"/>
              </a:ext>
            </a:extLst>
          </p:cNvPr>
          <p:cNvCxnSpPr>
            <a:cxnSpLocks/>
            <a:endCxn id="17" idx="1"/>
          </p:cNvCxnSpPr>
          <p:nvPr/>
        </p:nvCxnSpPr>
        <p:spPr>
          <a:xfrm flipV="1">
            <a:off x="3935760" y="5080105"/>
            <a:ext cx="2484276" cy="474594"/>
          </a:xfrm>
          <a:prstGeom prst="straightConnector1">
            <a:avLst/>
          </a:prstGeom>
          <a:ln w="38100">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B8A725D9-FA3C-400A-9123-DEE40934A935}"/>
              </a:ext>
            </a:extLst>
          </p:cNvPr>
          <p:cNvCxnSpPr>
            <a:cxnSpLocks/>
            <a:endCxn id="18" idx="1"/>
          </p:cNvCxnSpPr>
          <p:nvPr/>
        </p:nvCxnSpPr>
        <p:spPr>
          <a:xfrm flipV="1">
            <a:off x="4007768" y="5649708"/>
            <a:ext cx="4861818" cy="538446"/>
          </a:xfrm>
          <a:prstGeom prst="straightConnector1">
            <a:avLst/>
          </a:prstGeom>
          <a:ln w="38100">
            <a:solidFill>
              <a:srgbClr val="7030A0"/>
            </a:solidFill>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AFA145D3-6E9E-4C0E-B092-A63AB970A9EB}"/>
              </a:ext>
            </a:extLst>
          </p:cNvPr>
          <p:cNvSpPr>
            <a:spLocks noGrp="1"/>
          </p:cNvSpPr>
          <p:nvPr>
            <p:ph type="title"/>
          </p:nvPr>
        </p:nvSpPr>
        <p:spPr/>
        <p:txBody>
          <a:bodyPr/>
          <a:lstStyle/>
          <a:p>
            <a:r>
              <a:rPr lang="en-US" altLang="en-US" dirty="0">
                <a:latin typeface="Arial" panose="020B0604020202020204" pitchFamily="34" charset="0"/>
                <a:ea typeface="ＭＳ Ｐゴシック" panose="020B0600070205080204" pitchFamily="34" charset="-128"/>
                <a:cs typeface="Arial" panose="020B0604020202020204" pitchFamily="34" charset="0"/>
              </a:rPr>
              <a:t>Reference voltage generations</a:t>
            </a:r>
          </a:p>
        </p:txBody>
      </p:sp>
      <p:sp>
        <p:nvSpPr>
          <p:cNvPr id="14340" name="Footer Placeholder 3">
            <a:extLst>
              <a:ext uri="{FF2B5EF4-FFF2-40B4-BE49-F238E27FC236}">
                <a16:creationId xmlns:a16="http://schemas.microsoft.com/office/drawing/2014/main" id="{03B2F3EC-8654-4531-B7D8-D650E3F04DAB}"/>
              </a:ext>
            </a:extLst>
          </p:cNvPr>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r>
              <a:rPr lang="de-DE" altLang="en-US">
                <a:solidFill>
                  <a:srgbClr val="898989"/>
                </a:solidFill>
              </a:rPr>
              <a:t>2015 ®Equal1 Proprietary &amp; Confidential</a:t>
            </a:r>
          </a:p>
        </p:txBody>
      </p:sp>
      <p:sp>
        <p:nvSpPr>
          <p:cNvPr id="14341" name="Slide Number Placeholder 4">
            <a:extLst>
              <a:ext uri="{FF2B5EF4-FFF2-40B4-BE49-F238E27FC236}">
                <a16:creationId xmlns:a16="http://schemas.microsoft.com/office/drawing/2014/main" id="{DA8BE68E-53C4-4967-9A17-82B588F105D7}"/>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2827A91A-8544-4762-917D-181D19473A5B}" type="slidenum">
              <a:rPr lang="de-DE" altLang="en-US">
                <a:solidFill>
                  <a:srgbClr val="898989"/>
                </a:solidFill>
              </a:rPr>
              <a:pPr eaLnBrk="1" hangingPunct="1"/>
              <a:t>17</a:t>
            </a:fld>
            <a:endParaRPr lang="de-DE" altLang="en-US">
              <a:solidFill>
                <a:srgbClr val="898989"/>
              </a:solidFill>
            </a:endParaRPr>
          </a:p>
        </p:txBody>
      </p:sp>
      <p:pic>
        <p:nvPicPr>
          <p:cNvPr id="14342" name="Picture 2">
            <a:extLst>
              <a:ext uri="{FF2B5EF4-FFF2-40B4-BE49-F238E27FC236}">
                <a16:creationId xmlns:a16="http://schemas.microsoft.com/office/drawing/2014/main" id="{3BCD2B50-5F7C-4C16-AC84-2A28B63312C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077192" y="1392262"/>
            <a:ext cx="7505208" cy="4521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a:extLst>
              <a:ext uri="{FF2B5EF4-FFF2-40B4-BE49-F238E27FC236}">
                <a16:creationId xmlns:a16="http://schemas.microsoft.com/office/drawing/2014/main" id="{A640E6EA-2728-4DE5-8787-9D3E14253FBF}"/>
              </a:ext>
            </a:extLst>
          </p:cNvPr>
          <p:cNvSpPr>
            <a:spLocks noGrp="1"/>
          </p:cNvSpPr>
          <p:nvPr>
            <p:ph idx="1"/>
          </p:nvPr>
        </p:nvSpPr>
        <p:spPr>
          <a:xfrm>
            <a:off x="227348" y="990600"/>
            <a:ext cx="3780420" cy="5365750"/>
          </a:xfrm>
        </p:spPr>
        <p:txBody>
          <a:bodyPr/>
          <a:lstStyle/>
          <a:p>
            <a:r>
              <a:rPr lang="en-US" dirty="0"/>
              <a:t>Two sigma delta 2</a:t>
            </a:r>
            <a:r>
              <a:rPr lang="en-US" baseline="30000" dirty="0"/>
              <a:t>nd</a:t>
            </a:r>
            <a:r>
              <a:rPr lang="en-US" dirty="0"/>
              <a:t> order capacitive DACs </a:t>
            </a:r>
          </a:p>
          <a:p>
            <a:pPr lvl="1"/>
            <a:r>
              <a:rPr lang="en-US" dirty="0"/>
              <a:t>generate 16 bit reference voltage between 0 and 200 mV</a:t>
            </a:r>
          </a:p>
          <a:p>
            <a:r>
              <a:rPr lang="en-US" dirty="0"/>
              <a:t>Voltage gets sampled to 30pF holding DAC and buffered by unity gain buffers</a:t>
            </a:r>
          </a:p>
          <a:p>
            <a:pPr lvl="1"/>
            <a:r>
              <a:rPr lang="en-US" dirty="0"/>
              <a:t>SD process stopped after voltage is sampled on CDAC, no switching noise in QC operation</a:t>
            </a:r>
          </a:p>
          <a:p>
            <a:r>
              <a:rPr lang="en-US" dirty="0"/>
              <a:t>Diode connected quantum cell reset device with 1:10^5 area ratio is used to generate reset source potential for quantum cell</a:t>
            </a:r>
          </a:p>
          <a:p>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624BD209-9686-4FAD-BDFA-0095A5671C96}"/>
              </a:ext>
            </a:extLst>
          </p:cNvPr>
          <p:cNvSpPr>
            <a:spLocks noGrp="1"/>
          </p:cNvSpPr>
          <p:nvPr>
            <p:ph type="title"/>
          </p:nvPr>
        </p:nvSpPr>
        <p:spPr/>
        <p:txBody>
          <a:bodyPr/>
          <a:lstStyle/>
          <a:p>
            <a:r>
              <a:rPr lang="en-US" altLang="en-US">
                <a:latin typeface="Arial" panose="020B0604020202020204" pitchFamily="34" charset="0"/>
                <a:ea typeface="ＭＳ Ｐゴシック" panose="020B0600070205080204" pitchFamily="34" charset="-128"/>
                <a:cs typeface="Arial" panose="020B0604020202020204" pitchFamily="34" charset="0"/>
              </a:rPr>
              <a:t>qd_frame integrates qd_frame_10</a:t>
            </a:r>
          </a:p>
        </p:txBody>
      </p:sp>
      <p:sp>
        <p:nvSpPr>
          <p:cNvPr id="4" name="Footer Placeholder 3">
            <a:extLst>
              <a:ext uri="{FF2B5EF4-FFF2-40B4-BE49-F238E27FC236}">
                <a16:creationId xmlns:a16="http://schemas.microsoft.com/office/drawing/2014/main" id="{1F7AEFDE-D0F9-40D6-94A1-CA09734BC070}"/>
              </a:ext>
            </a:extLst>
          </p:cNvPr>
          <p:cNvSpPr>
            <a:spLocks noGrp="1"/>
          </p:cNvSpPr>
          <p:nvPr>
            <p:ph type="ftr" sz="quarter" idx="11"/>
          </p:nvPr>
        </p:nvSpPr>
        <p:spPr/>
        <p:txBody>
          <a:bodyPr/>
          <a:lstStyle/>
          <a:p>
            <a:pPr>
              <a:defRPr/>
            </a:pPr>
            <a:r>
              <a:rPr lang="de-DE" altLang="en-US"/>
              <a:t>2015 ®Equal1 Proprietary &amp; Confidential</a:t>
            </a:r>
          </a:p>
        </p:txBody>
      </p:sp>
      <p:sp>
        <p:nvSpPr>
          <p:cNvPr id="5" name="Slide Number Placeholder 4">
            <a:extLst>
              <a:ext uri="{FF2B5EF4-FFF2-40B4-BE49-F238E27FC236}">
                <a16:creationId xmlns:a16="http://schemas.microsoft.com/office/drawing/2014/main" id="{397389F9-0737-44AC-866F-DAF93B3AC8F5}"/>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BAB8BB5D-AD55-4A7D-889A-B4C8BE428AA4}" type="slidenum">
              <a:rPr lang="de-DE" altLang="en-US">
                <a:solidFill>
                  <a:srgbClr val="898989"/>
                </a:solidFill>
              </a:rPr>
              <a:pPr eaLnBrk="1" hangingPunct="1"/>
              <a:t>18</a:t>
            </a:fld>
            <a:endParaRPr lang="de-DE" altLang="en-US">
              <a:solidFill>
                <a:srgbClr val="898989"/>
              </a:solidFill>
            </a:endParaRPr>
          </a:p>
        </p:txBody>
      </p:sp>
      <p:pic>
        <p:nvPicPr>
          <p:cNvPr id="16390" name="Picture 2">
            <a:extLst>
              <a:ext uri="{FF2B5EF4-FFF2-40B4-BE49-F238E27FC236}">
                <a16:creationId xmlns:a16="http://schemas.microsoft.com/office/drawing/2014/main" id="{1ED86EF7-2F56-4016-ACED-51F626CCD8F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55940" y="1131094"/>
            <a:ext cx="6172200" cy="5024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ontent Placeholder 1">
            <a:extLst>
              <a:ext uri="{FF2B5EF4-FFF2-40B4-BE49-F238E27FC236}">
                <a16:creationId xmlns:a16="http://schemas.microsoft.com/office/drawing/2014/main" id="{0D4B1FB3-5860-4C51-AC75-2D4A2D398137}"/>
              </a:ext>
            </a:extLst>
          </p:cNvPr>
          <p:cNvSpPr>
            <a:spLocks noGrp="1"/>
          </p:cNvSpPr>
          <p:nvPr>
            <p:ph idx="1"/>
          </p:nvPr>
        </p:nvSpPr>
        <p:spPr>
          <a:xfrm>
            <a:off x="609600" y="990600"/>
            <a:ext cx="4766320" cy="5365750"/>
          </a:xfrm>
        </p:spPr>
        <p:txBody>
          <a:bodyPr/>
          <a:lstStyle/>
          <a:p>
            <a:r>
              <a:rPr lang="en-US" dirty="0"/>
              <a:t>8 correlated double sampler switch cap amplifiers are connecting to 8 single electron source followers in qubit cell</a:t>
            </a:r>
          </a:p>
          <a:p>
            <a:pPr lvl="1"/>
            <a:r>
              <a:rPr lang="en-US" dirty="0"/>
              <a:t>In first tape out only 4 detector where used</a:t>
            </a:r>
          </a:p>
          <a:p>
            <a:r>
              <a:rPr lang="en-US" dirty="0"/>
              <a:t>Preamp current can be changed between 10nA and 1uA</a:t>
            </a:r>
          </a:p>
          <a:p>
            <a:r>
              <a:rPr lang="en-US" dirty="0"/>
              <a:t>Boot-strapping of SF device increases SF conversion gain by 1.6x</a:t>
            </a:r>
          </a:p>
          <a:p>
            <a:r>
              <a:rPr lang="en-US" dirty="0"/>
              <a:t>Pulse shape filter in specialized RC MOM filter</a:t>
            </a:r>
          </a:p>
          <a:p>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69E59B76-373F-44B2-A53F-60001B254D35}"/>
              </a:ext>
            </a:extLst>
          </p:cNvPr>
          <p:cNvSpPr>
            <a:spLocks noGrp="1"/>
          </p:cNvSpPr>
          <p:nvPr>
            <p:ph type="title"/>
          </p:nvPr>
        </p:nvSpPr>
        <p:spPr>
          <a:xfrm>
            <a:off x="1981200" y="26988"/>
            <a:ext cx="8229600" cy="715962"/>
          </a:xfrm>
        </p:spPr>
        <p:txBody>
          <a:bodyPr/>
          <a:lstStyle/>
          <a:p>
            <a:r>
              <a:rPr lang="en-US" altLang="en-US">
                <a:latin typeface="Arial" panose="020B0604020202020204" pitchFamily="34" charset="0"/>
                <a:ea typeface="ＭＳ Ｐゴシック" panose="020B0600070205080204" pitchFamily="34" charset="-128"/>
                <a:cs typeface="Arial" panose="020B0604020202020204" pitchFamily="34" charset="0"/>
              </a:rPr>
              <a:t>cdac_8bt inverter switched-cap CDAC Extraction</a:t>
            </a:r>
          </a:p>
        </p:txBody>
      </p:sp>
      <p:sp>
        <p:nvSpPr>
          <p:cNvPr id="4" name="Footer Placeholder 3">
            <a:extLst>
              <a:ext uri="{FF2B5EF4-FFF2-40B4-BE49-F238E27FC236}">
                <a16:creationId xmlns:a16="http://schemas.microsoft.com/office/drawing/2014/main" id="{6D644D52-B294-4ACC-BD3B-F29ADD1EB1F4}"/>
              </a:ext>
            </a:extLst>
          </p:cNvPr>
          <p:cNvSpPr>
            <a:spLocks noGrp="1"/>
          </p:cNvSpPr>
          <p:nvPr>
            <p:ph type="ftr" sz="quarter" idx="11"/>
          </p:nvPr>
        </p:nvSpPr>
        <p:spPr/>
        <p:txBody>
          <a:bodyPr/>
          <a:lstStyle/>
          <a:p>
            <a:pPr>
              <a:defRPr/>
            </a:pPr>
            <a:r>
              <a:rPr lang="de-DE" altLang="en-US"/>
              <a:t>2015 ®Equal1 Proprietary &amp; Confidential</a:t>
            </a:r>
          </a:p>
        </p:txBody>
      </p:sp>
      <p:sp>
        <p:nvSpPr>
          <p:cNvPr id="5" name="Slide Number Placeholder 4">
            <a:extLst>
              <a:ext uri="{FF2B5EF4-FFF2-40B4-BE49-F238E27FC236}">
                <a16:creationId xmlns:a16="http://schemas.microsoft.com/office/drawing/2014/main" id="{1C300BB3-3D42-4CD7-985A-E8B0A71D1FA2}"/>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fld id="{FECFFCE5-AC08-424A-B4F5-9CC6029C7E2F}" type="slidenum">
              <a:rPr lang="de-DE" altLang="en-US">
                <a:solidFill>
                  <a:srgbClr val="898989"/>
                </a:solidFill>
              </a:rPr>
              <a:pPr eaLnBrk="1" hangingPunct="1"/>
              <a:t>19</a:t>
            </a:fld>
            <a:endParaRPr lang="de-DE" altLang="en-US">
              <a:solidFill>
                <a:srgbClr val="898989"/>
              </a:solidFill>
            </a:endParaRPr>
          </a:p>
        </p:txBody>
      </p:sp>
      <p:pic>
        <p:nvPicPr>
          <p:cNvPr id="14342" name="Picture 5">
            <a:extLst>
              <a:ext uri="{FF2B5EF4-FFF2-40B4-BE49-F238E27FC236}">
                <a16:creationId xmlns:a16="http://schemas.microsoft.com/office/drawing/2014/main" id="{3088B6D9-26EA-495E-A88A-BF98D242C9D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62600" y="1053158"/>
            <a:ext cx="1892403" cy="50088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343" name="TextBox 22">
            <a:extLst>
              <a:ext uri="{FF2B5EF4-FFF2-40B4-BE49-F238E27FC236}">
                <a16:creationId xmlns:a16="http://schemas.microsoft.com/office/drawing/2014/main" id="{38FAA1B9-ED78-4BC4-9534-F06DA7629BCB}"/>
              </a:ext>
            </a:extLst>
          </p:cNvPr>
          <p:cNvSpPr txBox="1">
            <a:spLocks noChangeArrowheads="1"/>
          </p:cNvSpPr>
          <p:nvPr/>
        </p:nvSpPr>
        <p:spPr bwMode="auto">
          <a:xfrm>
            <a:off x="5910263" y="1647032"/>
            <a:ext cx="1504950" cy="3683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r>
              <a:rPr lang="en-US" altLang="en-US" b="1" dirty="0">
                <a:solidFill>
                  <a:srgbClr val="FFFF00"/>
                </a:solidFill>
              </a:rPr>
              <a:t>PC pre-charge</a:t>
            </a:r>
          </a:p>
        </p:txBody>
      </p:sp>
      <p:cxnSp>
        <p:nvCxnSpPr>
          <p:cNvPr id="24" name="Straight Arrow Connector 23">
            <a:extLst>
              <a:ext uri="{FF2B5EF4-FFF2-40B4-BE49-F238E27FC236}">
                <a16:creationId xmlns:a16="http://schemas.microsoft.com/office/drawing/2014/main" id="{93B49FB3-1339-49C6-A7A3-5E08D0E40EB8}"/>
              </a:ext>
            </a:extLst>
          </p:cNvPr>
          <p:cNvCxnSpPr/>
          <p:nvPr/>
        </p:nvCxnSpPr>
        <p:spPr>
          <a:xfrm>
            <a:off x="6918325" y="2015332"/>
            <a:ext cx="0" cy="727868"/>
          </a:xfrm>
          <a:prstGeom prst="straightConnector1">
            <a:avLst/>
          </a:prstGeom>
          <a:ln>
            <a:solidFill>
              <a:srgbClr val="FFFF00"/>
            </a:solidFill>
            <a:tailEnd type="arrow"/>
          </a:ln>
        </p:spPr>
        <p:style>
          <a:lnRef idx="2">
            <a:schemeClr val="accent1"/>
          </a:lnRef>
          <a:fillRef idx="0">
            <a:schemeClr val="accent1"/>
          </a:fillRef>
          <a:effectRef idx="1">
            <a:schemeClr val="accent1"/>
          </a:effectRef>
          <a:fontRef idx="minor">
            <a:schemeClr val="tx1"/>
          </a:fontRef>
        </p:style>
      </p:cxnSp>
      <p:sp>
        <p:nvSpPr>
          <p:cNvPr id="14345" name="TextBox 24">
            <a:extLst>
              <a:ext uri="{FF2B5EF4-FFF2-40B4-BE49-F238E27FC236}">
                <a16:creationId xmlns:a16="http://schemas.microsoft.com/office/drawing/2014/main" id="{B44C367D-95A7-437C-9CAF-CD07852470EB}"/>
              </a:ext>
            </a:extLst>
          </p:cNvPr>
          <p:cNvSpPr txBox="1">
            <a:spLocks noChangeArrowheads="1"/>
          </p:cNvSpPr>
          <p:nvPr/>
        </p:nvSpPr>
        <p:spPr bwMode="auto">
          <a:xfrm>
            <a:off x="5545202" y="3144042"/>
            <a:ext cx="18938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r>
              <a:rPr lang="en-US" altLang="en-US" b="1" dirty="0">
                <a:solidFill>
                  <a:srgbClr val="FFFF00"/>
                </a:solidFill>
              </a:rPr>
              <a:t>CDAC binary units</a:t>
            </a:r>
          </a:p>
        </p:txBody>
      </p:sp>
      <p:cxnSp>
        <p:nvCxnSpPr>
          <p:cNvPr id="26" name="Straight Arrow Connector 25">
            <a:extLst>
              <a:ext uri="{FF2B5EF4-FFF2-40B4-BE49-F238E27FC236}">
                <a16:creationId xmlns:a16="http://schemas.microsoft.com/office/drawing/2014/main" id="{8CA065FF-FDB8-48DC-84C0-0CC76D4E2A89}"/>
              </a:ext>
            </a:extLst>
          </p:cNvPr>
          <p:cNvCxnSpPr/>
          <p:nvPr/>
        </p:nvCxnSpPr>
        <p:spPr>
          <a:xfrm flipH="1">
            <a:off x="6323077" y="3634580"/>
            <a:ext cx="381000" cy="609600"/>
          </a:xfrm>
          <a:prstGeom prst="straightConnector1">
            <a:avLst/>
          </a:prstGeom>
          <a:ln>
            <a:solidFill>
              <a:srgbClr val="FFFF00"/>
            </a:solidFill>
            <a:tailEnd type="arrow"/>
          </a:ln>
        </p:spPr>
        <p:style>
          <a:lnRef idx="2">
            <a:schemeClr val="accent1"/>
          </a:lnRef>
          <a:fillRef idx="0">
            <a:schemeClr val="accent1"/>
          </a:fillRef>
          <a:effectRef idx="1">
            <a:schemeClr val="accent1"/>
          </a:effectRef>
          <a:fontRef idx="minor">
            <a:schemeClr val="tx1"/>
          </a:fontRef>
        </p:style>
      </p:cxnSp>
      <p:pic>
        <p:nvPicPr>
          <p:cNvPr id="14347" name="Picture 6">
            <a:extLst>
              <a:ext uri="{FF2B5EF4-FFF2-40B4-BE49-F238E27FC236}">
                <a16:creationId xmlns:a16="http://schemas.microsoft.com/office/drawing/2014/main" id="{2EA81415-B274-4862-83FE-E984B6B60D2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81888" y="1057838"/>
            <a:ext cx="4391024" cy="2434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348" name="TextBox 27">
            <a:extLst>
              <a:ext uri="{FF2B5EF4-FFF2-40B4-BE49-F238E27FC236}">
                <a16:creationId xmlns:a16="http://schemas.microsoft.com/office/drawing/2014/main" id="{E849F366-08F5-4A7B-9ADC-9550DDF6811C}"/>
              </a:ext>
            </a:extLst>
          </p:cNvPr>
          <p:cNvSpPr txBox="1">
            <a:spLocks noChangeArrowheads="1"/>
          </p:cNvSpPr>
          <p:nvPr/>
        </p:nvSpPr>
        <p:spPr bwMode="auto">
          <a:xfrm>
            <a:off x="8853487" y="1504224"/>
            <a:ext cx="1647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r>
              <a:rPr lang="en-US" altLang="en-US" b="1" dirty="0">
                <a:solidFill>
                  <a:srgbClr val="FFFF00"/>
                </a:solidFill>
              </a:rPr>
              <a:t>Cdac_nand_c1t</a:t>
            </a:r>
          </a:p>
        </p:txBody>
      </p:sp>
      <p:pic>
        <p:nvPicPr>
          <p:cNvPr id="14349" name="Picture 7">
            <a:extLst>
              <a:ext uri="{FF2B5EF4-FFF2-40B4-BE49-F238E27FC236}">
                <a16:creationId xmlns:a16="http://schemas.microsoft.com/office/drawing/2014/main" id="{D282BEC0-C982-4BF6-BFC4-77DD21E6281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84013" y="3514639"/>
            <a:ext cx="4408631" cy="2434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0" name="Straight Arrow Connector 29">
            <a:extLst>
              <a:ext uri="{FF2B5EF4-FFF2-40B4-BE49-F238E27FC236}">
                <a16:creationId xmlns:a16="http://schemas.microsoft.com/office/drawing/2014/main" id="{FD4CA6CA-8C58-4089-943A-71E7D18BB260}"/>
              </a:ext>
            </a:extLst>
          </p:cNvPr>
          <p:cNvCxnSpPr/>
          <p:nvPr/>
        </p:nvCxnSpPr>
        <p:spPr>
          <a:xfrm flipH="1">
            <a:off x="9296400" y="4019550"/>
            <a:ext cx="381000" cy="609600"/>
          </a:xfrm>
          <a:prstGeom prst="straightConnector1">
            <a:avLst/>
          </a:prstGeom>
          <a:ln>
            <a:solidFill>
              <a:srgbClr val="FFFF00"/>
            </a:solidFill>
            <a:tailEnd type="arrow"/>
          </a:ln>
        </p:spPr>
        <p:style>
          <a:lnRef idx="2">
            <a:schemeClr val="accent1"/>
          </a:lnRef>
          <a:fillRef idx="0">
            <a:schemeClr val="accent1"/>
          </a:fillRef>
          <a:effectRef idx="1">
            <a:schemeClr val="accent1"/>
          </a:effectRef>
          <a:fontRef idx="minor">
            <a:schemeClr val="tx1"/>
          </a:fontRef>
        </p:style>
      </p:cxnSp>
      <p:sp>
        <p:nvSpPr>
          <p:cNvPr id="14351" name="TextBox 30">
            <a:extLst>
              <a:ext uri="{FF2B5EF4-FFF2-40B4-BE49-F238E27FC236}">
                <a16:creationId xmlns:a16="http://schemas.microsoft.com/office/drawing/2014/main" id="{BD5E0322-F086-4896-A42D-B4A7C1A631F9}"/>
              </a:ext>
            </a:extLst>
          </p:cNvPr>
          <p:cNvSpPr txBox="1">
            <a:spLocks noChangeArrowheads="1"/>
          </p:cNvSpPr>
          <p:nvPr/>
        </p:nvSpPr>
        <p:spPr bwMode="auto">
          <a:xfrm>
            <a:off x="9220200" y="3681414"/>
            <a:ext cx="13922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r>
              <a:rPr lang="en-US" altLang="en-US" b="1">
                <a:solidFill>
                  <a:srgbClr val="FFFF00"/>
                </a:solidFill>
              </a:rPr>
              <a:t>NAND driver</a:t>
            </a:r>
          </a:p>
        </p:txBody>
      </p:sp>
      <p:cxnSp>
        <p:nvCxnSpPr>
          <p:cNvPr id="32" name="Straight Arrow Connector 31">
            <a:extLst>
              <a:ext uri="{FF2B5EF4-FFF2-40B4-BE49-F238E27FC236}">
                <a16:creationId xmlns:a16="http://schemas.microsoft.com/office/drawing/2014/main" id="{876197AC-D5B1-4146-B25A-B2E4647D8136}"/>
              </a:ext>
            </a:extLst>
          </p:cNvPr>
          <p:cNvCxnSpPr/>
          <p:nvPr/>
        </p:nvCxnSpPr>
        <p:spPr>
          <a:xfrm flipH="1">
            <a:off x="2207568" y="5503144"/>
            <a:ext cx="381000" cy="6096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4353" name="Picture 8">
            <a:extLst>
              <a:ext uri="{FF2B5EF4-FFF2-40B4-BE49-F238E27FC236}">
                <a16:creationId xmlns:a16="http://schemas.microsoft.com/office/drawing/2014/main" id="{08735F7C-C4B0-4B42-B6B8-382F271277F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11424" y="4594820"/>
            <a:ext cx="2994025" cy="1714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355" name="TextBox 34">
            <a:extLst>
              <a:ext uri="{FF2B5EF4-FFF2-40B4-BE49-F238E27FC236}">
                <a16:creationId xmlns:a16="http://schemas.microsoft.com/office/drawing/2014/main" id="{031E962D-DDD0-476C-9525-37B250E1CAC9}"/>
              </a:ext>
            </a:extLst>
          </p:cNvPr>
          <p:cNvSpPr txBox="1">
            <a:spLocks noChangeArrowheads="1"/>
          </p:cNvSpPr>
          <p:nvPr/>
        </p:nvSpPr>
        <p:spPr bwMode="auto">
          <a:xfrm>
            <a:off x="1733550" y="5504088"/>
            <a:ext cx="15938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ＭＳ Ｐゴシック" panose="020B0600070205080204" pitchFamily="34" charset="-128"/>
              </a:defRPr>
            </a:lvl1pPr>
            <a:lvl2pPr marL="742950" indent="-285750" eaLnBrk="0" hangingPunct="0">
              <a:defRPr>
                <a:solidFill>
                  <a:schemeClr val="tx1"/>
                </a:solidFill>
                <a:latin typeface="Calibri" panose="020F0502020204030204" pitchFamily="34" charset="0"/>
                <a:ea typeface="ＭＳ Ｐゴシック" panose="020B0600070205080204" pitchFamily="34" charset="-128"/>
              </a:defRPr>
            </a:lvl2pPr>
            <a:lvl3pPr marL="1143000" indent="-228600" eaLnBrk="0" hangingPunct="0">
              <a:defRPr>
                <a:solidFill>
                  <a:schemeClr val="tx1"/>
                </a:solidFill>
                <a:latin typeface="Calibri" panose="020F0502020204030204" pitchFamily="34" charset="0"/>
                <a:ea typeface="ＭＳ Ｐゴシック" panose="020B0600070205080204" pitchFamily="34" charset="-128"/>
              </a:defRPr>
            </a:lvl3pPr>
            <a:lvl4pPr marL="1600200" indent="-228600" eaLnBrk="0" hangingPunct="0">
              <a:defRPr>
                <a:solidFill>
                  <a:schemeClr val="tx1"/>
                </a:solidFill>
                <a:latin typeface="Calibri" panose="020F0502020204030204" pitchFamily="34" charset="0"/>
                <a:ea typeface="ＭＳ Ｐゴシック" panose="020B0600070205080204" pitchFamily="34" charset="-128"/>
              </a:defRPr>
            </a:lvl4pPr>
            <a:lvl5pPr marL="2057400" indent="-228600" eaLnBrk="0" hangingPunct="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eaLnBrk="1" hangingPunct="1"/>
            <a:r>
              <a:rPr lang="en-US" altLang="en-US" b="1" dirty="0">
                <a:solidFill>
                  <a:srgbClr val="FFFF00"/>
                </a:solidFill>
              </a:rPr>
              <a:t>Capacitor ratio</a:t>
            </a:r>
          </a:p>
        </p:txBody>
      </p:sp>
      <p:sp>
        <p:nvSpPr>
          <p:cNvPr id="2" name="Content Placeholder 1">
            <a:extLst>
              <a:ext uri="{FF2B5EF4-FFF2-40B4-BE49-F238E27FC236}">
                <a16:creationId xmlns:a16="http://schemas.microsoft.com/office/drawing/2014/main" id="{E1CD0626-C332-4C0D-9116-C75F2F6EDBB7}"/>
              </a:ext>
            </a:extLst>
          </p:cNvPr>
          <p:cNvSpPr>
            <a:spLocks noGrp="1"/>
          </p:cNvSpPr>
          <p:nvPr>
            <p:ph idx="1"/>
          </p:nvPr>
        </p:nvSpPr>
        <p:spPr>
          <a:xfrm>
            <a:off x="609600" y="990600"/>
            <a:ext cx="4778439" cy="3338500"/>
          </a:xfrm>
        </p:spPr>
        <p:txBody>
          <a:bodyPr/>
          <a:lstStyle/>
          <a:p>
            <a:r>
              <a:rPr lang="en-US" dirty="0"/>
              <a:t>Capacitive division based capacitor</a:t>
            </a:r>
          </a:p>
          <a:p>
            <a:r>
              <a:rPr lang="en-US" dirty="0"/>
              <a:t>Reference capacitor is sampled from </a:t>
            </a:r>
            <a:r>
              <a:rPr lang="en-US" dirty="0" err="1"/>
              <a:t>vref</a:t>
            </a:r>
            <a:r>
              <a:rPr lang="en-US" dirty="0"/>
              <a:t> system</a:t>
            </a:r>
          </a:p>
          <a:p>
            <a:r>
              <a:rPr lang="en-US" dirty="0"/>
              <a:t>Only needed inverters receiving pulse</a:t>
            </a:r>
          </a:p>
          <a:p>
            <a:r>
              <a:rPr lang="en-US" dirty="0"/>
              <a:t>Charge is conserved on holding cap</a:t>
            </a:r>
          </a:p>
          <a:p>
            <a:r>
              <a:rPr lang="en-US" dirty="0"/>
              <a:t>First stage driver is injecting pulse compensation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25193" y="858443"/>
          <a:ext cx="1191" cy="1191"/>
        </p:xfrm>
        <a:graphic>
          <a:graphicData uri="http://schemas.openxmlformats.org/presentationml/2006/ole">
            <mc:AlternateContent xmlns:mc="http://schemas.openxmlformats.org/markup-compatibility/2006">
              <mc:Choice xmlns:v="urn:schemas-microsoft-com:vml" Requires="v">
                <p:oleObj spid="_x0000_s1035" name="think-cell Slide" r:id="rId6" imgW="360" imgH="359" progId="TCLayout.ActiveDocument.1">
                  <p:embed/>
                </p:oleObj>
              </mc:Choice>
              <mc:Fallback>
                <p:oleObj name="think-cell Slide" r:id="rId6" imgW="360" imgH="359" progId="TCLayout.ActiveDocument.1">
                  <p:embed/>
                  <p:pic>
                    <p:nvPicPr>
                      <p:cNvPr id="7" name="Object 6" hidden="1"/>
                      <p:cNvPicPr/>
                      <p:nvPr/>
                    </p:nvPicPr>
                    <p:blipFill>
                      <a:blip r:embed="rId7"/>
                      <a:stretch>
                        <a:fillRect/>
                      </a:stretch>
                    </p:blipFill>
                    <p:spPr>
                      <a:xfrm>
                        <a:off x="1525193" y="858443"/>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grpSp>
        <p:nvGrpSpPr>
          <p:cNvPr id="294" name="Group 293"/>
          <p:cNvGrpSpPr/>
          <p:nvPr/>
        </p:nvGrpSpPr>
        <p:grpSpPr>
          <a:xfrm>
            <a:off x="2299360" y="1674831"/>
            <a:ext cx="7353657" cy="4028741"/>
            <a:chOff x="460800" y="1749600"/>
            <a:chExt cx="8143200" cy="4316400"/>
          </a:xfrm>
          <a:solidFill>
            <a:srgbClr val="CCCBCD"/>
          </a:solidFill>
        </p:grpSpPr>
        <p:sp>
          <p:nvSpPr>
            <p:cNvPr id="295" name="Freeform 7"/>
            <p:cNvSpPr>
              <a:spLocks noChangeAspect="1"/>
            </p:cNvSpPr>
            <p:nvPr/>
          </p:nvSpPr>
          <p:spPr bwMode="gray">
            <a:xfrm>
              <a:off x="4710737" y="3114925"/>
              <a:ext cx="115608" cy="128307"/>
            </a:xfrm>
            <a:custGeom>
              <a:avLst/>
              <a:gdLst/>
              <a:ahLst/>
              <a:cxnLst>
                <a:cxn ang="0">
                  <a:pos x="68" y="28"/>
                </a:cxn>
                <a:cxn ang="0">
                  <a:pos x="62" y="26"/>
                </a:cxn>
                <a:cxn ang="0">
                  <a:pos x="60" y="22"/>
                </a:cxn>
                <a:cxn ang="0">
                  <a:pos x="64" y="20"/>
                </a:cxn>
                <a:cxn ang="0">
                  <a:pos x="66" y="20"/>
                </a:cxn>
                <a:cxn ang="0">
                  <a:pos x="64" y="18"/>
                </a:cxn>
                <a:cxn ang="0">
                  <a:pos x="56" y="14"/>
                </a:cxn>
                <a:cxn ang="0">
                  <a:pos x="56" y="16"/>
                </a:cxn>
                <a:cxn ang="0">
                  <a:pos x="52" y="20"/>
                </a:cxn>
                <a:cxn ang="0">
                  <a:pos x="50" y="18"/>
                </a:cxn>
                <a:cxn ang="0">
                  <a:pos x="46" y="14"/>
                </a:cxn>
                <a:cxn ang="0">
                  <a:pos x="42" y="14"/>
                </a:cxn>
                <a:cxn ang="0">
                  <a:pos x="44" y="10"/>
                </a:cxn>
                <a:cxn ang="0">
                  <a:pos x="40" y="4"/>
                </a:cxn>
                <a:cxn ang="0">
                  <a:pos x="36" y="0"/>
                </a:cxn>
                <a:cxn ang="0">
                  <a:pos x="30" y="0"/>
                </a:cxn>
                <a:cxn ang="0">
                  <a:pos x="20" y="4"/>
                </a:cxn>
                <a:cxn ang="0">
                  <a:pos x="18" y="6"/>
                </a:cxn>
                <a:cxn ang="0">
                  <a:pos x="14" y="8"/>
                </a:cxn>
                <a:cxn ang="0">
                  <a:pos x="12" y="12"/>
                </a:cxn>
                <a:cxn ang="0">
                  <a:pos x="12" y="14"/>
                </a:cxn>
                <a:cxn ang="0">
                  <a:pos x="14" y="18"/>
                </a:cxn>
                <a:cxn ang="0">
                  <a:pos x="12" y="22"/>
                </a:cxn>
                <a:cxn ang="0">
                  <a:pos x="12" y="26"/>
                </a:cxn>
                <a:cxn ang="0">
                  <a:pos x="16" y="30"/>
                </a:cxn>
                <a:cxn ang="0">
                  <a:pos x="16" y="32"/>
                </a:cxn>
                <a:cxn ang="0">
                  <a:pos x="10" y="34"/>
                </a:cxn>
                <a:cxn ang="0">
                  <a:pos x="12" y="36"/>
                </a:cxn>
                <a:cxn ang="0">
                  <a:pos x="16" y="38"/>
                </a:cxn>
                <a:cxn ang="0">
                  <a:pos x="16" y="40"/>
                </a:cxn>
                <a:cxn ang="0">
                  <a:pos x="10" y="44"/>
                </a:cxn>
                <a:cxn ang="0">
                  <a:pos x="8" y="48"/>
                </a:cxn>
                <a:cxn ang="0">
                  <a:pos x="2" y="50"/>
                </a:cxn>
                <a:cxn ang="0">
                  <a:pos x="0" y="54"/>
                </a:cxn>
                <a:cxn ang="0">
                  <a:pos x="0" y="58"/>
                </a:cxn>
                <a:cxn ang="0">
                  <a:pos x="2" y="66"/>
                </a:cxn>
                <a:cxn ang="0">
                  <a:pos x="4" y="66"/>
                </a:cxn>
                <a:cxn ang="0">
                  <a:pos x="10" y="72"/>
                </a:cxn>
                <a:cxn ang="0">
                  <a:pos x="12" y="66"/>
                </a:cxn>
                <a:cxn ang="0">
                  <a:pos x="22" y="68"/>
                </a:cxn>
                <a:cxn ang="0">
                  <a:pos x="30" y="70"/>
                </a:cxn>
                <a:cxn ang="0">
                  <a:pos x="32" y="78"/>
                </a:cxn>
                <a:cxn ang="0">
                  <a:pos x="42" y="70"/>
                </a:cxn>
                <a:cxn ang="0">
                  <a:pos x="46" y="68"/>
                </a:cxn>
                <a:cxn ang="0">
                  <a:pos x="54" y="68"/>
                </a:cxn>
                <a:cxn ang="0">
                  <a:pos x="62" y="64"/>
                </a:cxn>
                <a:cxn ang="0">
                  <a:pos x="62" y="64"/>
                </a:cxn>
                <a:cxn ang="0">
                  <a:pos x="64" y="60"/>
                </a:cxn>
                <a:cxn ang="0">
                  <a:pos x="68" y="52"/>
                </a:cxn>
                <a:cxn ang="0">
                  <a:pos x="68" y="52"/>
                </a:cxn>
                <a:cxn ang="0">
                  <a:pos x="60" y="48"/>
                </a:cxn>
                <a:cxn ang="0">
                  <a:pos x="58" y="44"/>
                </a:cxn>
                <a:cxn ang="0">
                  <a:pos x="60" y="40"/>
                </a:cxn>
                <a:cxn ang="0">
                  <a:pos x="64" y="36"/>
                </a:cxn>
                <a:cxn ang="0">
                  <a:pos x="68" y="32"/>
                </a:cxn>
                <a:cxn ang="0">
                  <a:pos x="68" y="28"/>
                </a:cxn>
              </a:cxnLst>
              <a:rect l="0" t="0" r="r" b="b"/>
              <a:pathLst>
                <a:path w="68" h="78">
                  <a:moveTo>
                    <a:pt x="68" y="28"/>
                  </a:moveTo>
                  <a:lnTo>
                    <a:pt x="68" y="28"/>
                  </a:lnTo>
                  <a:lnTo>
                    <a:pt x="66" y="28"/>
                  </a:lnTo>
                  <a:lnTo>
                    <a:pt x="62" y="26"/>
                  </a:lnTo>
                  <a:lnTo>
                    <a:pt x="62" y="26"/>
                  </a:lnTo>
                  <a:lnTo>
                    <a:pt x="60" y="22"/>
                  </a:lnTo>
                  <a:lnTo>
                    <a:pt x="60" y="20"/>
                  </a:lnTo>
                  <a:lnTo>
                    <a:pt x="64" y="20"/>
                  </a:lnTo>
                  <a:lnTo>
                    <a:pt x="64" y="20"/>
                  </a:lnTo>
                  <a:lnTo>
                    <a:pt x="66" y="20"/>
                  </a:lnTo>
                  <a:lnTo>
                    <a:pt x="64" y="18"/>
                  </a:lnTo>
                  <a:lnTo>
                    <a:pt x="64" y="18"/>
                  </a:lnTo>
                  <a:lnTo>
                    <a:pt x="60" y="14"/>
                  </a:lnTo>
                  <a:lnTo>
                    <a:pt x="56" y="14"/>
                  </a:lnTo>
                  <a:lnTo>
                    <a:pt x="56" y="16"/>
                  </a:lnTo>
                  <a:lnTo>
                    <a:pt x="56" y="16"/>
                  </a:lnTo>
                  <a:lnTo>
                    <a:pt x="54" y="18"/>
                  </a:lnTo>
                  <a:lnTo>
                    <a:pt x="52" y="20"/>
                  </a:lnTo>
                  <a:lnTo>
                    <a:pt x="50" y="18"/>
                  </a:lnTo>
                  <a:lnTo>
                    <a:pt x="50" y="18"/>
                  </a:lnTo>
                  <a:lnTo>
                    <a:pt x="48" y="14"/>
                  </a:lnTo>
                  <a:lnTo>
                    <a:pt x="46" y="14"/>
                  </a:lnTo>
                  <a:lnTo>
                    <a:pt x="46" y="14"/>
                  </a:lnTo>
                  <a:lnTo>
                    <a:pt x="42" y="14"/>
                  </a:lnTo>
                  <a:lnTo>
                    <a:pt x="44" y="10"/>
                  </a:lnTo>
                  <a:lnTo>
                    <a:pt x="44" y="10"/>
                  </a:lnTo>
                  <a:lnTo>
                    <a:pt x="42" y="6"/>
                  </a:lnTo>
                  <a:lnTo>
                    <a:pt x="40" y="4"/>
                  </a:lnTo>
                  <a:lnTo>
                    <a:pt x="36" y="0"/>
                  </a:lnTo>
                  <a:lnTo>
                    <a:pt x="36" y="0"/>
                  </a:lnTo>
                  <a:lnTo>
                    <a:pt x="30" y="0"/>
                  </a:lnTo>
                  <a:lnTo>
                    <a:pt x="30" y="0"/>
                  </a:lnTo>
                  <a:lnTo>
                    <a:pt x="24" y="0"/>
                  </a:lnTo>
                  <a:lnTo>
                    <a:pt x="20" y="4"/>
                  </a:lnTo>
                  <a:lnTo>
                    <a:pt x="20" y="4"/>
                  </a:lnTo>
                  <a:lnTo>
                    <a:pt x="18" y="6"/>
                  </a:lnTo>
                  <a:lnTo>
                    <a:pt x="14" y="8"/>
                  </a:lnTo>
                  <a:lnTo>
                    <a:pt x="14" y="8"/>
                  </a:lnTo>
                  <a:lnTo>
                    <a:pt x="12" y="10"/>
                  </a:lnTo>
                  <a:lnTo>
                    <a:pt x="12" y="12"/>
                  </a:lnTo>
                  <a:lnTo>
                    <a:pt x="12" y="14"/>
                  </a:lnTo>
                  <a:lnTo>
                    <a:pt x="12" y="14"/>
                  </a:lnTo>
                  <a:lnTo>
                    <a:pt x="14" y="16"/>
                  </a:lnTo>
                  <a:lnTo>
                    <a:pt x="14" y="18"/>
                  </a:lnTo>
                  <a:lnTo>
                    <a:pt x="12" y="22"/>
                  </a:lnTo>
                  <a:lnTo>
                    <a:pt x="12" y="22"/>
                  </a:lnTo>
                  <a:lnTo>
                    <a:pt x="12" y="26"/>
                  </a:lnTo>
                  <a:lnTo>
                    <a:pt x="12" y="26"/>
                  </a:lnTo>
                  <a:lnTo>
                    <a:pt x="14" y="30"/>
                  </a:lnTo>
                  <a:lnTo>
                    <a:pt x="16" y="30"/>
                  </a:lnTo>
                  <a:lnTo>
                    <a:pt x="16" y="32"/>
                  </a:lnTo>
                  <a:lnTo>
                    <a:pt x="16" y="32"/>
                  </a:lnTo>
                  <a:lnTo>
                    <a:pt x="14" y="34"/>
                  </a:lnTo>
                  <a:lnTo>
                    <a:pt x="10" y="34"/>
                  </a:lnTo>
                  <a:lnTo>
                    <a:pt x="10" y="34"/>
                  </a:lnTo>
                  <a:lnTo>
                    <a:pt x="12" y="36"/>
                  </a:lnTo>
                  <a:lnTo>
                    <a:pt x="14" y="38"/>
                  </a:lnTo>
                  <a:lnTo>
                    <a:pt x="16" y="38"/>
                  </a:lnTo>
                  <a:lnTo>
                    <a:pt x="16" y="40"/>
                  </a:lnTo>
                  <a:lnTo>
                    <a:pt x="16" y="40"/>
                  </a:lnTo>
                  <a:lnTo>
                    <a:pt x="14" y="42"/>
                  </a:lnTo>
                  <a:lnTo>
                    <a:pt x="10" y="44"/>
                  </a:lnTo>
                  <a:lnTo>
                    <a:pt x="10" y="44"/>
                  </a:lnTo>
                  <a:lnTo>
                    <a:pt x="8" y="48"/>
                  </a:lnTo>
                  <a:lnTo>
                    <a:pt x="8" y="48"/>
                  </a:lnTo>
                  <a:lnTo>
                    <a:pt x="2" y="50"/>
                  </a:lnTo>
                  <a:lnTo>
                    <a:pt x="2" y="50"/>
                  </a:lnTo>
                  <a:lnTo>
                    <a:pt x="0" y="54"/>
                  </a:lnTo>
                  <a:lnTo>
                    <a:pt x="0" y="58"/>
                  </a:lnTo>
                  <a:lnTo>
                    <a:pt x="0" y="58"/>
                  </a:lnTo>
                  <a:lnTo>
                    <a:pt x="0" y="62"/>
                  </a:lnTo>
                  <a:lnTo>
                    <a:pt x="2" y="66"/>
                  </a:lnTo>
                  <a:lnTo>
                    <a:pt x="2" y="66"/>
                  </a:lnTo>
                  <a:lnTo>
                    <a:pt x="4" y="66"/>
                  </a:lnTo>
                  <a:lnTo>
                    <a:pt x="4" y="66"/>
                  </a:lnTo>
                  <a:lnTo>
                    <a:pt x="10" y="72"/>
                  </a:lnTo>
                  <a:lnTo>
                    <a:pt x="10" y="72"/>
                  </a:lnTo>
                  <a:lnTo>
                    <a:pt x="12" y="66"/>
                  </a:lnTo>
                  <a:lnTo>
                    <a:pt x="20" y="62"/>
                  </a:lnTo>
                  <a:lnTo>
                    <a:pt x="22" y="68"/>
                  </a:lnTo>
                  <a:lnTo>
                    <a:pt x="24" y="64"/>
                  </a:lnTo>
                  <a:lnTo>
                    <a:pt x="30" y="70"/>
                  </a:lnTo>
                  <a:lnTo>
                    <a:pt x="32" y="78"/>
                  </a:lnTo>
                  <a:lnTo>
                    <a:pt x="32" y="78"/>
                  </a:lnTo>
                  <a:lnTo>
                    <a:pt x="38" y="72"/>
                  </a:lnTo>
                  <a:lnTo>
                    <a:pt x="42" y="70"/>
                  </a:lnTo>
                  <a:lnTo>
                    <a:pt x="44" y="74"/>
                  </a:lnTo>
                  <a:lnTo>
                    <a:pt x="46" y="68"/>
                  </a:lnTo>
                  <a:lnTo>
                    <a:pt x="50" y="68"/>
                  </a:lnTo>
                  <a:lnTo>
                    <a:pt x="54" y="68"/>
                  </a:lnTo>
                  <a:lnTo>
                    <a:pt x="60" y="66"/>
                  </a:lnTo>
                  <a:lnTo>
                    <a:pt x="62" y="64"/>
                  </a:lnTo>
                  <a:lnTo>
                    <a:pt x="62" y="64"/>
                  </a:lnTo>
                  <a:lnTo>
                    <a:pt x="62" y="64"/>
                  </a:lnTo>
                  <a:lnTo>
                    <a:pt x="64" y="60"/>
                  </a:lnTo>
                  <a:lnTo>
                    <a:pt x="64" y="60"/>
                  </a:lnTo>
                  <a:lnTo>
                    <a:pt x="68" y="54"/>
                  </a:lnTo>
                  <a:lnTo>
                    <a:pt x="68" y="52"/>
                  </a:lnTo>
                  <a:lnTo>
                    <a:pt x="68" y="52"/>
                  </a:lnTo>
                  <a:lnTo>
                    <a:pt x="68" y="52"/>
                  </a:lnTo>
                  <a:lnTo>
                    <a:pt x="62" y="50"/>
                  </a:lnTo>
                  <a:lnTo>
                    <a:pt x="60" y="48"/>
                  </a:lnTo>
                  <a:lnTo>
                    <a:pt x="60" y="48"/>
                  </a:lnTo>
                  <a:lnTo>
                    <a:pt x="58" y="44"/>
                  </a:lnTo>
                  <a:lnTo>
                    <a:pt x="60" y="40"/>
                  </a:lnTo>
                  <a:lnTo>
                    <a:pt x="60" y="40"/>
                  </a:lnTo>
                  <a:lnTo>
                    <a:pt x="60" y="38"/>
                  </a:lnTo>
                  <a:lnTo>
                    <a:pt x="64" y="36"/>
                  </a:lnTo>
                  <a:lnTo>
                    <a:pt x="64" y="36"/>
                  </a:lnTo>
                  <a:lnTo>
                    <a:pt x="68" y="32"/>
                  </a:lnTo>
                  <a:lnTo>
                    <a:pt x="68" y="28"/>
                  </a:lnTo>
                  <a:lnTo>
                    <a:pt x="68" y="2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296" name="Freeform 10"/>
            <p:cNvSpPr>
              <a:spLocks noChangeAspect="1"/>
            </p:cNvSpPr>
            <p:nvPr/>
          </p:nvSpPr>
          <p:spPr bwMode="gray">
            <a:xfrm>
              <a:off x="6618266" y="3795942"/>
              <a:ext cx="163211" cy="404662"/>
            </a:xfrm>
            <a:custGeom>
              <a:avLst/>
              <a:gdLst/>
              <a:ahLst/>
              <a:cxnLst>
                <a:cxn ang="0">
                  <a:pos x="66" y="26"/>
                </a:cxn>
                <a:cxn ang="0">
                  <a:pos x="52" y="14"/>
                </a:cxn>
                <a:cxn ang="0">
                  <a:pos x="44" y="2"/>
                </a:cxn>
                <a:cxn ang="0">
                  <a:pos x="22" y="6"/>
                </a:cxn>
                <a:cxn ang="0">
                  <a:pos x="0" y="10"/>
                </a:cxn>
                <a:cxn ang="0">
                  <a:pos x="8" y="30"/>
                </a:cxn>
                <a:cxn ang="0">
                  <a:pos x="20" y="38"/>
                </a:cxn>
                <a:cxn ang="0">
                  <a:pos x="36" y="40"/>
                </a:cxn>
                <a:cxn ang="0">
                  <a:pos x="26" y="54"/>
                </a:cxn>
                <a:cxn ang="0">
                  <a:pos x="30" y="68"/>
                </a:cxn>
                <a:cxn ang="0">
                  <a:pos x="42" y="90"/>
                </a:cxn>
                <a:cxn ang="0">
                  <a:pos x="54" y="104"/>
                </a:cxn>
                <a:cxn ang="0">
                  <a:pos x="64" y="120"/>
                </a:cxn>
                <a:cxn ang="0">
                  <a:pos x="66" y="140"/>
                </a:cxn>
                <a:cxn ang="0">
                  <a:pos x="70" y="162"/>
                </a:cxn>
                <a:cxn ang="0">
                  <a:pos x="68" y="184"/>
                </a:cxn>
                <a:cxn ang="0">
                  <a:pos x="56" y="196"/>
                </a:cxn>
                <a:cxn ang="0">
                  <a:pos x="46" y="202"/>
                </a:cxn>
                <a:cxn ang="0">
                  <a:pos x="32" y="208"/>
                </a:cxn>
                <a:cxn ang="0">
                  <a:pos x="28" y="218"/>
                </a:cxn>
                <a:cxn ang="0">
                  <a:pos x="30" y="236"/>
                </a:cxn>
                <a:cxn ang="0">
                  <a:pos x="34" y="242"/>
                </a:cxn>
                <a:cxn ang="0">
                  <a:pos x="32" y="246"/>
                </a:cxn>
                <a:cxn ang="0">
                  <a:pos x="36" y="246"/>
                </a:cxn>
                <a:cxn ang="0">
                  <a:pos x="40" y="238"/>
                </a:cxn>
                <a:cxn ang="0">
                  <a:pos x="44" y="228"/>
                </a:cxn>
                <a:cxn ang="0">
                  <a:pos x="42" y="222"/>
                </a:cxn>
                <a:cxn ang="0">
                  <a:pos x="48" y="230"/>
                </a:cxn>
                <a:cxn ang="0">
                  <a:pos x="52" y="228"/>
                </a:cxn>
                <a:cxn ang="0">
                  <a:pos x="54" y="226"/>
                </a:cxn>
                <a:cxn ang="0">
                  <a:pos x="46" y="220"/>
                </a:cxn>
                <a:cxn ang="0">
                  <a:pos x="42" y="216"/>
                </a:cxn>
                <a:cxn ang="0">
                  <a:pos x="58" y="218"/>
                </a:cxn>
                <a:cxn ang="0">
                  <a:pos x="62" y="218"/>
                </a:cxn>
                <a:cxn ang="0">
                  <a:pos x="62" y="216"/>
                </a:cxn>
                <a:cxn ang="0">
                  <a:pos x="66" y="218"/>
                </a:cxn>
                <a:cxn ang="0">
                  <a:pos x="72" y="210"/>
                </a:cxn>
                <a:cxn ang="0">
                  <a:pos x="76" y="210"/>
                </a:cxn>
                <a:cxn ang="0">
                  <a:pos x="90" y="194"/>
                </a:cxn>
                <a:cxn ang="0">
                  <a:pos x="94" y="192"/>
                </a:cxn>
                <a:cxn ang="0">
                  <a:pos x="92" y="182"/>
                </a:cxn>
                <a:cxn ang="0">
                  <a:pos x="96" y="178"/>
                </a:cxn>
                <a:cxn ang="0">
                  <a:pos x="94" y="172"/>
                </a:cxn>
                <a:cxn ang="0">
                  <a:pos x="90" y="164"/>
                </a:cxn>
                <a:cxn ang="0">
                  <a:pos x="88" y="152"/>
                </a:cxn>
                <a:cxn ang="0">
                  <a:pos x="88" y="146"/>
                </a:cxn>
                <a:cxn ang="0">
                  <a:pos x="86" y="140"/>
                </a:cxn>
                <a:cxn ang="0">
                  <a:pos x="76" y="128"/>
                </a:cxn>
                <a:cxn ang="0">
                  <a:pos x="76" y="120"/>
                </a:cxn>
                <a:cxn ang="0">
                  <a:pos x="68" y="116"/>
                </a:cxn>
                <a:cxn ang="0">
                  <a:pos x="64" y="104"/>
                </a:cxn>
                <a:cxn ang="0">
                  <a:pos x="54" y="98"/>
                </a:cxn>
                <a:cxn ang="0">
                  <a:pos x="50" y="90"/>
                </a:cxn>
                <a:cxn ang="0">
                  <a:pos x="40" y="76"/>
                </a:cxn>
                <a:cxn ang="0">
                  <a:pos x="42" y="68"/>
                </a:cxn>
                <a:cxn ang="0">
                  <a:pos x="42" y="58"/>
                </a:cxn>
                <a:cxn ang="0">
                  <a:pos x="60" y="42"/>
                </a:cxn>
                <a:cxn ang="0">
                  <a:pos x="60" y="38"/>
                </a:cxn>
                <a:cxn ang="0">
                  <a:pos x="66" y="36"/>
                </a:cxn>
                <a:cxn ang="0">
                  <a:pos x="76" y="30"/>
                </a:cxn>
                <a:cxn ang="0">
                  <a:pos x="76" y="28"/>
                </a:cxn>
              </a:cxnLst>
              <a:rect l="0" t="0" r="r" b="b"/>
              <a:pathLst>
                <a:path w="96" h="246">
                  <a:moveTo>
                    <a:pt x="76" y="28"/>
                  </a:moveTo>
                  <a:lnTo>
                    <a:pt x="70" y="26"/>
                  </a:lnTo>
                  <a:lnTo>
                    <a:pt x="66" y="26"/>
                  </a:lnTo>
                  <a:lnTo>
                    <a:pt x="60" y="24"/>
                  </a:lnTo>
                  <a:lnTo>
                    <a:pt x="56" y="20"/>
                  </a:lnTo>
                  <a:lnTo>
                    <a:pt x="52" y="14"/>
                  </a:lnTo>
                  <a:lnTo>
                    <a:pt x="54" y="6"/>
                  </a:lnTo>
                  <a:lnTo>
                    <a:pt x="48" y="4"/>
                  </a:lnTo>
                  <a:lnTo>
                    <a:pt x="44" y="2"/>
                  </a:lnTo>
                  <a:lnTo>
                    <a:pt x="38" y="0"/>
                  </a:lnTo>
                  <a:lnTo>
                    <a:pt x="32" y="6"/>
                  </a:lnTo>
                  <a:lnTo>
                    <a:pt x="22" y="6"/>
                  </a:lnTo>
                  <a:lnTo>
                    <a:pt x="14" y="8"/>
                  </a:lnTo>
                  <a:lnTo>
                    <a:pt x="6" y="6"/>
                  </a:lnTo>
                  <a:lnTo>
                    <a:pt x="0" y="10"/>
                  </a:lnTo>
                  <a:lnTo>
                    <a:pt x="4" y="20"/>
                  </a:lnTo>
                  <a:lnTo>
                    <a:pt x="4" y="24"/>
                  </a:lnTo>
                  <a:lnTo>
                    <a:pt x="8" y="30"/>
                  </a:lnTo>
                  <a:lnTo>
                    <a:pt x="14" y="32"/>
                  </a:lnTo>
                  <a:lnTo>
                    <a:pt x="14" y="36"/>
                  </a:lnTo>
                  <a:lnTo>
                    <a:pt x="20" y="38"/>
                  </a:lnTo>
                  <a:lnTo>
                    <a:pt x="24" y="34"/>
                  </a:lnTo>
                  <a:lnTo>
                    <a:pt x="30" y="36"/>
                  </a:lnTo>
                  <a:lnTo>
                    <a:pt x="36" y="40"/>
                  </a:lnTo>
                  <a:lnTo>
                    <a:pt x="36" y="48"/>
                  </a:lnTo>
                  <a:lnTo>
                    <a:pt x="32" y="50"/>
                  </a:lnTo>
                  <a:lnTo>
                    <a:pt x="26" y="54"/>
                  </a:lnTo>
                  <a:lnTo>
                    <a:pt x="22" y="56"/>
                  </a:lnTo>
                  <a:lnTo>
                    <a:pt x="22" y="64"/>
                  </a:lnTo>
                  <a:lnTo>
                    <a:pt x="30" y="68"/>
                  </a:lnTo>
                  <a:lnTo>
                    <a:pt x="32" y="78"/>
                  </a:lnTo>
                  <a:lnTo>
                    <a:pt x="38" y="86"/>
                  </a:lnTo>
                  <a:lnTo>
                    <a:pt x="42" y="90"/>
                  </a:lnTo>
                  <a:lnTo>
                    <a:pt x="44" y="96"/>
                  </a:lnTo>
                  <a:lnTo>
                    <a:pt x="48" y="100"/>
                  </a:lnTo>
                  <a:lnTo>
                    <a:pt x="54" y="104"/>
                  </a:lnTo>
                  <a:lnTo>
                    <a:pt x="56" y="110"/>
                  </a:lnTo>
                  <a:lnTo>
                    <a:pt x="60" y="118"/>
                  </a:lnTo>
                  <a:lnTo>
                    <a:pt x="64" y="120"/>
                  </a:lnTo>
                  <a:lnTo>
                    <a:pt x="66" y="126"/>
                  </a:lnTo>
                  <a:lnTo>
                    <a:pt x="66" y="136"/>
                  </a:lnTo>
                  <a:lnTo>
                    <a:pt x="66" y="140"/>
                  </a:lnTo>
                  <a:lnTo>
                    <a:pt x="66" y="148"/>
                  </a:lnTo>
                  <a:lnTo>
                    <a:pt x="68" y="154"/>
                  </a:lnTo>
                  <a:lnTo>
                    <a:pt x="70" y="162"/>
                  </a:lnTo>
                  <a:lnTo>
                    <a:pt x="70" y="170"/>
                  </a:lnTo>
                  <a:lnTo>
                    <a:pt x="68" y="176"/>
                  </a:lnTo>
                  <a:lnTo>
                    <a:pt x="68" y="184"/>
                  </a:lnTo>
                  <a:lnTo>
                    <a:pt x="66" y="190"/>
                  </a:lnTo>
                  <a:lnTo>
                    <a:pt x="62" y="194"/>
                  </a:lnTo>
                  <a:lnTo>
                    <a:pt x="56" y="196"/>
                  </a:lnTo>
                  <a:lnTo>
                    <a:pt x="54" y="198"/>
                  </a:lnTo>
                  <a:lnTo>
                    <a:pt x="52" y="204"/>
                  </a:lnTo>
                  <a:lnTo>
                    <a:pt x="46" y="202"/>
                  </a:lnTo>
                  <a:lnTo>
                    <a:pt x="38" y="202"/>
                  </a:lnTo>
                  <a:lnTo>
                    <a:pt x="36" y="206"/>
                  </a:lnTo>
                  <a:lnTo>
                    <a:pt x="32" y="208"/>
                  </a:lnTo>
                  <a:lnTo>
                    <a:pt x="26" y="216"/>
                  </a:lnTo>
                  <a:lnTo>
                    <a:pt x="26" y="216"/>
                  </a:lnTo>
                  <a:lnTo>
                    <a:pt x="28" y="218"/>
                  </a:lnTo>
                  <a:lnTo>
                    <a:pt x="30" y="222"/>
                  </a:lnTo>
                  <a:lnTo>
                    <a:pt x="30" y="222"/>
                  </a:lnTo>
                  <a:lnTo>
                    <a:pt x="30" y="236"/>
                  </a:lnTo>
                  <a:lnTo>
                    <a:pt x="30" y="236"/>
                  </a:lnTo>
                  <a:lnTo>
                    <a:pt x="30" y="240"/>
                  </a:lnTo>
                  <a:lnTo>
                    <a:pt x="34" y="242"/>
                  </a:lnTo>
                  <a:lnTo>
                    <a:pt x="34" y="242"/>
                  </a:lnTo>
                  <a:lnTo>
                    <a:pt x="32" y="246"/>
                  </a:lnTo>
                  <a:lnTo>
                    <a:pt x="32" y="246"/>
                  </a:lnTo>
                  <a:lnTo>
                    <a:pt x="34" y="246"/>
                  </a:lnTo>
                  <a:lnTo>
                    <a:pt x="34" y="246"/>
                  </a:lnTo>
                  <a:lnTo>
                    <a:pt x="36" y="246"/>
                  </a:lnTo>
                  <a:lnTo>
                    <a:pt x="38" y="242"/>
                  </a:lnTo>
                  <a:lnTo>
                    <a:pt x="40" y="238"/>
                  </a:lnTo>
                  <a:lnTo>
                    <a:pt x="40" y="238"/>
                  </a:lnTo>
                  <a:lnTo>
                    <a:pt x="46" y="238"/>
                  </a:lnTo>
                  <a:lnTo>
                    <a:pt x="46" y="238"/>
                  </a:lnTo>
                  <a:lnTo>
                    <a:pt x="44" y="228"/>
                  </a:lnTo>
                  <a:lnTo>
                    <a:pt x="44" y="228"/>
                  </a:lnTo>
                  <a:lnTo>
                    <a:pt x="42" y="224"/>
                  </a:lnTo>
                  <a:lnTo>
                    <a:pt x="42" y="222"/>
                  </a:lnTo>
                  <a:lnTo>
                    <a:pt x="42" y="222"/>
                  </a:lnTo>
                  <a:lnTo>
                    <a:pt x="42" y="222"/>
                  </a:lnTo>
                  <a:lnTo>
                    <a:pt x="48" y="230"/>
                  </a:lnTo>
                  <a:lnTo>
                    <a:pt x="48" y="230"/>
                  </a:lnTo>
                  <a:lnTo>
                    <a:pt x="52" y="230"/>
                  </a:lnTo>
                  <a:lnTo>
                    <a:pt x="52" y="228"/>
                  </a:lnTo>
                  <a:lnTo>
                    <a:pt x="54" y="228"/>
                  </a:lnTo>
                  <a:lnTo>
                    <a:pt x="54" y="226"/>
                  </a:lnTo>
                  <a:lnTo>
                    <a:pt x="54" y="226"/>
                  </a:lnTo>
                  <a:lnTo>
                    <a:pt x="50" y="224"/>
                  </a:lnTo>
                  <a:lnTo>
                    <a:pt x="46" y="222"/>
                  </a:lnTo>
                  <a:lnTo>
                    <a:pt x="46" y="220"/>
                  </a:lnTo>
                  <a:lnTo>
                    <a:pt x="46" y="220"/>
                  </a:lnTo>
                  <a:lnTo>
                    <a:pt x="42" y="216"/>
                  </a:lnTo>
                  <a:lnTo>
                    <a:pt x="42" y="216"/>
                  </a:lnTo>
                  <a:lnTo>
                    <a:pt x="50" y="218"/>
                  </a:lnTo>
                  <a:lnTo>
                    <a:pt x="58" y="220"/>
                  </a:lnTo>
                  <a:lnTo>
                    <a:pt x="58" y="218"/>
                  </a:lnTo>
                  <a:lnTo>
                    <a:pt x="58" y="218"/>
                  </a:lnTo>
                  <a:lnTo>
                    <a:pt x="60" y="218"/>
                  </a:lnTo>
                  <a:lnTo>
                    <a:pt x="62" y="218"/>
                  </a:lnTo>
                  <a:lnTo>
                    <a:pt x="62" y="218"/>
                  </a:lnTo>
                  <a:lnTo>
                    <a:pt x="62" y="216"/>
                  </a:lnTo>
                  <a:lnTo>
                    <a:pt x="62" y="216"/>
                  </a:lnTo>
                  <a:lnTo>
                    <a:pt x="62" y="216"/>
                  </a:lnTo>
                  <a:lnTo>
                    <a:pt x="64" y="216"/>
                  </a:lnTo>
                  <a:lnTo>
                    <a:pt x="66" y="218"/>
                  </a:lnTo>
                  <a:lnTo>
                    <a:pt x="66" y="218"/>
                  </a:lnTo>
                  <a:lnTo>
                    <a:pt x="70" y="214"/>
                  </a:lnTo>
                  <a:lnTo>
                    <a:pt x="72" y="210"/>
                  </a:lnTo>
                  <a:lnTo>
                    <a:pt x="72" y="210"/>
                  </a:lnTo>
                  <a:lnTo>
                    <a:pt x="76" y="210"/>
                  </a:lnTo>
                  <a:lnTo>
                    <a:pt x="76" y="210"/>
                  </a:lnTo>
                  <a:lnTo>
                    <a:pt x="90" y="198"/>
                  </a:lnTo>
                  <a:lnTo>
                    <a:pt x="90" y="198"/>
                  </a:lnTo>
                  <a:lnTo>
                    <a:pt x="90" y="194"/>
                  </a:lnTo>
                  <a:lnTo>
                    <a:pt x="90" y="194"/>
                  </a:lnTo>
                  <a:lnTo>
                    <a:pt x="94" y="192"/>
                  </a:lnTo>
                  <a:lnTo>
                    <a:pt x="94" y="192"/>
                  </a:lnTo>
                  <a:lnTo>
                    <a:pt x="94" y="188"/>
                  </a:lnTo>
                  <a:lnTo>
                    <a:pt x="92" y="186"/>
                  </a:lnTo>
                  <a:lnTo>
                    <a:pt x="92" y="182"/>
                  </a:lnTo>
                  <a:lnTo>
                    <a:pt x="92" y="180"/>
                  </a:lnTo>
                  <a:lnTo>
                    <a:pt x="92" y="180"/>
                  </a:lnTo>
                  <a:lnTo>
                    <a:pt x="96" y="178"/>
                  </a:lnTo>
                  <a:lnTo>
                    <a:pt x="96" y="178"/>
                  </a:lnTo>
                  <a:lnTo>
                    <a:pt x="96" y="174"/>
                  </a:lnTo>
                  <a:lnTo>
                    <a:pt x="94" y="172"/>
                  </a:lnTo>
                  <a:lnTo>
                    <a:pt x="94" y="172"/>
                  </a:lnTo>
                  <a:lnTo>
                    <a:pt x="90" y="164"/>
                  </a:lnTo>
                  <a:lnTo>
                    <a:pt x="90" y="164"/>
                  </a:lnTo>
                  <a:lnTo>
                    <a:pt x="90" y="154"/>
                  </a:lnTo>
                  <a:lnTo>
                    <a:pt x="90" y="154"/>
                  </a:lnTo>
                  <a:lnTo>
                    <a:pt x="88" y="152"/>
                  </a:lnTo>
                  <a:lnTo>
                    <a:pt x="88" y="152"/>
                  </a:lnTo>
                  <a:lnTo>
                    <a:pt x="88" y="146"/>
                  </a:lnTo>
                  <a:lnTo>
                    <a:pt x="88" y="146"/>
                  </a:lnTo>
                  <a:lnTo>
                    <a:pt x="84" y="144"/>
                  </a:lnTo>
                  <a:lnTo>
                    <a:pt x="84" y="144"/>
                  </a:lnTo>
                  <a:lnTo>
                    <a:pt x="86" y="140"/>
                  </a:lnTo>
                  <a:lnTo>
                    <a:pt x="84" y="136"/>
                  </a:lnTo>
                  <a:lnTo>
                    <a:pt x="84" y="136"/>
                  </a:lnTo>
                  <a:lnTo>
                    <a:pt x="76" y="128"/>
                  </a:lnTo>
                  <a:lnTo>
                    <a:pt x="76" y="128"/>
                  </a:lnTo>
                  <a:lnTo>
                    <a:pt x="76" y="124"/>
                  </a:lnTo>
                  <a:lnTo>
                    <a:pt x="76" y="120"/>
                  </a:lnTo>
                  <a:lnTo>
                    <a:pt x="76" y="120"/>
                  </a:lnTo>
                  <a:lnTo>
                    <a:pt x="68" y="116"/>
                  </a:lnTo>
                  <a:lnTo>
                    <a:pt x="68" y="116"/>
                  </a:lnTo>
                  <a:lnTo>
                    <a:pt x="64" y="106"/>
                  </a:lnTo>
                  <a:lnTo>
                    <a:pt x="64" y="106"/>
                  </a:lnTo>
                  <a:lnTo>
                    <a:pt x="64" y="104"/>
                  </a:lnTo>
                  <a:lnTo>
                    <a:pt x="64" y="104"/>
                  </a:lnTo>
                  <a:lnTo>
                    <a:pt x="56" y="100"/>
                  </a:lnTo>
                  <a:lnTo>
                    <a:pt x="54" y="98"/>
                  </a:lnTo>
                  <a:lnTo>
                    <a:pt x="50" y="94"/>
                  </a:lnTo>
                  <a:lnTo>
                    <a:pt x="50" y="94"/>
                  </a:lnTo>
                  <a:lnTo>
                    <a:pt x="50" y="90"/>
                  </a:lnTo>
                  <a:lnTo>
                    <a:pt x="50" y="90"/>
                  </a:lnTo>
                  <a:lnTo>
                    <a:pt x="44" y="82"/>
                  </a:lnTo>
                  <a:lnTo>
                    <a:pt x="40" y="76"/>
                  </a:lnTo>
                  <a:lnTo>
                    <a:pt x="40" y="70"/>
                  </a:lnTo>
                  <a:lnTo>
                    <a:pt x="42" y="68"/>
                  </a:lnTo>
                  <a:lnTo>
                    <a:pt x="42" y="68"/>
                  </a:lnTo>
                  <a:lnTo>
                    <a:pt x="42" y="62"/>
                  </a:lnTo>
                  <a:lnTo>
                    <a:pt x="42" y="58"/>
                  </a:lnTo>
                  <a:lnTo>
                    <a:pt x="42" y="58"/>
                  </a:lnTo>
                  <a:lnTo>
                    <a:pt x="46" y="56"/>
                  </a:lnTo>
                  <a:lnTo>
                    <a:pt x="50" y="54"/>
                  </a:lnTo>
                  <a:lnTo>
                    <a:pt x="60" y="42"/>
                  </a:lnTo>
                  <a:lnTo>
                    <a:pt x="60" y="42"/>
                  </a:lnTo>
                  <a:lnTo>
                    <a:pt x="60" y="38"/>
                  </a:lnTo>
                  <a:lnTo>
                    <a:pt x="60" y="38"/>
                  </a:lnTo>
                  <a:lnTo>
                    <a:pt x="62" y="38"/>
                  </a:lnTo>
                  <a:lnTo>
                    <a:pt x="66" y="36"/>
                  </a:lnTo>
                  <a:lnTo>
                    <a:pt x="66" y="36"/>
                  </a:lnTo>
                  <a:lnTo>
                    <a:pt x="70" y="32"/>
                  </a:lnTo>
                  <a:lnTo>
                    <a:pt x="70" y="32"/>
                  </a:lnTo>
                  <a:lnTo>
                    <a:pt x="76" y="30"/>
                  </a:lnTo>
                  <a:lnTo>
                    <a:pt x="76" y="30"/>
                  </a:lnTo>
                  <a:lnTo>
                    <a:pt x="76" y="28"/>
                  </a:lnTo>
                  <a:lnTo>
                    <a:pt x="76" y="2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297" name="Freeform 11"/>
            <p:cNvSpPr>
              <a:spLocks noChangeAspect="1"/>
            </p:cNvSpPr>
            <p:nvPr/>
          </p:nvSpPr>
          <p:spPr bwMode="gray">
            <a:xfrm>
              <a:off x="2611094" y="4098616"/>
              <a:ext cx="309421" cy="319124"/>
            </a:xfrm>
            <a:custGeom>
              <a:avLst/>
              <a:gdLst/>
              <a:ahLst/>
              <a:cxnLst>
                <a:cxn ang="0">
                  <a:pos x="8" y="30"/>
                </a:cxn>
                <a:cxn ang="0">
                  <a:pos x="2" y="40"/>
                </a:cxn>
                <a:cxn ang="0">
                  <a:pos x="0" y="56"/>
                </a:cxn>
                <a:cxn ang="0">
                  <a:pos x="14" y="68"/>
                </a:cxn>
                <a:cxn ang="0">
                  <a:pos x="12" y="76"/>
                </a:cxn>
                <a:cxn ang="0">
                  <a:pos x="28" y="92"/>
                </a:cxn>
                <a:cxn ang="0">
                  <a:pos x="44" y="92"/>
                </a:cxn>
                <a:cxn ang="0">
                  <a:pos x="64" y="104"/>
                </a:cxn>
                <a:cxn ang="0">
                  <a:pos x="70" y="116"/>
                </a:cxn>
                <a:cxn ang="0">
                  <a:pos x="72" y="128"/>
                </a:cxn>
                <a:cxn ang="0">
                  <a:pos x="84" y="140"/>
                </a:cxn>
                <a:cxn ang="0">
                  <a:pos x="94" y="158"/>
                </a:cxn>
                <a:cxn ang="0">
                  <a:pos x="88" y="172"/>
                </a:cxn>
                <a:cxn ang="0">
                  <a:pos x="92" y="176"/>
                </a:cxn>
                <a:cxn ang="0">
                  <a:pos x="102" y="194"/>
                </a:cxn>
                <a:cxn ang="0">
                  <a:pos x="114" y="186"/>
                </a:cxn>
                <a:cxn ang="0">
                  <a:pos x="124" y="180"/>
                </a:cxn>
                <a:cxn ang="0">
                  <a:pos x="132" y="172"/>
                </a:cxn>
                <a:cxn ang="0">
                  <a:pos x="136" y="166"/>
                </a:cxn>
                <a:cxn ang="0">
                  <a:pos x="122" y="166"/>
                </a:cxn>
                <a:cxn ang="0">
                  <a:pos x="118" y="156"/>
                </a:cxn>
                <a:cxn ang="0">
                  <a:pos x="114" y="138"/>
                </a:cxn>
                <a:cxn ang="0">
                  <a:pos x="114" y="134"/>
                </a:cxn>
                <a:cxn ang="0">
                  <a:pos x="128" y="136"/>
                </a:cxn>
                <a:cxn ang="0">
                  <a:pos x="140" y="140"/>
                </a:cxn>
                <a:cxn ang="0">
                  <a:pos x="142" y="134"/>
                </a:cxn>
                <a:cxn ang="0">
                  <a:pos x="154" y="136"/>
                </a:cxn>
                <a:cxn ang="0">
                  <a:pos x="160" y="128"/>
                </a:cxn>
                <a:cxn ang="0">
                  <a:pos x="170" y="120"/>
                </a:cxn>
                <a:cxn ang="0">
                  <a:pos x="164" y="92"/>
                </a:cxn>
                <a:cxn ang="0">
                  <a:pos x="174" y="88"/>
                </a:cxn>
                <a:cxn ang="0">
                  <a:pos x="172" y="82"/>
                </a:cxn>
                <a:cxn ang="0">
                  <a:pos x="166" y="72"/>
                </a:cxn>
                <a:cxn ang="0">
                  <a:pos x="178" y="66"/>
                </a:cxn>
                <a:cxn ang="0">
                  <a:pos x="182" y="56"/>
                </a:cxn>
                <a:cxn ang="0">
                  <a:pos x="172" y="56"/>
                </a:cxn>
                <a:cxn ang="0">
                  <a:pos x="150" y="60"/>
                </a:cxn>
                <a:cxn ang="0">
                  <a:pos x="168" y="52"/>
                </a:cxn>
                <a:cxn ang="0">
                  <a:pos x="170" y="40"/>
                </a:cxn>
                <a:cxn ang="0">
                  <a:pos x="164" y="40"/>
                </a:cxn>
                <a:cxn ang="0">
                  <a:pos x="156" y="34"/>
                </a:cxn>
                <a:cxn ang="0">
                  <a:pos x="148" y="32"/>
                </a:cxn>
                <a:cxn ang="0">
                  <a:pos x="154" y="26"/>
                </a:cxn>
                <a:cxn ang="0">
                  <a:pos x="134" y="22"/>
                </a:cxn>
                <a:cxn ang="0">
                  <a:pos x="130" y="26"/>
                </a:cxn>
                <a:cxn ang="0">
                  <a:pos x="116" y="32"/>
                </a:cxn>
                <a:cxn ang="0">
                  <a:pos x="102" y="26"/>
                </a:cxn>
                <a:cxn ang="0">
                  <a:pos x="80" y="24"/>
                </a:cxn>
                <a:cxn ang="0">
                  <a:pos x="72" y="24"/>
                </a:cxn>
                <a:cxn ang="0">
                  <a:pos x="70" y="12"/>
                </a:cxn>
                <a:cxn ang="0">
                  <a:pos x="60" y="10"/>
                </a:cxn>
                <a:cxn ang="0">
                  <a:pos x="50" y="0"/>
                </a:cxn>
                <a:cxn ang="0">
                  <a:pos x="46" y="6"/>
                </a:cxn>
                <a:cxn ang="0">
                  <a:pos x="42" y="14"/>
                </a:cxn>
                <a:cxn ang="0">
                  <a:pos x="34" y="30"/>
                </a:cxn>
                <a:cxn ang="0">
                  <a:pos x="36" y="36"/>
                </a:cxn>
                <a:cxn ang="0">
                  <a:pos x="28" y="50"/>
                </a:cxn>
                <a:cxn ang="0">
                  <a:pos x="24" y="40"/>
                </a:cxn>
                <a:cxn ang="0">
                  <a:pos x="30" y="26"/>
                </a:cxn>
                <a:cxn ang="0">
                  <a:pos x="26" y="20"/>
                </a:cxn>
                <a:cxn ang="0">
                  <a:pos x="26" y="14"/>
                </a:cxn>
                <a:cxn ang="0">
                  <a:pos x="22" y="12"/>
                </a:cxn>
                <a:cxn ang="0">
                  <a:pos x="28" y="4"/>
                </a:cxn>
              </a:cxnLst>
              <a:rect l="0" t="0" r="r" b="b"/>
              <a:pathLst>
                <a:path w="182" h="194">
                  <a:moveTo>
                    <a:pt x="28" y="4"/>
                  </a:moveTo>
                  <a:lnTo>
                    <a:pt x="28" y="4"/>
                  </a:lnTo>
                  <a:lnTo>
                    <a:pt x="20" y="6"/>
                  </a:lnTo>
                  <a:lnTo>
                    <a:pt x="14" y="16"/>
                  </a:lnTo>
                  <a:lnTo>
                    <a:pt x="8" y="30"/>
                  </a:lnTo>
                  <a:lnTo>
                    <a:pt x="2" y="32"/>
                  </a:lnTo>
                  <a:lnTo>
                    <a:pt x="2" y="32"/>
                  </a:lnTo>
                  <a:lnTo>
                    <a:pt x="4" y="34"/>
                  </a:lnTo>
                  <a:lnTo>
                    <a:pt x="2" y="40"/>
                  </a:lnTo>
                  <a:lnTo>
                    <a:pt x="2" y="40"/>
                  </a:lnTo>
                  <a:lnTo>
                    <a:pt x="2" y="46"/>
                  </a:lnTo>
                  <a:lnTo>
                    <a:pt x="2" y="48"/>
                  </a:lnTo>
                  <a:lnTo>
                    <a:pt x="0" y="52"/>
                  </a:lnTo>
                  <a:lnTo>
                    <a:pt x="0" y="52"/>
                  </a:lnTo>
                  <a:lnTo>
                    <a:pt x="0" y="56"/>
                  </a:lnTo>
                  <a:lnTo>
                    <a:pt x="0" y="58"/>
                  </a:lnTo>
                  <a:lnTo>
                    <a:pt x="2" y="58"/>
                  </a:lnTo>
                  <a:lnTo>
                    <a:pt x="8" y="56"/>
                  </a:lnTo>
                  <a:lnTo>
                    <a:pt x="14" y="68"/>
                  </a:lnTo>
                  <a:lnTo>
                    <a:pt x="14" y="68"/>
                  </a:lnTo>
                  <a:lnTo>
                    <a:pt x="12" y="70"/>
                  </a:lnTo>
                  <a:lnTo>
                    <a:pt x="10" y="70"/>
                  </a:lnTo>
                  <a:lnTo>
                    <a:pt x="10" y="72"/>
                  </a:lnTo>
                  <a:lnTo>
                    <a:pt x="10" y="72"/>
                  </a:lnTo>
                  <a:lnTo>
                    <a:pt x="12" y="76"/>
                  </a:lnTo>
                  <a:lnTo>
                    <a:pt x="16" y="82"/>
                  </a:lnTo>
                  <a:lnTo>
                    <a:pt x="16" y="82"/>
                  </a:lnTo>
                  <a:lnTo>
                    <a:pt x="18" y="88"/>
                  </a:lnTo>
                  <a:lnTo>
                    <a:pt x="18" y="90"/>
                  </a:lnTo>
                  <a:lnTo>
                    <a:pt x="28" y="92"/>
                  </a:lnTo>
                  <a:lnTo>
                    <a:pt x="28" y="92"/>
                  </a:lnTo>
                  <a:lnTo>
                    <a:pt x="32" y="92"/>
                  </a:lnTo>
                  <a:lnTo>
                    <a:pt x="38" y="92"/>
                  </a:lnTo>
                  <a:lnTo>
                    <a:pt x="38" y="92"/>
                  </a:lnTo>
                  <a:lnTo>
                    <a:pt x="44" y="92"/>
                  </a:lnTo>
                  <a:lnTo>
                    <a:pt x="48" y="94"/>
                  </a:lnTo>
                  <a:lnTo>
                    <a:pt x="48" y="94"/>
                  </a:lnTo>
                  <a:lnTo>
                    <a:pt x="54" y="106"/>
                  </a:lnTo>
                  <a:lnTo>
                    <a:pt x="54" y="106"/>
                  </a:lnTo>
                  <a:lnTo>
                    <a:pt x="64" y="104"/>
                  </a:lnTo>
                  <a:lnTo>
                    <a:pt x="64" y="104"/>
                  </a:lnTo>
                  <a:lnTo>
                    <a:pt x="72" y="106"/>
                  </a:lnTo>
                  <a:lnTo>
                    <a:pt x="72" y="114"/>
                  </a:lnTo>
                  <a:lnTo>
                    <a:pt x="72" y="114"/>
                  </a:lnTo>
                  <a:lnTo>
                    <a:pt x="70" y="116"/>
                  </a:lnTo>
                  <a:lnTo>
                    <a:pt x="68" y="118"/>
                  </a:lnTo>
                  <a:lnTo>
                    <a:pt x="70" y="122"/>
                  </a:lnTo>
                  <a:lnTo>
                    <a:pt x="70" y="122"/>
                  </a:lnTo>
                  <a:lnTo>
                    <a:pt x="70" y="126"/>
                  </a:lnTo>
                  <a:lnTo>
                    <a:pt x="72" y="128"/>
                  </a:lnTo>
                  <a:lnTo>
                    <a:pt x="76" y="132"/>
                  </a:lnTo>
                  <a:lnTo>
                    <a:pt x="76" y="132"/>
                  </a:lnTo>
                  <a:lnTo>
                    <a:pt x="80" y="136"/>
                  </a:lnTo>
                  <a:lnTo>
                    <a:pt x="84" y="140"/>
                  </a:lnTo>
                  <a:lnTo>
                    <a:pt x="84" y="140"/>
                  </a:lnTo>
                  <a:lnTo>
                    <a:pt x="90" y="146"/>
                  </a:lnTo>
                  <a:lnTo>
                    <a:pt x="96" y="148"/>
                  </a:lnTo>
                  <a:lnTo>
                    <a:pt x="96" y="148"/>
                  </a:lnTo>
                  <a:lnTo>
                    <a:pt x="94" y="158"/>
                  </a:lnTo>
                  <a:lnTo>
                    <a:pt x="94" y="158"/>
                  </a:lnTo>
                  <a:lnTo>
                    <a:pt x="90" y="164"/>
                  </a:lnTo>
                  <a:lnTo>
                    <a:pt x="88" y="166"/>
                  </a:lnTo>
                  <a:lnTo>
                    <a:pt x="88" y="166"/>
                  </a:lnTo>
                  <a:lnTo>
                    <a:pt x="86" y="170"/>
                  </a:lnTo>
                  <a:lnTo>
                    <a:pt x="88" y="172"/>
                  </a:lnTo>
                  <a:lnTo>
                    <a:pt x="90" y="172"/>
                  </a:lnTo>
                  <a:lnTo>
                    <a:pt x="90" y="172"/>
                  </a:lnTo>
                  <a:lnTo>
                    <a:pt x="92" y="170"/>
                  </a:lnTo>
                  <a:lnTo>
                    <a:pt x="92" y="170"/>
                  </a:lnTo>
                  <a:lnTo>
                    <a:pt x="92" y="176"/>
                  </a:lnTo>
                  <a:lnTo>
                    <a:pt x="92" y="176"/>
                  </a:lnTo>
                  <a:lnTo>
                    <a:pt x="96" y="180"/>
                  </a:lnTo>
                  <a:lnTo>
                    <a:pt x="94" y="188"/>
                  </a:lnTo>
                  <a:lnTo>
                    <a:pt x="102" y="194"/>
                  </a:lnTo>
                  <a:lnTo>
                    <a:pt x="102" y="194"/>
                  </a:lnTo>
                  <a:lnTo>
                    <a:pt x="104" y="192"/>
                  </a:lnTo>
                  <a:lnTo>
                    <a:pt x="110" y="190"/>
                  </a:lnTo>
                  <a:lnTo>
                    <a:pt x="110" y="190"/>
                  </a:lnTo>
                  <a:lnTo>
                    <a:pt x="112" y="188"/>
                  </a:lnTo>
                  <a:lnTo>
                    <a:pt x="114" y="186"/>
                  </a:lnTo>
                  <a:lnTo>
                    <a:pt x="116" y="184"/>
                  </a:lnTo>
                  <a:lnTo>
                    <a:pt x="118" y="184"/>
                  </a:lnTo>
                  <a:lnTo>
                    <a:pt x="118" y="184"/>
                  </a:lnTo>
                  <a:lnTo>
                    <a:pt x="122" y="182"/>
                  </a:lnTo>
                  <a:lnTo>
                    <a:pt x="124" y="180"/>
                  </a:lnTo>
                  <a:lnTo>
                    <a:pt x="124" y="180"/>
                  </a:lnTo>
                  <a:lnTo>
                    <a:pt x="126" y="178"/>
                  </a:lnTo>
                  <a:lnTo>
                    <a:pt x="128" y="176"/>
                  </a:lnTo>
                  <a:lnTo>
                    <a:pt x="130" y="172"/>
                  </a:lnTo>
                  <a:lnTo>
                    <a:pt x="132" y="172"/>
                  </a:lnTo>
                  <a:lnTo>
                    <a:pt x="132" y="172"/>
                  </a:lnTo>
                  <a:lnTo>
                    <a:pt x="136" y="170"/>
                  </a:lnTo>
                  <a:lnTo>
                    <a:pt x="138" y="170"/>
                  </a:lnTo>
                  <a:lnTo>
                    <a:pt x="138" y="170"/>
                  </a:lnTo>
                  <a:lnTo>
                    <a:pt x="136" y="166"/>
                  </a:lnTo>
                  <a:lnTo>
                    <a:pt x="134" y="166"/>
                  </a:lnTo>
                  <a:lnTo>
                    <a:pt x="132" y="164"/>
                  </a:lnTo>
                  <a:lnTo>
                    <a:pt x="132" y="164"/>
                  </a:lnTo>
                  <a:lnTo>
                    <a:pt x="126" y="166"/>
                  </a:lnTo>
                  <a:lnTo>
                    <a:pt x="122" y="166"/>
                  </a:lnTo>
                  <a:lnTo>
                    <a:pt x="122" y="166"/>
                  </a:lnTo>
                  <a:lnTo>
                    <a:pt x="120" y="164"/>
                  </a:lnTo>
                  <a:lnTo>
                    <a:pt x="118" y="162"/>
                  </a:lnTo>
                  <a:lnTo>
                    <a:pt x="118" y="162"/>
                  </a:lnTo>
                  <a:lnTo>
                    <a:pt x="118" y="156"/>
                  </a:lnTo>
                  <a:lnTo>
                    <a:pt x="118" y="150"/>
                  </a:lnTo>
                  <a:lnTo>
                    <a:pt x="118" y="150"/>
                  </a:lnTo>
                  <a:lnTo>
                    <a:pt x="116" y="142"/>
                  </a:lnTo>
                  <a:lnTo>
                    <a:pt x="116" y="142"/>
                  </a:lnTo>
                  <a:lnTo>
                    <a:pt x="114" y="138"/>
                  </a:lnTo>
                  <a:lnTo>
                    <a:pt x="114" y="136"/>
                  </a:lnTo>
                  <a:lnTo>
                    <a:pt x="112" y="136"/>
                  </a:lnTo>
                  <a:lnTo>
                    <a:pt x="112" y="136"/>
                  </a:lnTo>
                  <a:lnTo>
                    <a:pt x="110" y="134"/>
                  </a:lnTo>
                  <a:lnTo>
                    <a:pt x="114" y="134"/>
                  </a:lnTo>
                  <a:lnTo>
                    <a:pt x="114" y="134"/>
                  </a:lnTo>
                  <a:lnTo>
                    <a:pt x="120" y="136"/>
                  </a:lnTo>
                  <a:lnTo>
                    <a:pt x="124" y="136"/>
                  </a:lnTo>
                  <a:lnTo>
                    <a:pt x="124" y="136"/>
                  </a:lnTo>
                  <a:lnTo>
                    <a:pt x="128" y="136"/>
                  </a:lnTo>
                  <a:lnTo>
                    <a:pt x="132" y="138"/>
                  </a:lnTo>
                  <a:lnTo>
                    <a:pt x="132" y="138"/>
                  </a:lnTo>
                  <a:lnTo>
                    <a:pt x="138" y="140"/>
                  </a:lnTo>
                  <a:lnTo>
                    <a:pt x="140" y="140"/>
                  </a:lnTo>
                  <a:lnTo>
                    <a:pt x="140" y="140"/>
                  </a:lnTo>
                  <a:lnTo>
                    <a:pt x="140" y="140"/>
                  </a:lnTo>
                  <a:lnTo>
                    <a:pt x="138" y="138"/>
                  </a:lnTo>
                  <a:lnTo>
                    <a:pt x="140" y="136"/>
                  </a:lnTo>
                  <a:lnTo>
                    <a:pt x="140" y="136"/>
                  </a:lnTo>
                  <a:lnTo>
                    <a:pt x="142" y="134"/>
                  </a:lnTo>
                  <a:lnTo>
                    <a:pt x="144" y="134"/>
                  </a:lnTo>
                  <a:lnTo>
                    <a:pt x="144" y="134"/>
                  </a:lnTo>
                  <a:lnTo>
                    <a:pt x="152" y="136"/>
                  </a:lnTo>
                  <a:lnTo>
                    <a:pt x="152" y="136"/>
                  </a:lnTo>
                  <a:lnTo>
                    <a:pt x="154" y="136"/>
                  </a:lnTo>
                  <a:lnTo>
                    <a:pt x="154" y="134"/>
                  </a:lnTo>
                  <a:lnTo>
                    <a:pt x="158" y="132"/>
                  </a:lnTo>
                  <a:lnTo>
                    <a:pt x="158" y="132"/>
                  </a:lnTo>
                  <a:lnTo>
                    <a:pt x="158" y="130"/>
                  </a:lnTo>
                  <a:lnTo>
                    <a:pt x="160" y="128"/>
                  </a:lnTo>
                  <a:lnTo>
                    <a:pt x="162" y="128"/>
                  </a:lnTo>
                  <a:lnTo>
                    <a:pt x="162" y="126"/>
                  </a:lnTo>
                  <a:lnTo>
                    <a:pt x="162" y="126"/>
                  </a:lnTo>
                  <a:lnTo>
                    <a:pt x="170" y="126"/>
                  </a:lnTo>
                  <a:lnTo>
                    <a:pt x="170" y="120"/>
                  </a:lnTo>
                  <a:lnTo>
                    <a:pt x="170" y="116"/>
                  </a:lnTo>
                  <a:lnTo>
                    <a:pt x="158" y="98"/>
                  </a:lnTo>
                  <a:lnTo>
                    <a:pt x="164" y="96"/>
                  </a:lnTo>
                  <a:lnTo>
                    <a:pt x="164" y="96"/>
                  </a:lnTo>
                  <a:lnTo>
                    <a:pt x="164" y="92"/>
                  </a:lnTo>
                  <a:lnTo>
                    <a:pt x="164" y="90"/>
                  </a:lnTo>
                  <a:lnTo>
                    <a:pt x="164" y="90"/>
                  </a:lnTo>
                  <a:lnTo>
                    <a:pt x="164" y="90"/>
                  </a:lnTo>
                  <a:lnTo>
                    <a:pt x="172" y="88"/>
                  </a:lnTo>
                  <a:lnTo>
                    <a:pt x="174" y="88"/>
                  </a:lnTo>
                  <a:lnTo>
                    <a:pt x="176" y="86"/>
                  </a:lnTo>
                  <a:lnTo>
                    <a:pt x="176" y="86"/>
                  </a:lnTo>
                  <a:lnTo>
                    <a:pt x="176" y="84"/>
                  </a:lnTo>
                  <a:lnTo>
                    <a:pt x="174" y="82"/>
                  </a:lnTo>
                  <a:lnTo>
                    <a:pt x="172" y="82"/>
                  </a:lnTo>
                  <a:lnTo>
                    <a:pt x="172" y="82"/>
                  </a:lnTo>
                  <a:lnTo>
                    <a:pt x="170" y="78"/>
                  </a:lnTo>
                  <a:lnTo>
                    <a:pt x="168" y="76"/>
                  </a:lnTo>
                  <a:lnTo>
                    <a:pt x="168" y="76"/>
                  </a:lnTo>
                  <a:lnTo>
                    <a:pt x="166" y="72"/>
                  </a:lnTo>
                  <a:lnTo>
                    <a:pt x="166" y="70"/>
                  </a:lnTo>
                  <a:lnTo>
                    <a:pt x="168" y="70"/>
                  </a:lnTo>
                  <a:lnTo>
                    <a:pt x="168" y="70"/>
                  </a:lnTo>
                  <a:lnTo>
                    <a:pt x="172" y="70"/>
                  </a:lnTo>
                  <a:lnTo>
                    <a:pt x="178" y="66"/>
                  </a:lnTo>
                  <a:lnTo>
                    <a:pt x="178" y="66"/>
                  </a:lnTo>
                  <a:lnTo>
                    <a:pt x="180" y="64"/>
                  </a:lnTo>
                  <a:lnTo>
                    <a:pt x="180" y="64"/>
                  </a:lnTo>
                  <a:lnTo>
                    <a:pt x="182" y="56"/>
                  </a:lnTo>
                  <a:lnTo>
                    <a:pt x="182" y="56"/>
                  </a:lnTo>
                  <a:lnTo>
                    <a:pt x="180" y="54"/>
                  </a:lnTo>
                  <a:lnTo>
                    <a:pt x="180" y="54"/>
                  </a:lnTo>
                  <a:lnTo>
                    <a:pt x="174" y="56"/>
                  </a:lnTo>
                  <a:lnTo>
                    <a:pt x="172" y="56"/>
                  </a:lnTo>
                  <a:lnTo>
                    <a:pt x="172" y="56"/>
                  </a:lnTo>
                  <a:lnTo>
                    <a:pt x="170" y="56"/>
                  </a:lnTo>
                  <a:lnTo>
                    <a:pt x="166" y="56"/>
                  </a:lnTo>
                  <a:lnTo>
                    <a:pt x="164" y="58"/>
                  </a:lnTo>
                  <a:lnTo>
                    <a:pt x="164" y="58"/>
                  </a:lnTo>
                  <a:lnTo>
                    <a:pt x="150" y="60"/>
                  </a:lnTo>
                  <a:lnTo>
                    <a:pt x="150" y="60"/>
                  </a:lnTo>
                  <a:lnTo>
                    <a:pt x="152" y="56"/>
                  </a:lnTo>
                  <a:lnTo>
                    <a:pt x="152" y="56"/>
                  </a:lnTo>
                  <a:lnTo>
                    <a:pt x="168" y="52"/>
                  </a:lnTo>
                  <a:lnTo>
                    <a:pt x="168" y="52"/>
                  </a:lnTo>
                  <a:lnTo>
                    <a:pt x="168" y="46"/>
                  </a:lnTo>
                  <a:lnTo>
                    <a:pt x="168" y="46"/>
                  </a:lnTo>
                  <a:lnTo>
                    <a:pt x="170" y="42"/>
                  </a:lnTo>
                  <a:lnTo>
                    <a:pt x="170" y="42"/>
                  </a:lnTo>
                  <a:lnTo>
                    <a:pt x="170" y="40"/>
                  </a:lnTo>
                  <a:lnTo>
                    <a:pt x="170" y="38"/>
                  </a:lnTo>
                  <a:lnTo>
                    <a:pt x="170" y="38"/>
                  </a:lnTo>
                  <a:lnTo>
                    <a:pt x="162" y="38"/>
                  </a:lnTo>
                  <a:lnTo>
                    <a:pt x="162" y="38"/>
                  </a:lnTo>
                  <a:lnTo>
                    <a:pt x="164" y="40"/>
                  </a:lnTo>
                  <a:lnTo>
                    <a:pt x="164" y="40"/>
                  </a:lnTo>
                  <a:lnTo>
                    <a:pt x="162" y="38"/>
                  </a:lnTo>
                  <a:lnTo>
                    <a:pt x="160" y="38"/>
                  </a:lnTo>
                  <a:lnTo>
                    <a:pt x="160" y="38"/>
                  </a:lnTo>
                  <a:lnTo>
                    <a:pt x="156" y="34"/>
                  </a:lnTo>
                  <a:lnTo>
                    <a:pt x="156" y="34"/>
                  </a:lnTo>
                  <a:lnTo>
                    <a:pt x="154" y="38"/>
                  </a:lnTo>
                  <a:lnTo>
                    <a:pt x="152" y="38"/>
                  </a:lnTo>
                  <a:lnTo>
                    <a:pt x="152" y="38"/>
                  </a:lnTo>
                  <a:lnTo>
                    <a:pt x="148" y="32"/>
                  </a:lnTo>
                  <a:lnTo>
                    <a:pt x="146" y="26"/>
                  </a:lnTo>
                  <a:lnTo>
                    <a:pt x="146" y="26"/>
                  </a:lnTo>
                  <a:lnTo>
                    <a:pt x="150" y="26"/>
                  </a:lnTo>
                  <a:lnTo>
                    <a:pt x="154" y="26"/>
                  </a:lnTo>
                  <a:lnTo>
                    <a:pt x="154" y="26"/>
                  </a:lnTo>
                  <a:lnTo>
                    <a:pt x="154" y="24"/>
                  </a:lnTo>
                  <a:lnTo>
                    <a:pt x="154" y="22"/>
                  </a:lnTo>
                  <a:lnTo>
                    <a:pt x="154" y="22"/>
                  </a:lnTo>
                  <a:lnTo>
                    <a:pt x="134" y="22"/>
                  </a:lnTo>
                  <a:lnTo>
                    <a:pt x="134" y="22"/>
                  </a:lnTo>
                  <a:lnTo>
                    <a:pt x="136" y="26"/>
                  </a:lnTo>
                  <a:lnTo>
                    <a:pt x="136" y="26"/>
                  </a:lnTo>
                  <a:lnTo>
                    <a:pt x="130" y="24"/>
                  </a:lnTo>
                  <a:lnTo>
                    <a:pt x="130" y="26"/>
                  </a:lnTo>
                  <a:lnTo>
                    <a:pt x="130" y="26"/>
                  </a:lnTo>
                  <a:lnTo>
                    <a:pt x="124" y="28"/>
                  </a:lnTo>
                  <a:lnTo>
                    <a:pt x="124" y="30"/>
                  </a:lnTo>
                  <a:lnTo>
                    <a:pt x="124" y="30"/>
                  </a:lnTo>
                  <a:lnTo>
                    <a:pt x="116" y="32"/>
                  </a:lnTo>
                  <a:lnTo>
                    <a:pt x="116" y="32"/>
                  </a:lnTo>
                  <a:lnTo>
                    <a:pt x="108" y="30"/>
                  </a:lnTo>
                  <a:lnTo>
                    <a:pt x="102" y="28"/>
                  </a:lnTo>
                  <a:lnTo>
                    <a:pt x="102" y="28"/>
                  </a:lnTo>
                  <a:lnTo>
                    <a:pt x="102" y="28"/>
                  </a:lnTo>
                  <a:lnTo>
                    <a:pt x="102" y="26"/>
                  </a:lnTo>
                  <a:lnTo>
                    <a:pt x="100" y="24"/>
                  </a:lnTo>
                  <a:lnTo>
                    <a:pt x="96" y="22"/>
                  </a:lnTo>
                  <a:lnTo>
                    <a:pt x="96" y="22"/>
                  </a:lnTo>
                  <a:lnTo>
                    <a:pt x="88" y="22"/>
                  </a:lnTo>
                  <a:lnTo>
                    <a:pt x="80" y="24"/>
                  </a:lnTo>
                  <a:lnTo>
                    <a:pt x="80" y="24"/>
                  </a:lnTo>
                  <a:lnTo>
                    <a:pt x="78" y="26"/>
                  </a:lnTo>
                  <a:lnTo>
                    <a:pt x="76" y="26"/>
                  </a:lnTo>
                  <a:lnTo>
                    <a:pt x="76" y="26"/>
                  </a:lnTo>
                  <a:lnTo>
                    <a:pt x="72" y="24"/>
                  </a:lnTo>
                  <a:lnTo>
                    <a:pt x="72" y="24"/>
                  </a:lnTo>
                  <a:lnTo>
                    <a:pt x="76" y="20"/>
                  </a:lnTo>
                  <a:lnTo>
                    <a:pt x="76" y="20"/>
                  </a:lnTo>
                  <a:lnTo>
                    <a:pt x="70" y="12"/>
                  </a:lnTo>
                  <a:lnTo>
                    <a:pt x="70" y="12"/>
                  </a:lnTo>
                  <a:lnTo>
                    <a:pt x="68" y="12"/>
                  </a:lnTo>
                  <a:lnTo>
                    <a:pt x="68" y="12"/>
                  </a:lnTo>
                  <a:lnTo>
                    <a:pt x="66" y="10"/>
                  </a:lnTo>
                  <a:lnTo>
                    <a:pt x="66" y="10"/>
                  </a:lnTo>
                  <a:lnTo>
                    <a:pt x="60" y="10"/>
                  </a:lnTo>
                  <a:lnTo>
                    <a:pt x="54" y="8"/>
                  </a:lnTo>
                  <a:lnTo>
                    <a:pt x="54" y="8"/>
                  </a:lnTo>
                  <a:lnTo>
                    <a:pt x="52" y="4"/>
                  </a:lnTo>
                  <a:lnTo>
                    <a:pt x="50" y="0"/>
                  </a:lnTo>
                  <a:lnTo>
                    <a:pt x="50" y="0"/>
                  </a:lnTo>
                  <a:lnTo>
                    <a:pt x="48" y="0"/>
                  </a:lnTo>
                  <a:lnTo>
                    <a:pt x="46" y="0"/>
                  </a:lnTo>
                  <a:lnTo>
                    <a:pt x="46" y="0"/>
                  </a:lnTo>
                  <a:lnTo>
                    <a:pt x="46" y="6"/>
                  </a:lnTo>
                  <a:lnTo>
                    <a:pt x="46" y="6"/>
                  </a:lnTo>
                  <a:lnTo>
                    <a:pt x="52" y="8"/>
                  </a:lnTo>
                  <a:lnTo>
                    <a:pt x="52" y="8"/>
                  </a:lnTo>
                  <a:lnTo>
                    <a:pt x="54" y="12"/>
                  </a:lnTo>
                  <a:lnTo>
                    <a:pt x="54" y="12"/>
                  </a:lnTo>
                  <a:lnTo>
                    <a:pt x="42" y="14"/>
                  </a:lnTo>
                  <a:lnTo>
                    <a:pt x="32" y="16"/>
                  </a:lnTo>
                  <a:lnTo>
                    <a:pt x="32" y="16"/>
                  </a:lnTo>
                  <a:lnTo>
                    <a:pt x="32" y="28"/>
                  </a:lnTo>
                  <a:lnTo>
                    <a:pt x="32" y="28"/>
                  </a:lnTo>
                  <a:lnTo>
                    <a:pt x="34" y="30"/>
                  </a:lnTo>
                  <a:lnTo>
                    <a:pt x="34" y="30"/>
                  </a:lnTo>
                  <a:lnTo>
                    <a:pt x="38" y="34"/>
                  </a:lnTo>
                  <a:lnTo>
                    <a:pt x="38" y="34"/>
                  </a:lnTo>
                  <a:lnTo>
                    <a:pt x="36" y="36"/>
                  </a:lnTo>
                  <a:lnTo>
                    <a:pt x="36" y="36"/>
                  </a:lnTo>
                  <a:lnTo>
                    <a:pt x="38" y="40"/>
                  </a:lnTo>
                  <a:lnTo>
                    <a:pt x="40" y="46"/>
                  </a:lnTo>
                  <a:lnTo>
                    <a:pt x="40" y="46"/>
                  </a:lnTo>
                  <a:lnTo>
                    <a:pt x="34" y="48"/>
                  </a:lnTo>
                  <a:lnTo>
                    <a:pt x="28" y="50"/>
                  </a:lnTo>
                  <a:lnTo>
                    <a:pt x="28" y="50"/>
                  </a:lnTo>
                  <a:lnTo>
                    <a:pt x="28" y="46"/>
                  </a:lnTo>
                  <a:lnTo>
                    <a:pt x="26" y="46"/>
                  </a:lnTo>
                  <a:lnTo>
                    <a:pt x="26" y="46"/>
                  </a:lnTo>
                  <a:lnTo>
                    <a:pt x="24" y="40"/>
                  </a:lnTo>
                  <a:lnTo>
                    <a:pt x="22" y="36"/>
                  </a:lnTo>
                  <a:lnTo>
                    <a:pt x="22" y="32"/>
                  </a:lnTo>
                  <a:lnTo>
                    <a:pt x="22" y="32"/>
                  </a:lnTo>
                  <a:lnTo>
                    <a:pt x="26" y="28"/>
                  </a:lnTo>
                  <a:lnTo>
                    <a:pt x="30" y="26"/>
                  </a:lnTo>
                  <a:lnTo>
                    <a:pt x="30" y="26"/>
                  </a:lnTo>
                  <a:lnTo>
                    <a:pt x="30" y="22"/>
                  </a:lnTo>
                  <a:lnTo>
                    <a:pt x="30" y="22"/>
                  </a:lnTo>
                  <a:lnTo>
                    <a:pt x="28" y="20"/>
                  </a:lnTo>
                  <a:lnTo>
                    <a:pt x="26" y="20"/>
                  </a:lnTo>
                  <a:lnTo>
                    <a:pt x="26" y="20"/>
                  </a:lnTo>
                  <a:lnTo>
                    <a:pt x="26" y="18"/>
                  </a:lnTo>
                  <a:lnTo>
                    <a:pt x="28" y="16"/>
                  </a:lnTo>
                  <a:lnTo>
                    <a:pt x="28" y="16"/>
                  </a:lnTo>
                  <a:lnTo>
                    <a:pt x="26" y="14"/>
                  </a:lnTo>
                  <a:lnTo>
                    <a:pt x="26" y="14"/>
                  </a:lnTo>
                  <a:lnTo>
                    <a:pt x="22" y="14"/>
                  </a:lnTo>
                  <a:lnTo>
                    <a:pt x="22" y="14"/>
                  </a:lnTo>
                  <a:lnTo>
                    <a:pt x="22" y="12"/>
                  </a:lnTo>
                  <a:lnTo>
                    <a:pt x="22" y="12"/>
                  </a:lnTo>
                  <a:lnTo>
                    <a:pt x="24" y="8"/>
                  </a:lnTo>
                  <a:lnTo>
                    <a:pt x="28" y="8"/>
                  </a:lnTo>
                  <a:lnTo>
                    <a:pt x="28" y="8"/>
                  </a:lnTo>
                  <a:lnTo>
                    <a:pt x="28" y="8"/>
                  </a:lnTo>
                  <a:lnTo>
                    <a:pt x="28" y="4"/>
                  </a:lnTo>
                  <a:lnTo>
                    <a:pt x="28"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298" name="Freeform 12"/>
            <p:cNvSpPr>
              <a:spLocks noChangeAspect="1"/>
            </p:cNvSpPr>
            <p:nvPr/>
          </p:nvSpPr>
          <p:spPr bwMode="gray">
            <a:xfrm>
              <a:off x="5564194" y="3121504"/>
              <a:ext cx="377426" cy="263195"/>
            </a:xfrm>
            <a:custGeom>
              <a:avLst/>
              <a:gdLst/>
              <a:ahLst/>
              <a:cxnLst>
                <a:cxn ang="0">
                  <a:pos x="194" y="60"/>
                </a:cxn>
                <a:cxn ang="0">
                  <a:pos x="178" y="64"/>
                </a:cxn>
                <a:cxn ang="0">
                  <a:pos x="170" y="70"/>
                </a:cxn>
                <a:cxn ang="0">
                  <a:pos x="166" y="78"/>
                </a:cxn>
                <a:cxn ang="0">
                  <a:pos x="152" y="86"/>
                </a:cxn>
                <a:cxn ang="0">
                  <a:pos x="146" y="76"/>
                </a:cxn>
                <a:cxn ang="0">
                  <a:pos x="130" y="74"/>
                </a:cxn>
                <a:cxn ang="0">
                  <a:pos x="128" y="68"/>
                </a:cxn>
                <a:cxn ang="0">
                  <a:pos x="126" y="62"/>
                </a:cxn>
                <a:cxn ang="0">
                  <a:pos x="114" y="60"/>
                </a:cxn>
                <a:cxn ang="0">
                  <a:pos x="92" y="52"/>
                </a:cxn>
                <a:cxn ang="0">
                  <a:pos x="76" y="36"/>
                </a:cxn>
                <a:cxn ang="0">
                  <a:pos x="66" y="34"/>
                </a:cxn>
                <a:cxn ang="0">
                  <a:pos x="50" y="42"/>
                </a:cxn>
                <a:cxn ang="0">
                  <a:pos x="48" y="36"/>
                </a:cxn>
                <a:cxn ang="0">
                  <a:pos x="40" y="44"/>
                </a:cxn>
                <a:cxn ang="0">
                  <a:pos x="44" y="34"/>
                </a:cxn>
                <a:cxn ang="0">
                  <a:pos x="30" y="30"/>
                </a:cxn>
                <a:cxn ang="0">
                  <a:pos x="30" y="26"/>
                </a:cxn>
                <a:cxn ang="0">
                  <a:pos x="30" y="16"/>
                </a:cxn>
                <a:cxn ang="0">
                  <a:pos x="34" y="2"/>
                </a:cxn>
                <a:cxn ang="0">
                  <a:pos x="16" y="2"/>
                </a:cxn>
                <a:cxn ang="0">
                  <a:pos x="14" y="74"/>
                </a:cxn>
                <a:cxn ang="0">
                  <a:pos x="22" y="60"/>
                </a:cxn>
                <a:cxn ang="0">
                  <a:pos x="38" y="62"/>
                </a:cxn>
                <a:cxn ang="0">
                  <a:pos x="48" y="86"/>
                </a:cxn>
                <a:cxn ang="0">
                  <a:pos x="78" y="82"/>
                </a:cxn>
                <a:cxn ang="0">
                  <a:pos x="92" y="112"/>
                </a:cxn>
                <a:cxn ang="0">
                  <a:pos x="120" y="128"/>
                </a:cxn>
                <a:cxn ang="0">
                  <a:pos x="142" y="138"/>
                </a:cxn>
                <a:cxn ang="0">
                  <a:pos x="144" y="160"/>
                </a:cxn>
                <a:cxn ang="0">
                  <a:pos x="158" y="150"/>
                </a:cxn>
                <a:cxn ang="0">
                  <a:pos x="162" y="140"/>
                </a:cxn>
                <a:cxn ang="0">
                  <a:pos x="164" y="130"/>
                </a:cxn>
                <a:cxn ang="0">
                  <a:pos x="154" y="128"/>
                </a:cxn>
                <a:cxn ang="0">
                  <a:pos x="152" y="116"/>
                </a:cxn>
                <a:cxn ang="0">
                  <a:pos x="158" y="118"/>
                </a:cxn>
                <a:cxn ang="0">
                  <a:pos x="168" y="112"/>
                </a:cxn>
                <a:cxn ang="0">
                  <a:pos x="168" y="110"/>
                </a:cxn>
                <a:cxn ang="0">
                  <a:pos x="174" y="100"/>
                </a:cxn>
                <a:cxn ang="0">
                  <a:pos x="170" y="90"/>
                </a:cxn>
                <a:cxn ang="0">
                  <a:pos x="176" y="88"/>
                </a:cxn>
                <a:cxn ang="0">
                  <a:pos x="186" y="92"/>
                </a:cxn>
                <a:cxn ang="0">
                  <a:pos x="196" y="94"/>
                </a:cxn>
                <a:cxn ang="0">
                  <a:pos x="194" y="104"/>
                </a:cxn>
                <a:cxn ang="0">
                  <a:pos x="202" y="100"/>
                </a:cxn>
                <a:cxn ang="0">
                  <a:pos x="214" y="96"/>
                </a:cxn>
                <a:cxn ang="0">
                  <a:pos x="218" y="86"/>
                </a:cxn>
                <a:cxn ang="0">
                  <a:pos x="206" y="82"/>
                </a:cxn>
                <a:cxn ang="0">
                  <a:pos x="202" y="76"/>
                </a:cxn>
                <a:cxn ang="0">
                  <a:pos x="192" y="74"/>
                </a:cxn>
                <a:cxn ang="0">
                  <a:pos x="194" y="70"/>
                </a:cxn>
                <a:cxn ang="0">
                  <a:pos x="200" y="60"/>
                </a:cxn>
                <a:cxn ang="0">
                  <a:pos x="200" y="58"/>
                </a:cxn>
              </a:cxnLst>
              <a:rect l="0" t="0" r="r" b="b"/>
              <a:pathLst>
                <a:path w="222" h="160">
                  <a:moveTo>
                    <a:pt x="200" y="58"/>
                  </a:moveTo>
                  <a:lnTo>
                    <a:pt x="200" y="58"/>
                  </a:lnTo>
                  <a:lnTo>
                    <a:pt x="198" y="58"/>
                  </a:lnTo>
                  <a:lnTo>
                    <a:pt x="194" y="60"/>
                  </a:lnTo>
                  <a:lnTo>
                    <a:pt x="194" y="60"/>
                  </a:lnTo>
                  <a:lnTo>
                    <a:pt x="190" y="62"/>
                  </a:lnTo>
                  <a:lnTo>
                    <a:pt x="186" y="62"/>
                  </a:lnTo>
                  <a:lnTo>
                    <a:pt x="186" y="62"/>
                  </a:lnTo>
                  <a:lnTo>
                    <a:pt x="180" y="64"/>
                  </a:lnTo>
                  <a:lnTo>
                    <a:pt x="178" y="64"/>
                  </a:lnTo>
                  <a:lnTo>
                    <a:pt x="178" y="66"/>
                  </a:lnTo>
                  <a:lnTo>
                    <a:pt x="178" y="66"/>
                  </a:lnTo>
                  <a:lnTo>
                    <a:pt x="176" y="68"/>
                  </a:lnTo>
                  <a:lnTo>
                    <a:pt x="174" y="68"/>
                  </a:lnTo>
                  <a:lnTo>
                    <a:pt x="170" y="70"/>
                  </a:lnTo>
                  <a:lnTo>
                    <a:pt x="170" y="70"/>
                  </a:lnTo>
                  <a:lnTo>
                    <a:pt x="168" y="72"/>
                  </a:lnTo>
                  <a:lnTo>
                    <a:pt x="166" y="74"/>
                  </a:lnTo>
                  <a:lnTo>
                    <a:pt x="166" y="78"/>
                  </a:lnTo>
                  <a:lnTo>
                    <a:pt x="166" y="78"/>
                  </a:lnTo>
                  <a:lnTo>
                    <a:pt x="158" y="80"/>
                  </a:lnTo>
                  <a:lnTo>
                    <a:pt x="158" y="84"/>
                  </a:lnTo>
                  <a:lnTo>
                    <a:pt x="158" y="84"/>
                  </a:lnTo>
                  <a:lnTo>
                    <a:pt x="152" y="86"/>
                  </a:lnTo>
                  <a:lnTo>
                    <a:pt x="152" y="86"/>
                  </a:lnTo>
                  <a:lnTo>
                    <a:pt x="152" y="86"/>
                  </a:lnTo>
                  <a:lnTo>
                    <a:pt x="152" y="84"/>
                  </a:lnTo>
                  <a:lnTo>
                    <a:pt x="152" y="80"/>
                  </a:lnTo>
                  <a:lnTo>
                    <a:pt x="152" y="80"/>
                  </a:lnTo>
                  <a:lnTo>
                    <a:pt x="146" y="76"/>
                  </a:lnTo>
                  <a:lnTo>
                    <a:pt x="142" y="76"/>
                  </a:lnTo>
                  <a:lnTo>
                    <a:pt x="142" y="76"/>
                  </a:lnTo>
                  <a:lnTo>
                    <a:pt x="136" y="76"/>
                  </a:lnTo>
                  <a:lnTo>
                    <a:pt x="130" y="74"/>
                  </a:lnTo>
                  <a:lnTo>
                    <a:pt x="130" y="74"/>
                  </a:lnTo>
                  <a:lnTo>
                    <a:pt x="128" y="74"/>
                  </a:lnTo>
                  <a:lnTo>
                    <a:pt x="128" y="72"/>
                  </a:lnTo>
                  <a:lnTo>
                    <a:pt x="130" y="68"/>
                  </a:lnTo>
                  <a:lnTo>
                    <a:pt x="130" y="68"/>
                  </a:lnTo>
                  <a:lnTo>
                    <a:pt x="128" y="68"/>
                  </a:lnTo>
                  <a:lnTo>
                    <a:pt x="128" y="66"/>
                  </a:lnTo>
                  <a:lnTo>
                    <a:pt x="126" y="66"/>
                  </a:lnTo>
                  <a:lnTo>
                    <a:pt x="126" y="66"/>
                  </a:lnTo>
                  <a:lnTo>
                    <a:pt x="126" y="66"/>
                  </a:lnTo>
                  <a:lnTo>
                    <a:pt x="126" y="62"/>
                  </a:lnTo>
                  <a:lnTo>
                    <a:pt x="122" y="62"/>
                  </a:lnTo>
                  <a:lnTo>
                    <a:pt x="122" y="62"/>
                  </a:lnTo>
                  <a:lnTo>
                    <a:pt x="118" y="62"/>
                  </a:lnTo>
                  <a:lnTo>
                    <a:pt x="114" y="60"/>
                  </a:lnTo>
                  <a:lnTo>
                    <a:pt x="114" y="60"/>
                  </a:lnTo>
                  <a:lnTo>
                    <a:pt x="110" y="52"/>
                  </a:lnTo>
                  <a:lnTo>
                    <a:pt x="108" y="56"/>
                  </a:lnTo>
                  <a:lnTo>
                    <a:pt x="108" y="56"/>
                  </a:lnTo>
                  <a:lnTo>
                    <a:pt x="92" y="52"/>
                  </a:lnTo>
                  <a:lnTo>
                    <a:pt x="92" y="52"/>
                  </a:lnTo>
                  <a:lnTo>
                    <a:pt x="82" y="52"/>
                  </a:lnTo>
                  <a:lnTo>
                    <a:pt x="78" y="52"/>
                  </a:lnTo>
                  <a:lnTo>
                    <a:pt x="78" y="52"/>
                  </a:lnTo>
                  <a:lnTo>
                    <a:pt x="76" y="36"/>
                  </a:lnTo>
                  <a:lnTo>
                    <a:pt x="76" y="36"/>
                  </a:lnTo>
                  <a:lnTo>
                    <a:pt x="74" y="32"/>
                  </a:lnTo>
                  <a:lnTo>
                    <a:pt x="74" y="28"/>
                  </a:lnTo>
                  <a:lnTo>
                    <a:pt x="70" y="28"/>
                  </a:lnTo>
                  <a:lnTo>
                    <a:pt x="70" y="28"/>
                  </a:lnTo>
                  <a:lnTo>
                    <a:pt x="66" y="34"/>
                  </a:lnTo>
                  <a:lnTo>
                    <a:pt x="62" y="40"/>
                  </a:lnTo>
                  <a:lnTo>
                    <a:pt x="62" y="40"/>
                  </a:lnTo>
                  <a:lnTo>
                    <a:pt x="56" y="42"/>
                  </a:lnTo>
                  <a:lnTo>
                    <a:pt x="50" y="42"/>
                  </a:lnTo>
                  <a:lnTo>
                    <a:pt x="50" y="42"/>
                  </a:lnTo>
                  <a:lnTo>
                    <a:pt x="52" y="38"/>
                  </a:lnTo>
                  <a:lnTo>
                    <a:pt x="52" y="36"/>
                  </a:lnTo>
                  <a:lnTo>
                    <a:pt x="50" y="34"/>
                  </a:lnTo>
                  <a:lnTo>
                    <a:pt x="50" y="34"/>
                  </a:lnTo>
                  <a:lnTo>
                    <a:pt x="48" y="36"/>
                  </a:lnTo>
                  <a:lnTo>
                    <a:pt x="46" y="40"/>
                  </a:lnTo>
                  <a:lnTo>
                    <a:pt x="44" y="48"/>
                  </a:lnTo>
                  <a:lnTo>
                    <a:pt x="44" y="48"/>
                  </a:lnTo>
                  <a:lnTo>
                    <a:pt x="40" y="44"/>
                  </a:lnTo>
                  <a:lnTo>
                    <a:pt x="40" y="44"/>
                  </a:lnTo>
                  <a:lnTo>
                    <a:pt x="44" y="42"/>
                  </a:lnTo>
                  <a:lnTo>
                    <a:pt x="44" y="40"/>
                  </a:lnTo>
                  <a:lnTo>
                    <a:pt x="44" y="40"/>
                  </a:lnTo>
                  <a:lnTo>
                    <a:pt x="44" y="34"/>
                  </a:lnTo>
                  <a:lnTo>
                    <a:pt x="44" y="34"/>
                  </a:lnTo>
                  <a:lnTo>
                    <a:pt x="40" y="32"/>
                  </a:lnTo>
                  <a:lnTo>
                    <a:pt x="40" y="32"/>
                  </a:lnTo>
                  <a:lnTo>
                    <a:pt x="30" y="36"/>
                  </a:lnTo>
                  <a:lnTo>
                    <a:pt x="30" y="36"/>
                  </a:lnTo>
                  <a:lnTo>
                    <a:pt x="30" y="30"/>
                  </a:lnTo>
                  <a:lnTo>
                    <a:pt x="30" y="30"/>
                  </a:lnTo>
                  <a:lnTo>
                    <a:pt x="28" y="28"/>
                  </a:lnTo>
                  <a:lnTo>
                    <a:pt x="28" y="28"/>
                  </a:lnTo>
                  <a:lnTo>
                    <a:pt x="30" y="26"/>
                  </a:lnTo>
                  <a:lnTo>
                    <a:pt x="30" y="26"/>
                  </a:lnTo>
                  <a:lnTo>
                    <a:pt x="30" y="26"/>
                  </a:lnTo>
                  <a:lnTo>
                    <a:pt x="28" y="24"/>
                  </a:lnTo>
                  <a:lnTo>
                    <a:pt x="28" y="20"/>
                  </a:lnTo>
                  <a:lnTo>
                    <a:pt x="28" y="20"/>
                  </a:lnTo>
                  <a:lnTo>
                    <a:pt x="30" y="16"/>
                  </a:lnTo>
                  <a:lnTo>
                    <a:pt x="30" y="16"/>
                  </a:lnTo>
                  <a:lnTo>
                    <a:pt x="30" y="12"/>
                  </a:lnTo>
                  <a:lnTo>
                    <a:pt x="30" y="6"/>
                  </a:lnTo>
                  <a:lnTo>
                    <a:pt x="30" y="6"/>
                  </a:lnTo>
                  <a:lnTo>
                    <a:pt x="34" y="2"/>
                  </a:lnTo>
                  <a:lnTo>
                    <a:pt x="34" y="2"/>
                  </a:lnTo>
                  <a:lnTo>
                    <a:pt x="28" y="0"/>
                  </a:lnTo>
                  <a:lnTo>
                    <a:pt x="28" y="0"/>
                  </a:lnTo>
                  <a:lnTo>
                    <a:pt x="22" y="2"/>
                  </a:lnTo>
                  <a:lnTo>
                    <a:pt x="16" y="2"/>
                  </a:lnTo>
                  <a:lnTo>
                    <a:pt x="16" y="2"/>
                  </a:lnTo>
                  <a:lnTo>
                    <a:pt x="8" y="6"/>
                  </a:lnTo>
                  <a:lnTo>
                    <a:pt x="2" y="8"/>
                  </a:lnTo>
                  <a:lnTo>
                    <a:pt x="0" y="72"/>
                  </a:lnTo>
                  <a:lnTo>
                    <a:pt x="14" y="74"/>
                  </a:lnTo>
                  <a:lnTo>
                    <a:pt x="14" y="72"/>
                  </a:lnTo>
                  <a:lnTo>
                    <a:pt x="12" y="68"/>
                  </a:lnTo>
                  <a:lnTo>
                    <a:pt x="12" y="62"/>
                  </a:lnTo>
                  <a:lnTo>
                    <a:pt x="14" y="60"/>
                  </a:lnTo>
                  <a:lnTo>
                    <a:pt x="22" y="60"/>
                  </a:lnTo>
                  <a:lnTo>
                    <a:pt x="24" y="56"/>
                  </a:lnTo>
                  <a:lnTo>
                    <a:pt x="28" y="52"/>
                  </a:lnTo>
                  <a:lnTo>
                    <a:pt x="32" y="52"/>
                  </a:lnTo>
                  <a:lnTo>
                    <a:pt x="36" y="54"/>
                  </a:lnTo>
                  <a:lnTo>
                    <a:pt x="38" y="62"/>
                  </a:lnTo>
                  <a:lnTo>
                    <a:pt x="40" y="72"/>
                  </a:lnTo>
                  <a:lnTo>
                    <a:pt x="48" y="74"/>
                  </a:lnTo>
                  <a:lnTo>
                    <a:pt x="48" y="80"/>
                  </a:lnTo>
                  <a:lnTo>
                    <a:pt x="46" y="84"/>
                  </a:lnTo>
                  <a:lnTo>
                    <a:pt x="48" y="86"/>
                  </a:lnTo>
                  <a:lnTo>
                    <a:pt x="54" y="88"/>
                  </a:lnTo>
                  <a:lnTo>
                    <a:pt x="60" y="84"/>
                  </a:lnTo>
                  <a:lnTo>
                    <a:pt x="64" y="82"/>
                  </a:lnTo>
                  <a:lnTo>
                    <a:pt x="72" y="82"/>
                  </a:lnTo>
                  <a:lnTo>
                    <a:pt x="78" y="82"/>
                  </a:lnTo>
                  <a:lnTo>
                    <a:pt x="82" y="90"/>
                  </a:lnTo>
                  <a:lnTo>
                    <a:pt x="82" y="96"/>
                  </a:lnTo>
                  <a:lnTo>
                    <a:pt x="86" y="100"/>
                  </a:lnTo>
                  <a:lnTo>
                    <a:pt x="90" y="104"/>
                  </a:lnTo>
                  <a:lnTo>
                    <a:pt x="92" y="112"/>
                  </a:lnTo>
                  <a:lnTo>
                    <a:pt x="96" y="116"/>
                  </a:lnTo>
                  <a:lnTo>
                    <a:pt x="102" y="118"/>
                  </a:lnTo>
                  <a:lnTo>
                    <a:pt x="108" y="124"/>
                  </a:lnTo>
                  <a:lnTo>
                    <a:pt x="112" y="130"/>
                  </a:lnTo>
                  <a:lnTo>
                    <a:pt x="120" y="128"/>
                  </a:lnTo>
                  <a:lnTo>
                    <a:pt x="124" y="132"/>
                  </a:lnTo>
                  <a:lnTo>
                    <a:pt x="130" y="132"/>
                  </a:lnTo>
                  <a:lnTo>
                    <a:pt x="134" y="136"/>
                  </a:lnTo>
                  <a:lnTo>
                    <a:pt x="140" y="136"/>
                  </a:lnTo>
                  <a:lnTo>
                    <a:pt x="142" y="138"/>
                  </a:lnTo>
                  <a:lnTo>
                    <a:pt x="134" y="142"/>
                  </a:lnTo>
                  <a:lnTo>
                    <a:pt x="134" y="146"/>
                  </a:lnTo>
                  <a:lnTo>
                    <a:pt x="134" y="154"/>
                  </a:lnTo>
                  <a:lnTo>
                    <a:pt x="140" y="154"/>
                  </a:lnTo>
                  <a:lnTo>
                    <a:pt x="144" y="160"/>
                  </a:lnTo>
                  <a:lnTo>
                    <a:pt x="150" y="158"/>
                  </a:lnTo>
                  <a:lnTo>
                    <a:pt x="156" y="158"/>
                  </a:lnTo>
                  <a:lnTo>
                    <a:pt x="156" y="158"/>
                  </a:lnTo>
                  <a:lnTo>
                    <a:pt x="158" y="150"/>
                  </a:lnTo>
                  <a:lnTo>
                    <a:pt x="158" y="150"/>
                  </a:lnTo>
                  <a:lnTo>
                    <a:pt x="160" y="148"/>
                  </a:lnTo>
                  <a:lnTo>
                    <a:pt x="162" y="146"/>
                  </a:lnTo>
                  <a:lnTo>
                    <a:pt x="162" y="146"/>
                  </a:lnTo>
                  <a:lnTo>
                    <a:pt x="164" y="142"/>
                  </a:lnTo>
                  <a:lnTo>
                    <a:pt x="162" y="140"/>
                  </a:lnTo>
                  <a:lnTo>
                    <a:pt x="162" y="140"/>
                  </a:lnTo>
                  <a:lnTo>
                    <a:pt x="160" y="138"/>
                  </a:lnTo>
                  <a:lnTo>
                    <a:pt x="160" y="136"/>
                  </a:lnTo>
                  <a:lnTo>
                    <a:pt x="164" y="130"/>
                  </a:lnTo>
                  <a:lnTo>
                    <a:pt x="164" y="130"/>
                  </a:lnTo>
                  <a:lnTo>
                    <a:pt x="164" y="128"/>
                  </a:lnTo>
                  <a:lnTo>
                    <a:pt x="162" y="128"/>
                  </a:lnTo>
                  <a:lnTo>
                    <a:pt x="156" y="128"/>
                  </a:lnTo>
                  <a:lnTo>
                    <a:pt x="156" y="128"/>
                  </a:lnTo>
                  <a:lnTo>
                    <a:pt x="154" y="128"/>
                  </a:lnTo>
                  <a:lnTo>
                    <a:pt x="150" y="124"/>
                  </a:lnTo>
                  <a:lnTo>
                    <a:pt x="150" y="124"/>
                  </a:lnTo>
                  <a:lnTo>
                    <a:pt x="148" y="122"/>
                  </a:lnTo>
                  <a:lnTo>
                    <a:pt x="148" y="120"/>
                  </a:lnTo>
                  <a:lnTo>
                    <a:pt x="152" y="116"/>
                  </a:lnTo>
                  <a:lnTo>
                    <a:pt x="152" y="116"/>
                  </a:lnTo>
                  <a:lnTo>
                    <a:pt x="156" y="116"/>
                  </a:lnTo>
                  <a:lnTo>
                    <a:pt x="158" y="116"/>
                  </a:lnTo>
                  <a:lnTo>
                    <a:pt x="158" y="118"/>
                  </a:lnTo>
                  <a:lnTo>
                    <a:pt x="158" y="118"/>
                  </a:lnTo>
                  <a:lnTo>
                    <a:pt x="160" y="118"/>
                  </a:lnTo>
                  <a:lnTo>
                    <a:pt x="162" y="116"/>
                  </a:lnTo>
                  <a:lnTo>
                    <a:pt x="168" y="112"/>
                  </a:lnTo>
                  <a:lnTo>
                    <a:pt x="168" y="112"/>
                  </a:lnTo>
                  <a:lnTo>
                    <a:pt x="168" y="112"/>
                  </a:lnTo>
                  <a:lnTo>
                    <a:pt x="170" y="110"/>
                  </a:lnTo>
                  <a:lnTo>
                    <a:pt x="170" y="108"/>
                  </a:lnTo>
                  <a:lnTo>
                    <a:pt x="168" y="110"/>
                  </a:lnTo>
                  <a:lnTo>
                    <a:pt x="168" y="110"/>
                  </a:lnTo>
                  <a:lnTo>
                    <a:pt x="168" y="110"/>
                  </a:lnTo>
                  <a:lnTo>
                    <a:pt x="168" y="106"/>
                  </a:lnTo>
                  <a:lnTo>
                    <a:pt x="170" y="104"/>
                  </a:lnTo>
                  <a:lnTo>
                    <a:pt x="172" y="102"/>
                  </a:lnTo>
                  <a:lnTo>
                    <a:pt x="172" y="102"/>
                  </a:lnTo>
                  <a:lnTo>
                    <a:pt x="174" y="100"/>
                  </a:lnTo>
                  <a:lnTo>
                    <a:pt x="174" y="100"/>
                  </a:lnTo>
                  <a:lnTo>
                    <a:pt x="174" y="98"/>
                  </a:lnTo>
                  <a:lnTo>
                    <a:pt x="174" y="98"/>
                  </a:lnTo>
                  <a:lnTo>
                    <a:pt x="172" y="96"/>
                  </a:lnTo>
                  <a:lnTo>
                    <a:pt x="170" y="90"/>
                  </a:lnTo>
                  <a:lnTo>
                    <a:pt x="170" y="90"/>
                  </a:lnTo>
                  <a:lnTo>
                    <a:pt x="172" y="90"/>
                  </a:lnTo>
                  <a:lnTo>
                    <a:pt x="174" y="88"/>
                  </a:lnTo>
                  <a:lnTo>
                    <a:pt x="176" y="88"/>
                  </a:lnTo>
                  <a:lnTo>
                    <a:pt x="176" y="88"/>
                  </a:lnTo>
                  <a:lnTo>
                    <a:pt x="178" y="90"/>
                  </a:lnTo>
                  <a:lnTo>
                    <a:pt x="182" y="94"/>
                  </a:lnTo>
                  <a:lnTo>
                    <a:pt x="182" y="94"/>
                  </a:lnTo>
                  <a:lnTo>
                    <a:pt x="184" y="94"/>
                  </a:lnTo>
                  <a:lnTo>
                    <a:pt x="186" y="92"/>
                  </a:lnTo>
                  <a:lnTo>
                    <a:pt x="186" y="90"/>
                  </a:lnTo>
                  <a:lnTo>
                    <a:pt x="186" y="90"/>
                  </a:lnTo>
                  <a:lnTo>
                    <a:pt x="190" y="88"/>
                  </a:lnTo>
                  <a:lnTo>
                    <a:pt x="194" y="88"/>
                  </a:lnTo>
                  <a:lnTo>
                    <a:pt x="196" y="94"/>
                  </a:lnTo>
                  <a:lnTo>
                    <a:pt x="190" y="96"/>
                  </a:lnTo>
                  <a:lnTo>
                    <a:pt x="190" y="104"/>
                  </a:lnTo>
                  <a:lnTo>
                    <a:pt x="190" y="104"/>
                  </a:lnTo>
                  <a:lnTo>
                    <a:pt x="192" y="102"/>
                  </a:lnTo>
                  <a:lnTo>
                    <a:pt x="194" y="104"/>
                  </a:lnTo>
                  <a:lnTo>
                    <a:pt x="194" y="104"/>
                  </a:lnTo>
                  <a:lnTo>
                    <a:pt x="194" y="104"/>
                  </a:lnTo>
                  <a:lnTo>
                    <a:pt x="196" y="104"/>
                  </a:lnTo>
                  <a:lnTo>
                    <a:pt x="198" y="104"/>
                  </a:lnTo>
                  <a:lnTo>
                    <a:pt x="202" y="100"/>
                  </a:lnTo>
                  <a:lnTo>
                    <a:pt x="202" y="100"/>
                  </a:lnTo>
                  <a:lnTo>
                    <a:pt x="208" y="100"/>
                  </a:lnTo>
                  <a:lnTo>
                    <a:pt x="208" y="100"/>
                  </a:lnTo>
                  <a:lnTo>
                    <a:pt x="212" y="98"/>
                  </a:lnTo>
                  <a:lnTo>
                    <a:pt x="214" y="96"/>
                  </a:lnTo>
                  <a:lnTo>
                    <a:pt x="220" y="88"/>
                  </a:lnTo>
                  <a:lnTo>
                    <a:pt x="220" y="88"/>
                  </a:lnTo>
                  <a:lnTo>
                    <a:pt x="222" y="86"/>
                  </a:lnTo>
                  <a:lnTo>
                    <a:pt x="220" y="86"/>
                  </a:lnTo>
                  <a:lnTo>
                    <a:pt x="218" y="86"/>
                  </a:lnTo>
                  <a:lnTo>
                    <a:pt x="216" y="84"/>
                  </a:lnTo>
                  <a:lnTo>
                    <a:pt x="216" y="84"/>
                  </a:lnTo>
                  <a:lnTo>
                    <a:pt x="210" y="82"/>
                  </a:lnTo>
                  <a:lnTo>
                    <a:pt x="206" y="82"/>
                  </a:lnTo>
                  <a:lnTo>
                    <a:pt x="206" y="82"/>
                  </a:lnTo>
                  <a:lnTo>
                    <a:pt x="202" y="80"/>
                  </a:lnTo>
                  <a:lnTo>
                    <a:pt x="204" y="78"/>
                  </a:lnTo>
                  <a:lnTo>
                    <a:pt x="204" y="78"/>
                  </a:lnTo>
                  <a:lnTo>
                    <a:pt x="204" y="76"/>
                  </a:lnTo>
                  <a:lnTo>
                    <a:pt x="202" y="76"/>
                  </a:lnTo>
                  <a:lnTo>
                    <a:pt x="198" y="76"/>
                  </a:lnTo>
                  <a:lnTo>
                    <a:pt x="198" y="76"/>
                  </a:lnTo>
                  <a:lnTo>
                    <a:pt x="196" y="78"/>
                  </a:lnTo>
                  <a:lnTo>
                    <a:pt x="194" y="76"/>
                  </a:lnTo>
                  <a:lnTo>
                    <a:pt x="192" y="74"/>
                  </a:lnTo>
                  <a:lnTo>
                    <a:pt x="190" y="72"/>
                  </a:lnTo>
                  <a:lnTo>
                    <a:pt x="190" y="72"/>
                  </a:lnTo>
                  <a:lnTo>
                    <a:pt x="188" y="72"/>
                  </a:lnTo>
                  <a:lnTo>
                    <a:pt x="190" y="72"/>
                  </a:lnTo>
                  <a:lnTo>
                    <a:pt x="194" y="70"/>
                  </a:lnTo>
                  <a:lnTo>
                    <a:pt x="194" y="70"/>
                  </a:lnTo>
                  <a:lnTo>
                    <a:pt x="200" y="64"/>
                  </a:lnTo>
                  <a:lnTo>
                    <a:pt x="200" y="64"/>
                  </a:lnTo>
                  <a:lnTo>
                    <a:pt x="202" y="62"/>
                  </a:lnTo>
                  <a:lnTo>
                    <a:pt x="200" y="60"/>
                  </a:lnTo>
                  <a:lnTo>
                    <a:pt x="198" y="58"/>
                  </a:lnTo>
                  <a:lnTo>
                    <a:pt x="198" y="58"/>
                  </a:lnTo>
                  <a:lnTo>
                    <a:pt x="198" y="58"/>
                  </a:lnTo>
                  <a:lnTo>
                    <a:pt x="194" y="60"/>
                  </a:lnTo>
                  <a:lnTo>
                    <a:pt x="200" y="5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299" name="Freeform 13"/>
            <p:cNvSpPr>
              <a:spLocks noChangeAspect="1"/>
            </p:cNvSpPr>
            <p:nvPr/>
          </p:nvSpPr>
          <p:spPr bwMode="gray">
            <a:xfrm>
              <a:off x="2403680" y="3200463"/>
              <a:ext cx="6801" cy="13160"/>
            </a:xfrm>
            <a:custGeom>
              <a:avLst/>
              <a:gdLst/>
              <a:ahLst/>
              <a:cxnLst>
                <a:cxn ang="0">
                  <a:pos x="2" y="0"/>
                </a:cxn>
                <a:cxn ang="0">
                  <a:pos x="2" y="0"/>
                </a:cxn>
                <a:cxn ang="0">
                  <a:pos x="4" y="0"/>
                </a:cxn>
                <a:cxn ang="0">
                  <a:pos x="4" y="2"/>
                </a:cxn>
                <a:cxn ang="0">
                  <a:pos x="0" y="8"/>
                </a:cxn>
                <a:cxn ang="0">
                  <a:pos x="0" y="8"/>
                </a:cxn>
                <a:cxn ang="0">
                  <a:pos x="0" y="6"/>
                </a:cxn>
                <a:cxn ang="0">
                  <a:pos x="0" y="4"/>
                </a:cxn>
                <a:cxn ang="0">
                  <a:pos x="2" y="0"/>
                </a:cxn>
                <a:cxn ang="0">
                  <a:pos x="2" y="0"/>
                </a:cxn>
              </a:cxnLst>
              <a:rect l="0" t="0" r="r" b="b"/>
              <a:pathLst>
                <a:path w="4" h="8">
                  <a:moveTo>
                    <a:pt x="2" y="0"/>
                  </a:moveTo>
                  <a:lnTo>
                    <a:pt x="2" y="0"/>
                  </a:lnTo>
                  <a:lnTo>
                    <a:pt x="4" y="0"/>
                  </a:lnTo>
                  <a:lnTo>
                    <a:pt x="4" y="2"/>
                  </a:lnTo>
                  <a:lnTo>
                    <a:pt x="0" y="8"/>
                  </a:lnTo>
                  <a:lnTo>
                    <a:pt x="0" y="8"/>
                  </a:lnTo>
                  <a:lnTo>
                    <a:pt x="0" y="6"/>
                  </a:lnTo>
                  <a:lnTo>
                    <a:pt x="0" y="4"/>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0" name="Freeform 14"/>
            <p:cNvSpPr>
              <a:spLocks noChangeAspect="1"/>
            </p:cNvSpPr>
            <p:nvPr/>
          </p:nvSpPr>
          <p:spPr bwMode="gray">
            <a:xfrm>
              <a:off x="1499219" y="3012937"/>
              <a:ext cx="13601" cy="26319"/>
            </a:xfrm>
            <a:custGeom>
              <a:avLst/>
              <a:gdLst/>
              <a:ahLst/>
              <a:cxnLst>
                <a:cxn ang="0">
                  <a:pos x="6" y="0"/>
                </a:cxn>
                <a:cxn ang="0">
                  <a:pos x="6" y="0"/>
                </a:cxn>
                <a:cxn ang="0">
                  <a:pos x="6" y="2"/>
                </a:cxn>
                <a:cxn ang="0">
                  <a:pos x="8" y="4"/>
                </a:cxn>
                <a:cxn ang="0">
                  <a:pos x="8" y="4"/>
                </a:cxn>
                <a:cxn ang="0">
                  <a:pos x="4" y="8"/>
                </a:cxn>
                <a:cxn ang="0">
                  <a:pos x="4" y="8"/>
                </a:cxn>
                <a:cxn ang="0">
                  <a:pos x="4" y="16"/>
                </a:cxn>
                <a:cxn ang="0">
                  <a:pos x="4" y="16"/>
                </a:cxn>
                <a:cxn ang="0">
                  <a:pos x="2" y="14"/>
                </a:cxn>
                <a:cxn ang="0">
                  <a:pos x="2" y="14"/>
                </a:cxn>
                <a:cxn ang="0">
                  <a:pos x="2" y="12"/>
                </a:cxn>
                <a:cxn ang="0">
                  <a:pos x="2" y="12"/>
                </a:cxn>
                <a:cxn ang="0">
                  <a:pos x="0" y="8"/>
                </a:cxn>
                <a:cxn ang="0">
                  <a:pos x="0" y="6"/>
                </a:cxn>
                <a:cxn ang="0">
                  <a:pos x="2" y="4"/>
                </a:cxn>
                <a:cxn ang="0">
                  <a:pos x="2" y="4"/>
                </a:cxn>
                <a:cxn ang="0">
                  <a:pos x="2" y="6"/>
                </a:cxn>
                <a:cxn ang="0">
                  <a:pos x="2" y="6"/>
                </a:cxn>
                <a:cxn ang="0">
                  <a:pos x="2" y="6"/>
                </a:cxn>
                <a:cxn ang="0">
                  <a:pos x="4" y="4"/>
                </a:cxn>
                <a:cxn ang="0">
                  <a:pos x="2" y="2"/>
                </a:cxn>
                <a:cxn ang="0">
                  <a:pos x="2" y="2"/>
                </a:cxn>
                <a:cxn ang="0">
                  <a:pos x="4" y="2"/>
                </a:cxn>
                <a:cxn ang="0">
                  <a:pos x="6" y="0"/>
                </a:cxn>
              </a:cxnLst>
              <a:rect l="0" t="0" r="r" b="b"/>
              <a:pathLst>
                <a:path w="8" h="16">
                  <a:moveTo>
                    <a:pt x="6" y="0"/>
                  </a:moveTo>
                  <a:lnTo>
                    <a:pt x="6" y="0"/>
                  </a:lnTo>
                  <a:lnTo>
                    <a:pt x="6" y="2"/>
                  </a:lnTo>
                  <a:lnTo>
                    <a:pt x="8" y="4"/>
                  </a:lnTo>
                  <a:lnTo>
                    <a:pt x="8" y="4"/>
                  </a:lnTo>
                  <a:lnTo>
                    <a:pt x="4" y="8"/>
                  </a:lnTo>
                  <a:lnTo>
                    <a:pt x="4" y="8"/>
                  </a:lnTo>
                  <a:lnTo>
                    <a:pt x="4" y="16"/>
                  </a:lnTo>
                  <a:lnTo>
                    <a:pt x="4" y="16"/>
                  </a:lnTo>
                  <a:lnTo>
                    <a:pt x="2" y="14"/>
                  </a:lnTo>
                  <a:lnTo>
                    <a:pt x="2" y="14"/>
                  </a:lnTo>
                  <a:lnTo>
                    <a:pt x="2" y="12"/>
                  </a:lnTo>
                  <a:lnTo>
                    <a:pt x="2" y="12"/>
                  </a:lnTo>
                  <a:lnTo>
                    <a:pt x="0" y="8"/>
                  </a:lnTo>
                  <a:lnTo>
                    <a:pt x="0" y="6"/>
                  </a:lnTo>
                  <a:lnTo>
                    <a:pt x="2" y="4"/>
                  </a:lnTo>
                  <a:lnTo>
                    <a:pt x="2" y="4"/>
                  </a:lnTo>
                  <a:lnTo>
                    <a:pt x="2" y="6"/>
                  </a:lnTo>
                  <a:lnTo>
                    <a:pt x="2" y="6"/>
                  </a:lnTo>
                  <a:lnTo>
                    <a:pt x="2" y="6"/>
                  </a:lnTo>
                  <a:lnTo>
                    <a:pt x="4" y="4"/>
                  </a:lnTo>
                  <a:lnTo>
                    <a:pt x="2" y="2"/>
                  </a:lnTo>
                  <a:lnTo>
                    <a:pt x="2" y="2"/>
                  </a:lnTo>
                  <a:lnTo>
                    <a:pt x="4" y="2"/>
                  </a:lnTo>
                  <a:lnTo>
                    <a:pt x="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1" name="Freeform 15"/>
            <p:cNvSpPr>
              <a:spLocks noChangeAspect="1"/>
            </p:cNvSpPr>
            <p:nvPr/>
          </p:nvSpPr>
          <p:spPr bwMode="gray">
            <a:xfrm>
              <a:off x="1492418" y="3045836"/>
              <a:ext cx="10201" cy="13160"/>
            </a:xfrm>
            <a:custGeom>
              <a:avLst/>
              <a:gdLst/>
              <a:ahLst/>
              <a:cxnLst>
                <a:cxn ang="0">
                  <a:pos x="6" y="0"/>
                </a:cxn>
                <a:cxn ang="0">
                  <a:pos x="6" y="0"/>
                </a:cxn>
                <a:cxn ang="0">
                  <a:pos x="6" y="2"/>
                </a:cxn>
                <a:cxn ang="0">
                  <a:pos x="6" y="2"/>
                </a:cxn>
                <a:cxn ang="0">
                  <a:pos x="2" y="4"/>
                </a:cxn>
                <a:cxn ang="0">
                  <a:pos x="2" y="4"/>
                </a:cxn>
                <a:cxn ang="0">
                  <a:pos x="2" y="8"/>
                </a:cxn>
                <a:cxn ang="0">
                  <a:pos x="2" y="8"/>
                </a:cxn>
                <a:cxn ang="0">
                  <a:pos x="0" y="6"/>
                </a:cxn>
                <a:cxn ang="0">
                  <a:pos x="0" y="4"/>
                </a:cxn>
                <a:cxn ang="0">
                  <a:pos x="0" y="4"/>
                </a:cxn>
                <a:cxn ang="0">
                  <a:pos x="6" y="0"/>
                </a:cxn>
                <a:cxn ang="0">
                  <a:pos x="6" y="0"/>
                </a:cxn>
              </a:cxnLst>
              <a:rect l="0" t="0" r="r" b="b"/>
              <a:pathLst>
                <a:path w="6" h="8">
                  <a:moveTo>
                    <a:pt x="6" y="0"/>
                  </a:moveTo>
                  <a:lnTo>
                    <a:pt x="6" y="0"/>
                  </a:lnTo>
                  <a:lnTo>
                    <a:pt x="6" y="2"/>
                  </a:lnTo>
                  <a:lnTo>
                    <a:pt x="6" y="2"/>
                  </a:lnTo>
                  <a:lnTo>
                    <a:pt x="2" y="4"/>
                  </a:lnTo>
                  <a:lnTo>
                    <a:pt x="2" y="4"/>
                  </a:lnTo>
                  <a:lnTo>
                    <a:pt x="2" y="8"/>
                  </a:lnTo>
                  <a:lnTo>
                    <a:pt x="2" y="8"/>
                  </a:lnTo>
                  <a:lnTo>
                    <a:pt x="0" y="6"/>
                  </a:lnTo>
                  <a:lnTo>
                    <a:pt x="0" y="4"/>
                  </a:lnTo>
                  <a:lnTo>
                    <a:pt x="0" y="4"/>
                  </a:lnTo>
                  <a:lnTo>
                    <a:pt x="6" y="0"/>
                  </a:lnTo>
                  <a:lnTo>
                    <a:pt x="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2" name="Freeform 16"/>
            <p:cNvSpPr>
              <a:spLocks noChangeAspect="1"/>
            </p:cNvSpPr>
            <p:nvPr/>
          </p:nvSpPr>
          <p:spPr bwMode="gray">
            <a:xfrm>
              <a:off x="2624695" y="3134664"/>
              <a:ext cx="3400" cy="16449"/>
            </a:xfrm>
            <a:custGeom>
              <a:avLst/>
              <a:gdLst/>
              <a:ahLst/>
              <a:cxnLst>
                <a:cxn ang="0">
                  <a:pos x="2" y="0"/>
                </a:cxn>
                <a:cxn ang="0">
                  <a:pos x="2" y="0"/>
                </a:cxn>
                <a:cxn ang="0">
                  <a:pos x="2" y="10"/>
                </a:cxn>
                <a:cxn ang="0">
                  <a:pos x="0" y="10"/>
                </a:cxn>
                <a:cxn ang="0">
                  <a:pos x="0" y="10"/>
                </a:cxn>
                <a:cxn ang="0">
                  <a:pos x="0" y="4"/>
                </a:cxn>
                <a:cxn ang="0">
                  <a:pos x="2" y="0"/>
                </a:cxn>
              </a:cxnLst>
              <a:rect l="0" t="0" r="r" b="b"/>
              <a:pathLst>
                <a:path w="2" h="10">
                  <a:moveTo>
                    <a:pt x="2" y="0"/>
                  </a:moveTo>
                  <a:lnTo>
                    <a:pt x="2" y="0"/>
                  </a:lnTo>
                  <a:lnTo>
                    <a:pt x="2" y="10"/>
                  </a:lnTo>
                  <a:lnTo>
                    <a:pt x="0" y="10"/>
                  </a:lnTo>
                  <a:lnTo>
                    <a:pt x="0" y="10"/>
                  </a:lnTo>
                  <a:lnTo>
                    <a:pt x="0" y="4"/>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3" name="Freeform 17"/>
            <p:cNvSpPr>
              <a:spLocks noChangeAspect="1"/>
            </p:cNvSpPr>
            <p:nvPr/>
          </p:nvSpPr>
          <p:spPr bwMode="gray">
            <a:xfrm>
              <a:off x="2206467" y="3582096"/>
              <a:ext cx="3400" cy="9870"/>
            </a:xfrm>
            <a:custGeom>
              <a:avLst/>
              <a:gdLst/>
              <a:ahLst/>
              <a:cxnLst>
                <a:cxn ang="0">
                  <a:pos x="0" y="0"/>
                </a:cxn>
                <a:cxn ang="0">
                  <a:pos x="0" y="0"/>
                </a:cxn>
                <a:cxn ang="0">
                  <a:pos x="2" y="4"/>
                </a:cxn>
                <a:cxn ang="0">
                  <a:pos x="0" y="4"/>
                </a:cxn>
                <a:cxn ang="0">
                  <a:pos x="0" y="6"/>
                </a:cxn>
                <a:cxn ang="0">
                  <a:pos x="0" y="6"/>
                </a:cxn>
                <a:cxn ang="0">
                  <a:pos x="0" y="2"/>
                </a:cxn>
                <a:cxn ang="0">
                  <a:pos x="0" y="2"/>
                </a:cxn>
                <a:cxn ang="0">
                  <a:pos x="0" y="0"/>
                </a:cxn>
                <a:cxn ang="0">
                  <a:pos x="0" y="0"/>
                </a:cxn>
              </a:cxnLst>
              <a:rect l="0" t="0" r="r" b="b"/>
              <a:pathLst>
                <a:path w="2" h="6">
                  <a:moveTo>
                    <a:pt x="0" y="0"/>
                  </a:moveTo>
                  <a:lnTo>
                    <a:pt x="0" y="0"/>
                  </a:lnTo>
                  <a:lnTo>
                    <a:pt x="2" y="4"/>
                  </a:lnTo>
                  <a:lnTo>
                    <a:pt x="0" y="4"/>
                  </a:lnTo>
                  <a:lnTo>
                    <a:pt x="0" y="6"/>
                  </a:lnTo>
                  <a:lnTo>
                    <a:pt x="0" y="6"/>
                  </a:lnTo>
                  <a:lnTo>
                    <a:pt x="0" y="2"/>
                  </a:lnTo>
                  <a:lnTo>
                    <a:pt x="0" y="2"/>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4" name="Freeform 18"/>
            <p:cNvSpPr>
              <a:spLocks noChangeAspect="1"/>
            </p:cNvSpPr>
            <p:nvPr/>
          </p:nvSpPr>
          <p:spPr bwMode="gray">
            <a:xfrm>
              <a:off x="2209867" y="3595256"/>
              <a:ext cx="3400" cy="3290"/>
            </a:xfrm>
            <a:custGeom>
              <a:avLst/>
              <a:gdLst/>
              <a:ahLst/>
              <a:cxnLst>
                <a:cxn ang="0">
                  <a:pos x="2" y="0"/>
                </a:cxn>
                <a:cxn ang="0">
                  <a:pos x="2" y="2"/>
                </a:cxn>
                <a:cxn ang="0">
                  <a:pos x="2" y="2"/>
                </a:cxn>
                <a:cxn ang="0">
                  <a:pos x="0" y="2"/>
                </a:cxn>
                <a:cxn ang="0">
                  <a:pos x="0" y="0"/>
                </a:cxn>
                <a:cxn ang="0">
                  <a:pos x="2" y="0"/>
                </a:cxn>
                <a:cxn ang="0">
                  <a:pos x="2" y="0"/>
                </a:cxn>
              </a:cxnLst>
              <a:rect l="0" t="0" r="r" b="b"/>
              <a:pathLst>
                <a:path w="2" h="2">
                  <a:moveTo>
                    <a:pt x="2" y="0"/>
                  </a:moveTo>
                  <a:lnTo>
                    <a:pt x="2" y="2"/>
                  </a:lnTo>
                  <a:lnTo>
                    <a:pt x="2" y="2"/>
                  </a:lnTo>
                  <a:lnTo>
                    <a:pt x="0" y="2"/>
                  </a:lnTo>
                  <a:lnTo>
                    <a:pt x="0" y="0"/>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5" name="Freeform 19"/>
            <p:cNvSpPr>
              <a:spLocks noChangeAspect="1"/>
            </p:cNvSpPr>
            <p:nvPr/>
          </p:nvSpPr>
          <p:spPr bwMode="gray">
            <a:xfrm>
              <a:off x="2957917" y="5269835"/>
              <a:ext cx="122408" cy="138177"/>
            </a:xfrm>
            <a:custGeom>
              <a:avLst/>
              <a:gdLst/>
              <a:ahLst/>
              <a:cxnLst>
                <a:cxn ang="0">
                  <a:pos x="66" y="56"/>
                </a:cxn>
                <a:cxn ang="0">
                  <a:pos x="72" y="46"/>
                </a:cxn>
                <a:cxn ang="0">
                  <a:pos x="66" y="42"/>
                </a:cxn>
                <a:cxn ang="0">
                  <a:pos x="62" y="38"/>
                </a:cxn>
                <a:cxn ang="0">
                  <a:pos x="60" y="34"/>
                </a:cxn>
                <a:cxn ang="0">
                  <a:pos x="56" y="30"/>
                </a:cxn>
                <a:cxn ang="0">
                  <a:pos x="50" y="28"/>
                </a:cxn>
                <a:cxn ang="0">
                  <a:pos x="42" y="20"/>
                </a:cxn>
                <a:cxn ang="0">
                  <a:pos x="40" y="18"/>
                </a:cxn>
                <a:cxn ang="0">
                  <a:pos x="36" y="18"/>
                </a:cxn>
                <a:cxn ang="0">
                  <a:pos x="34" y="16"/>
                </a:cxn>
                <a:cxn ang="0">
                  <a:pos x="20" y="0"/>
                </a:cxn>
                <a:cxn ang="0">
                  <a:pos x="10" y="4"/>
                </a:cxn>
                <a:cxn ang="0">
                  <a:pos x="6" y="10"/>
                </a:cxn>
                <a:cxn ang="0">
                  <a:pos x="6" y="14"/>
                </a:cxn>
                <a:cxn ang="0">
                  <a:pos x="4" y="20"/>
                </a:cxn>
                <a:cxn ang="0">
                  <a:pos x="2" y="24"/>
                </a:cxn>
                <a:cxn ang="0">
                  <a:pos x="2" y="28"/>
                </a:cxn>
                <a:cxn ang="0">
                  <a:pos x="0" y="34"/>
                </a:cxn>
                <a:cxn ang="0">
                  <a:pos x="0" y="36"/>
                </a:cxn>
                <a:cxn ang="0">
                  <a:pos x="0" y="48"/>
                </a:cxn>
                <a:cxn ang="0">
                  <a:pos x="0" y="48"/>
                </a:cxn>
                <a:cxn ang="0">
                  <a:pos x="0" y="66"/>
                </a:cxn>
                <a:cxn ang="0">
                  <a:pos x="2" y="72"/>
                </a:cxn>
                <a:cxn ang="0">
                  <a:pos x="4" y="72"/>
                </a:cxn>
                <a:cxn ang="0">
                  <a:pos x="8" y="74"/>
                </a:cxn>
                <a:cxn ang="0">
                  <a:pos x="12" y="74"/>
                </a:cxn>
                <a:cxn ang="0">
                  <a:pos x="16" y="80"/>
                </a:cxn>
                <a:cxn ang="0">
                  <a:pos x="18" y="80"/>
                </a:cxn>
                <a:cxn ang="0">
                  <a:pos x="24" y="84"/>
                </a:cxn>
                <a:cxn ang="0">
                  <a:pos x="30" y="82"/>
                </a:cxn>
                <a:cxn ang="0">
                  <a:pos x="32" y="82"/>
                </a:cxn>
                <a:cxn ang="0">
                  <a:pos x="40" y="84"/>
                </a:cxn>
                <a:cxn ang="0">
                  <a:pos x="50" y="82"/>
                </a:cxn>
                <a:cxn ang="0">
                  <a:pos x="58" y="76"/>
                </a:cxn>
                <a:cxn ang="0">
                  <a:pos x="62" y="70"/>
                </a:cxn>
                <a:cxn ang="0">
                  <a:pos x="64" y="64"/>
                </a:cxn>
                <a:cxn ang="0">
                  <a:pos x="68" y="60"/>
                </a:cxn>
              </a:cxnLst>
              <a:rect l="0" t="0" r="r" b="b"/>
              <a:pathLst>
                <a:path w="72" h="84">
                  <a:moveTo>
                    <a:pt x="66" y="58"/>
                  </a:moveTo>
                  <a:lnTo>
                    <a:pt x="66" y="56"/>
                  </a:lnTo>
                  <a:lnTo>
                    <a:pt x="72" y="46"/>
                  </a:lnTo>
                  <a:lnTo>
                    <a:pt x="72" y="46"/>
                  </a:lnTo>
                  <a:lnTo>
                    <a:pt x="70" y="46"/>
                  </a:lnTo>
                  <a:lnTo>
                    <a:pt x="66" y="42"/>
                  </a:lnTo>
                  <a:lnTo>
                    <a:pt x="66" y="42"/>
                  </a:lnTo>
                  <a:lnTo>
                    <a:pt x="62" y="38"/>
                  </a:lnTo>
                  <a:lnTo>
                    <a:pt x="60" y="34"/>
                  </a:lnTo>
                  <a:lnTo>
                    <a:pt x="60" y="34"/>
                  </a:lnTo>
                  <a:lnTo>
                    <a:pt x="58" y="32"/>
                  </a:lnTo>
                  <a:lnTo>
                    <a:pt x="56" y="30"/>
                  </a:lnTo>
                  <a:lnTo>
                    <a:pt x="50" y="28"/>
                  </a:lnTo>
                  <a:lnTo>
                    <a:pt x="50" y="28"/>
                  </a:lnTo>
                  <a:lnTo>
                    <a:pt x="46" y="24"/>
                  </a:lnTo>
                  <a:lnTo>
                    <a:pt x="42" y="20"/>
                  </a:lnTo>
                  <a:lnTo>
                    <a:pt x="42" y="20"/>
                  </a:lnTo>
                  <a:lnTo>
                    <a:pt x="40" y="18"/>
                  </a:lnTo>
                  <a:lnTo>
                    <a:pt x="38" y="18"/>
                  </a:lnTo>
                  <a:lnTo>
                    <a:pt x="36" y="18"/>
                  </a:lnTo>
                  <a:lnTo>
                    <a:pt x="34" y="16"/>
                  </a:lnTo>
                  <a:lnTo>
                    <a:pt x="34" y="16"/>
                  </a:lnTo>
                  <a:lnTo>
                    <a:pt x="30" y="8"/>
                  </a:lnTo>
                  <a:lnTo>
                    <a:pt x="20" y="0"/>
                  </a:lnTo>
                  <a:lnTo>
                    <a:pt x="10" y="4"/>
                  </a:lnTo>
                  <a:lnTo>
                    <a:pt x="10" y="4"/>
                  </a:lnTo>
                  <a:lnTo>
                    <a:pt x="8" y="6"/>
                  </a:lnTo>
                  <a:lnTo>
                    <a:pt x="6" y="10"/>
                  </a:lnTo>
                  <a:lnTo>
                    <a:pt x="6" y="14"/>
                  </a:lnTo>
                  <a:lnTo>
                    <a:pt x="6" y="14"/>
                  </a:lnTo>
                  <a:lnTo>
                    <a:pt x="6" y="18"/>
                  </a:lnTo>
                  <a:lnTo>
                    <a:pt x="4" y="20"/>
                  </a:lnTo>
                  <a:lnTo>
                    <a:pt x="4" y="22"/>
                  </a:lnTo>
                  <a:lnTo>
                    <a:pt x="2" y="24"/>
                  </a:lnTo>
                  <a:lnTo>
                    <a:pt x="2" y="24"/>
                  </a:lnTo>
                  <a:lnTo>
                    <a:pt x="2" y="28"/>
                  </a:lnTo>
                  <a:lnTo>
                    <a:pt x="2" y="32"/>
                  </a:lnTo>
                  <a:lnTo>
                    <a:pt x="0" y="34"/>
                  </a:lnTo>
                  <a:lnTo>
                    <a:pt x="0" y="36"/>
                  </a:lnTo>
                  <a:lnTo>
                    <a:pt x="0" y="36"/>
                  </a:lnTo>
                  <a:lnTo>
                    <a:pt x="0" y="44"/>
                  </a:lnTo>
                  <a:lnTo>
                    <a:pt x="0" y="48"/>
                  </a:lnTo>
                  <a:lnTo>
                    <a:pt x="0" y="48"/>
                  </a:lnTo>
                  <a:lnTo>
                    <a:pt x="0" y="48"/>
                  </a:lnTo>
                  <a:lnTo>
                    <a:pt x="0" y="60"/>
                  </a:lnTo>
                  <a:lnTo>
                    <a:pt x="0" y="66"/>
                  </a:lnTo>
                  <a:lnTo>
                    <a:pt x="2" y="72"/>
                  </a:lnTo>
                  <a:lnTo>
                    <a:pt x="2" y="72"/>
                  </a:lnTo>
                  <a:lnTo>
                    <a:pt x="4" y="72"/>
                  </a:lnTo>
                  <a:lnTo>
                    <a:pt x="4" y="72"/>
                  </a:lnTo>
                  <a:lnTo>
                    <a:pt x="8" y="74"/>
                  </a:lnTo>
                  <a:lnTo>
                    <a:pt x="8" y="74"/>
                  </a:lnTo>
                  <a:lnTo>
                    <a:pt x="12" y="74"/>
                  </a:lnTo>
                  <a:lnTo>
                    <a:pt x="12" y="74"/>
                  </a:lnTo>
                  <a:lnTo>
                    <a:pt x="16" y="80"/>
                  </a:lnTo>
                  <a:lnTo>
                    <a:pt x="16" y="80"/>
                  </a:lnTo>
                  <a:lnTo>
                    <a:pt x="18" y="80"/>
                  </a:lnTo>
                  <a:lnTo>
                    <a:pt x="18" y="80"/>
                  </a:lnTo>
                  <a:lnTo>
                    <a:pt x="24" y="82"/>
                  </a:lnTo>
                  <a:lnTo>
                    <a:pt x="24" y="84"/>
                  </a:lnTo>
                  <a:lnTo>
                    <a:pt x="24" y="84"/>
                  </a:lnTo>
                  <a:lnTo>
                    <a:pt x="30" y="82"/>
                  </a:lnTo>
                  <a:lnTo>
                    <a:pt x="32" y="82"/>
                  </a:lnTo>
                  <a:lnTo>
                    <a:pt x="32" y="82"/>
                  </a:lnTo>
                  <a:lnTo>
                    <a:pt x="38" y="82"/>
                  </a:lnTo>
                  <a:lnTo>
                    <a:pt x="40" y="84"/>
                  </a:lnTo>
                  <a:lnTo>
                    <a:pt x="40" y="84"/>
                  </a:lnTo>
                  <a:lnTo>
                    <a:pt x="50" y="82"/>
                  </a:lnTo>
                  <a:lnTo>
                    <a:pt x="58" y="78"/>
                  </a:lnTo>
                  <a:lnTo>
                    <a:pt x="58" y="76"/>
                  </a:lnTo>
                  <a:lnTo>
                    <a:pt x="58" y="76"/>
                  </a:lnTo>
                  <a:lnTo>
                    <a:pt x="62" y="70"/>
                  </a:lnTo>
                  <a:lnTo>
                    <a:pt x="62" y="70"/>
                  </a:lnTo>
                  <a:lnTo>
                    <a:pt x="64" y="64"/>
                  </a:lnTo>
                  <a:lnTo>
                    <a:pt x="64" y="64"/>
                  </a:lnTo>
                  <a:lnTo>
                    <a:pt x="68" y="60"/>
                  </a:lnTo>
                  <a:lnTo>
                    <a:pt x="66" y="5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6" name="Freeform 20"/>
            <p:cNvSpPr>
              <a:spLocks noChangeAspect="1" noEditPoints="1"/>
            </p:cNvSpPr>
            <p:nvPr/>
          </p:nvSpPr>
          <p:spPr bwMode="gray">
            <a:xfrm>
              <a:off x="4113996" y="2664203"/>
              <a:ext cx="217615" cy="309255"/>
            </a:xfrm>
            <a:custGeom>
              <a:avLst/>
              <a:gdLst/>
              <a:ahLst/>
              <a:cxnLst>
                <a:cxn ang="0">
                  <a:pos x="26" y="84"/>
                </a:cxn>
                <a:cxn ang="0">
                  <a:pos x="30" y="100"/>
                </a:cxn>
                <a:cxn ang="0">
                  <a:pos x="10" y="102"/>
                </a:cxn>
                <a:cxn ang="0">
                  <a:pos x="0" y="98"/>
                </a:cxn>
                <a:cxn ang="0">
                  <a:pos x="6" y="86"/>
                </a:cxn>
                <a:cxn ang="0">
                  <a:pos x="52" y="26"/>
                </a:cxn>
                <a:cxn ang="0">
                  <a:pos x="74" y="24"/>
                </a:cxn>
                <a:cxn ang="0">
                  <a:pos x="72" y="44"/>
                </a:cxn>
                <a:cxn ang="0">
                  <a:pos x="66" y="60"/>
                </a:cxn>
                <a:cxn ang="0">
                  <a:pos x="76" y="70"/>
                </a:cxn>
                <a:cxn ang="0">
                  <a:pos x="84" y="86"/>
                </a:cxn>
                <a:cxn ang="0">
                  <a:pos x="98" y="102"/>
                </a:cxn>
                <a:cxn ang="0">
                  <a:pos x="108" y="112"/>
                </a:cxn>
                <a:cxn ang="0">
                  <a:pos x="110" y="126"/>
                </a:cxn>
                <a:cxn ang="0">
                  <a:pos x="114" y="130"/>
                </a:cxn>
                <a:cxn ang="0">
                  <a:pos x="128" y="132"/>
                </a:cxn>
                <a:cxn ang="0">
                  <a:pos x="114" y="152"/>
                </a:cxn>
                <a:cxn ang="0">
                  <a:pos x="110" y="160"/>
                </a:cxn>
                <a:cxn ang="0">
                  <a:pos x="116" y="166"/>
                </a:cxn>
                <a:cxn ang="0">
                  <a:pos x="102" y="168"/>
                </a:cxn>
                <a:cxn ang="0">
                  <a:pos x="80" y="168"/>
                </a:cxn>
                <a:cxn ang="0">
                  <a:pos x="70" y="174"/>
                </a:cxn>
                <a:cxn ang="0">
                  <a:pos x="52" y="178"/>
                </a:cxn>
                <a:cxn ang="0">
                  <a:pos x="36" y="180"/>
                </a:cxn>
                <a:cxn ang="0">
                  <a:pos x="24" y="182"/>
                </a:cxn>
                <a:cxn ang="0">
                  <a:pos x="40" y="164"/>
                </a:cxn>
                <a:cxn ang="0">
                  <a:pos x="68" y="152"/>
                </a:cxn>
                <a:cxn ang="0">
                  <a:pos x="56" y="154"/>
                </a:cxn>
                <a:cxn ang="0">
                  <a:pos x="46" y="156"/>
                </a:cxn>
                <a:cxn ang="0">
                  <a:pos x="40" y="152"/>
                </a:cxn>
                <a:cxn ang="0">
                  <a:pos x="36" y="154"/>
                </a:cxn>
                <a:cxn ang="0">
                  <a:pos x="32" y="146"/>
                </a:cxn>
                <a:cxn ang="0">
                  <a:pos x="46" y="128"/>
                </a:cxn>
                <a:cxn ang="0">
                  <a:pos x="42" y="114"/>
                </a:cxn>
                <a:cxn ang="0">
                  <a:pos x="50" y="116"/>
                </a:cxn>
                <a:cxn ang="0">
                  <a:pos x="64" y="116"/>
                </a:cxn>
                <a:cxn ang="0">
                  <a:pos x="60" y="98"/>
                </a:cxn>
                <a:cxn ang="0">
                  <a:pos x="42" y="86"/>
                </a:cxn>
                <a:cxn ang="0">
                  <a:pos x="38" y="88"/>
                </a:cxn>
                <a:cxn ang="0">
                  <a:pos x="38" y="66"/>
                </a:cxn>
                <a:cxn ang="0">
                  <a:pos x="34" y="62"/>
                </a:cxn>
                <a:cxn ang="0">
                  <a:pos x="28" y="62"/>
                </a:cxn>
                <a:cxn ang="0">
                  <a:pos x="30" y="56"/>
                </a:cxn>
                <a:cxn ang="0">
                  <a:pos x="26" y="52"/>
                </a:cxn>
                <a:cxn ang="0">
                  <a:pos x="26" y="38"/>
                </a:cxn>
                <a:cxn ang="0">
                  <a:pos x="28" y="24"/>
                </a:cxn>
                <a:cxn ang="0">
                  <a:pos x="36" y="20"/>
                </a:cxn>
                <a:cxn ang="0">
                  <a:pos x="36" y="12"/>
                </a:cxn>
                <a:cxn ang="0">
                  <a:pos x="44" y="4"/>
                </a:cxn>
                <a:cxn ang="0">
                  <a:pos x="52" y="0"/>
                </a:cxn>
                <a:cxn ang="0">
                  <a:pos x="54" y="18"/>
                </a:cxn>
                <a:cxn ang="0">
                  <a:pos x="48" y="28"/>
                </a:cxn>
                <a:cxn ang="0">
                  <a:pos x="24" y="56"/>
                </a:cxn>
                <a:cxn ang="0">
                  <a:pos x="20" y="54"/>
                </a:cxn>
                <a:cxn ang="0">
                  <a:pos x="20" y="28"/>
                </a:cxn>
                <a:cxn ang="0">
                  <a:pos x="24" y="42"/>
                </a:cxn>
                <a:cxn ang="0">
                  <a:pos x="16" y="36"/>
                </a:cxn>
                <a:cxn ang="0">
                  <a:pos x="20" y="28"/>
                </a:cxn>
                <a:cxn ang="0">
                  <a:pos x="14" y="22"/>
                </a:cxn>
                <a:cxn ang="0">
                  <a:pos x="10" y="10"/>
                </a:cxn>
                <a:cxn ang="0">
                  <a:pos x="22" y="8"/>
                </a:cxn>
              </a:cxnLst>
              <a:rect l="0" t="0" r="r" b="b"/>
              <a:pathLst>
                <a:path w="128" h="188">
                  <a:moveTo>
                    <a:pt x="12" y="84"/>
                  </a:moveTo>
                  <a:lnTo>
                    <a:pt x="12" y="84"/>
                  </a:lnTo>
                  <a:lnTo>
                    <a:pt x="10" y="86"/>
                  </a:lnTo>
                  <a:lnTo>
                    <a:pt x="10" y="86"/>
                  </a:lnTo>
                  <a:lnTo>
                    <a:pt x="10" y="86"/>
                  </a:lnTo>
                  <a:lnTo>
                    <a:pt x="18" y="82"/>
                  </a:lnTo>
                  <a:lnTo>
                    <a:pt x="20" y="82"/>
                  </a:lnTo>
                  <a:lnTo>
                    <a:pt x="26" y="84"/>
                  </a:lnTo>
                  <a:lnTo>
                    <a:pt x="26" y="84"/>
                  </a:lnTo>
                  <a:lnTo>
                    <a:pt x="22" y="90"/>
                  </a:lnTo>
                  <a:lnTo>
                    <a:pt x="22" y="90"/>
                  </a:lnTo>
                  <a:lnTo>
                    <a:pt x="26" y="90"/>
                  </a:lnTo>
                  <a:lnTo>
                    <a:pt x="26" y="90"/>
                  </a:lnTo>
                  <a:lnTo>
                    <a:pt x="28" y="96"/>
                  </a:lnTo>
                  <a:lnTo>
                    <a:pt x="30" y="100"/>
                  </a:lnTo>
                  <a:lnTo>
                    <a:pt x="30" y="100"/>
                  </a:lnTo>
                  <a:lnTo>
                    <a:pt x="24" y="102"/>
                  </a:lnTo>
                  <a:lnTo>
                    <a:pt x="18" y="102"/>
                  </a:lnTo>
                  <a:lnTo>
                    <a:pt x="18" y="102"/>
                  </a:lnTo>
                  <a:lnTo>
                    <a:pt x="18" y="104"/>
                  </a:lnTo>
                  <a:lnTo>
                    <a:pt x="14" y="104"/>
                  </a:lnTo>
                  <a:lnTo>
                    <a:pt x="10" y="102"/>
                  </a:lnTo>
                  <a:lnTo>
                    <a:pt x="10" y="102"/>
                  </a:lnTo>
                  <a:lnTo>
                    <a:pt x="10" y="102"/>
                  </a:lnTo>
                  <a:lnTo>
                    <a:pt x="6" y="104"/>
                  </a:lnTo>
                  <a:lnTo>
                    <a:pt x="6" y="104"/>
                  </a:lnTo>
                  <a:lnTo>
                    <a:pt x="4" y="104"/>
                  </a:lnTo>
                  <a:lnTo>
                    <a:pt x="4" y="102"/>
                  </a:lnTo>
                  <a:lnTo>
                    <a:pt x="4" y="100"/>
                  </a:lnTo>
                  <a:lnTo>
                    <a:pt x="2" y="98"/>
                  </a:lnTo>
                  <a:lnTo>
                    <a:pt x="2" y="98"/>
                  </a:lnTo>
                  <a:lnTo>
                    <a:pt x="0" y="98"/>
                  </a:lnTo>
                  <a:lnTo>
                    <a:pt x="0" y="96"/>
                  </a:lnTo>
                  <a:lnTo>
                    <a:pt x="0" y="96"/>
                  </a:lnTo>
                  <a:lnTo>
                    <a:pt x="0" y="94"/>
                  </a:lnTo>
                  <a:lnTo>
                    <a:pt x="2" y="94"/>
                  </a:lnTo>
                  <a:lnTo>
                    <a:pt x="4" y="92"/>
                  </a:lnTo>
                  <a:lnTo>
                    <a:pt x="4" y="90"/>
                  </a:lnTo>
                  <a:lnTo>
                    <a:pt x="4" y="90"/>
                  </a:lnTo>
                  <a:lnTo>
                    <a:pt x="6" y="86"/>
                  </a:lnTo>
                  <a:lnTo>
                    <a:pt x="8" y="84"/>
                  </a:lnTo>
                  <a:lnTo>
                    <a:pt x="12" y="82"/>
                  </a:lnTo>
                  <a:lnTo>
                    <a:pt x="12" y="84"/>
                  </a:lnTo>
                  <a:close/>
                  <a:moveTo>
                    <a:pt x="50" y="28"/>
                  </a:moveTo>
                  <a:lnTo>
                    <a:pt x="50" y="28"/>
                  </a:lnTo>
                  <a:lnTo>
                    <a:pt x="52" y="26"/>
                  </a:lnTo>
                  <a:lnTo>
                    <a:pt x="52" y="26"/>
                  </a:lnTo>
                  <a:lnTo>
                    <a:pt x="52" y="26"/>
                  </a:lnTo>
                  <a:lnTo>
                    <a:pt x="60" y="26"/>
                  </a:lnTo>
                  <a:lnTo>
                    <a:pt x="60" y="26"/>
                  </a:lnTo>
                  <a:lnTo>
                    <a:pt x="60" y="24"/>
                  </a:lnTo>
                  <a:lnTo>
                    <a:pt x="60" y="24"/>
                  </a:lnTo>
                  <a:lnTo>
                    <a:pt x="66" y="26"/>
                  </a:lnTo>
                  <a:lnTo>
                    <a:pt x="66" y="26"/>
                  </a:lnTo>
                  <a:lnTo>
                    <a:pt x="70" y="24"/>
                  </a:lnTo>
                  <a:lnTo>
                    <a:pt x="74" y="24"/>
                  </a:lnTo>
                  <a:lnTo>
                    <a:pt x="74" y="24"/>
                  </a:lnTo>
                  <a:lnTo>
                    <a:pt x="78" y="26"/>
                  </a:lnTo>
                  <a:lnTo>
                    <a:pt x="78" y="26"/>
                  </a:lnTo>
                  <a:lnTo>
                    <a:pt x="74" y="34"/>
                  </a:lnTo>
                  <a:lnTo>
                    <a:pt x="74" y="34"/>
                  </a:lnTo>
                  <a:lnTo>
                    <a:pt x="74" y="40"/>
                  </a:lnTo>
                  <a:lnTo>
                    <a:pt x="74" y="40"/>
                  </a:lnTo>
                  <a:lnTo>
                    <a:pt x="72" y="44"/>
                  </a:lnTo>
                  <a:lnTo>
                    <a:pt x="68" y="46"/>
                  </a:lnTo>
                  <a:lnTo>
                    <a:pt x="68" y="46"/>
                  </a:lnTo>
                  <a:lnTo>
                    <a:pt x="68" y="50"/>
                  </a:lnTo>
                  <a:lnTo>
                    <a:pt x="66" y="50"/>
                  </a:lnTo>
                  <a:lnTo>
                    <a:pt x="66" y="50"/>
                  </a:lnTo>
                  <a:lnTo>
                    <a:pt x="70" y="60"/>
                  </a:lnTo>
                  <a:lnTo>
                    <a:pt x="70" y="60"/>
                  </a:lnTo>
                  <a:lnTo>
                    <a:pt x="66" y="60"/>
                  </a:lnTo>
                  <a:lnTo>
                    <a:pt x="66" y="60"/>
                  </a:lnTo>
                  <a:lnTo>
                    <a:pt x="64" y="64"/>
                  </a:lnTo>
                  <a:lnTo>
                    <a:pt x="64" y="64"/>
                  </a:lnTo>
                  <a:lnTo>
                    <a:pt x="72" y="64"/>
                  </a:lnTo>
                  <a:lnTo>
                    <a:pt x="72" y="64"/>
                  </a:lnTo>
                  <a:lnTo>
                    <a:pt x="72" y="68"/>
                  </a:lnTo>
                  <a:lnTo>
                    <a:pt x="72" y="68"/>
                  </a:lnTo>
                  <a:lnTo>
                    <a:pt x="76" y="70"/>
                  </a:lnTo>
                  <a:lnTo>
                    <a:pt x="80" y="74"/>
                  </a:lnTo>
                  <a:lnTo>
                    <a:pt x="80" y="74"/>
                  </a:lnTo>
                  <a:lnTo>
                    <a:pt x="80" y="76"/>
                  </a:lnTo>
                  <a:lnTo>
                    <a:pt x="80" y="76"/>
                  </a:lnTo>
                  <a:lnTo>
                    <a:pt x="84" y="78"/>
                  </a:lnTo>
                  <a:lnTo>
                    <a:pt x="84" y="78"/>
                  </a:lnTo>
                  <a:lnTo>
                    <a:pt x="84" y="82"/>
                  </a:lnTo>
                  <a:lnTo>
                    <a:pt x="84" y="86"/>
                  </a:lnTo>
                  <a:lnTo>
                    <a:pt x="84" y="86"/>
                  </a:lnTo>
                  <a:lnTo>
                    <a:pt x="90" y="92"/>
                  </a:lnTo>
                  <a:lnTo>
                    <a:pt x="90" y="92"/>
                  </a:lnTo>
                  <a:lnTo>
                    <a:pt x="92" y="92"/>
                  </a:lnTo>
                  <a:lnTo>
                    <a:pt x="92" y="92"/>
                  </a:lnTo>
                  <a:lnTo>
                    <a:pt x="94" y="96"/>
                  </a:lnTo>
                  <a:lnTo>
                    <a:pt x="98" y="102"/>
                  </a:lnTo>
                  <a:lnTo>
                    <a:pt x="98" y="102"/>
                  </a:lnTo>
                  <a:lnTo>
                    <a:pt x="100" y="102"/>
                  </a:lnTo>
                  <a:lnTo>
                    <a:pt x="102" y="102"/>
                  </a:lnTo>
                  <a:lnTo>
                    <a:pt x="102" y="102"/>
                  </a:lnTo>
                  <a:lnTo>
                    <a:pt x="106" y="106"/>
                  </a:lnTo>
                  <a:lnTo>
                    <a:pt x="108" y="110"/>
                  </a:lnTo>
                  <a:lnTo>
                    <a:pt x="108" y="110"/>
                  </a:lnTo>
                  <a:lnTo>
                    <a:pt x="108" y="110"/>
                  </a:lnTo>
                  <a:lnTo>
                    <a:pt x="108" y="112"/>
                  </a:lnTo>
                  <a:lnTo>
                    <a:pt x="108" y="112"/>
                  </a:lnTo>
                  <a:lnTo>
                    <a:pt x="106" y="112"/>
                  </a:lnTo>
                  <a:lnTo>
                    <a:pt x="100" y="108"/>
                  </a:lnTo>
                  <a:lnTo>
                    <a:pt x="100" y="108"/>
                  </a:lnTo>
                  <a:lnTo>
                    <a:pt x="104" y="114"/>
                  </a:lnTo>
                  <a:lnTo>
                    <a:pt x="108" y="120"/>
                  </a:lnTo>
                  <a:lnTo>
                    <a:pt x="108" y="120"/>
                  </a:lnTo>
                  <a:lnTo>
                    <a:pt x="110" y="126"/>
                  </a:lnTo>
                  <a:lnTo>
                    <a:pt x="110" y="126"/>
                  </a:lnTo>
                  <a:lnTo>
                    <a:pt x="108" y="126"/>
                  </a:lnTo>
                  <a:lnTo>
                    <a:pt x="108" y="128"/>
                  </a:lnTo>
                  <a:lnTo>
                    <a:pt x="108" y="128"/>
                  </a:lnTo>
                  <a:lnTo>
                    <a:pt x="110" y="132"/>
                  </a:lnTo>
                  <a:lnTo>
                    <a:pt x="110" y="132"/>
                  </a:lnTo>
                  <a:lnTo>
                    <a:pt x="112" y="130"/>
                  </a:lnTo>
                  <a:lnTo>
                    <a:pt x="114" y="130"/>
                  </a:lnTo>
                  <a:lnTo>
                    <a:pt x="112" y="130"/>
                  </a:lnTo>
                  <a:lnTo>
                    <a:pt x="112" y="130"/>
                  </a:lnTo>
                  <a:lnTo>
                    <a:pt x="114" y="126"/>
                  </a:lnTo>
                  <a:lnTo>
                    <a:pt x="114" y="126"/>
                  </a:lnTo>
                  <a:lnTo>
                    <a:pt x="120" y="128"/>
                  </a:lnTo>
                  <a:lnTo>
                    <a:pt x="126" y="128"/>
                  </a:lnTo>
                  <a:lnTo>
                    <a:pt x="126" y="128"/>
                  </a:lnTo>
                  <a:lnTo>
                    <a:pt x="128" y="132"/>
                  </a:lnTo>
                  <a:lnTo>
                    <a:pt x="128" y="138"/>
                  </a:lnTo>
                  <a:lnTo>
                    <a:pt x="126" y="144"/>
                  </a:lnTo>
                  <a:lnTo>
                    <a:pt x="124" y="148"/>
                  </a:lnTo>
                  <a:lnTo>
                    <a:pt x="122" y="148"/>
                  </a:lnTo>
                  <a:lnTo>
                    <a:pt x="122" y="148"/>
                  </a:lnTo>
                  <a:lnTo>
                    <a:pt x="122" y="152"/>
                  </a:lnTo>
                  <a:lnTo>
                    <a:pt x="122" y="152"/>
                  </a:lnTo>
                  <a:lnTo>
                    <a:pt x="114" y="152"/>
                  </a:lnTo>
                  <a:lnTo>
                    <a:pt x="114" y="154"/>
                  </a:lnTo>
                  <a:lnTo>
                    <a:pt x="114" y="154"/>
                  </a:lnTo>
                  <a:lnTo>
                    <a:pt x="110" y="154"/>
                  </a:lnTo>
                  <a:lnTo>
                    <a:pt x="110" y="154"/>
                  </a:lnTo>
                  <a:lnTo>
                    <a:pt x="112" y="158"/>
                  </a:lnTo>
                  <a:lnTo>
                    <a:pt x="112" y="158"/>
                  </a:lnTo>
                  <a:lnTo>
                    <a:pt x="110" y="158"/>
                  </a:lnTo>
                  <a:lnTo>
                    <a:pt x="110" y="160"/>
                  </a:lnTo>
                  <a:lnTo>
                    <a:pt x="110" y="160"/>
                  </a:lnTo>
                  <a:lnTo>
                    <a:pt x="118" y="160"/>
                  </a:lnTo>
                  <a:lnTo>
                    <a:pt x="122" y="160"/>
                  </a:lnTo>
                  <a:lnTo>
                    <a:pt x="120" y="162"/>
                  </a:lnTo>
                  <a:lnTo>
                    <a:pt x="120" y="162"/>
                  </a:lnTo>
                  <a:lnTo>
                    <a:pt x="120" y="164"/>
                  </a:lnTo>
                  <a:lnTo>
                    <a:pt x="120" y="164"/>
                  </a:lnTo>
                  <a:lnTo>
                    <a:pt x="116" y="166"/>
                  </a:lnTo>
                  <a:lnTo>
                    <a:pt x="116" y="166"/>
                  </a:lnTo>
                  <a:lnTo>
                    <a:pt x="114" y="168"/>
                  </a:lnTo>
                  <a:lnTo>
                    <a:pt x="114" y="168"/>
                  </a:lnTo>
                  <a:lnTo>
                    <a:pt x="110" y="168"/>
                  </a:lnTo>
                  <a:lnTo>
                    <a:pt x="108" y="172"/>
                  </a:lnTo>
                  <a:lnTo>
                    <a:pt x="108" y="172"/>
                  </a:lnTo>
                  <a:lnTo>
                    <a:pt x="106" y="170"/>
                  </a:lnTo>
                  <a:lnTo>
                    <a:pt x="102" y="168"/>
                  </a:lnTo>
                  <a:lnTo>
                    <a:pt x="102" y="168"/>
                  </a:lnTo>
                  <a:lnTo>
                    <a:pt x="98" y="168"/>
                  </a:lnTo>
                  <a:lnTo>
                    <a:pt x="96" y="168"/>
                  </a:lnTo>
                  <a:lnTo>
                    <a:pt x="90" y="170"/>
                  </a:lnTo>
                  <a:lnTo>
                    <a:pt x="90" y="170"/>
                  </a:lnTo>
                  <a:lnTo>
                    <a:pt x="86" y="170"/>
                  </a:lnTo>
                  <a:lnTo>
                    <a:pt x="84" y="168"/>
                  </a:lnTo>
                  <a:lnTo>
                    <a:pt x="80" y="168"/>
                  </a:lnTo>
                  <a:lnTo>
                    <a:pt x="80" y="170"/>
                  </a:lnTo>
                  <a:lnTo>
                    <a:pt x="80" y="170"/>
                  </a:lnTo>
                  <a:lnTo>
                    <a:pt x="76" y="172"/>
                  </a:lnTo>
                  <a:lnTo>
                    <a:pt x="76" y="172"/>
                  </a:lnTo>
                  <a:lnTo>
                    <a:pt x="76" y="174"/>
                  </a:lnTo>
                  <a:lnTo>
                    <a:pt x="76" y="174"/>
                  </a:lnTo>
                  <a:lnTo>
                    <a:pt x="72" y="174"/>
                  </a:lnTo>
                  <a:lnTo>
                    <a:pt x="70" y="174"/>
                  </a:lnTo>
                  <a:lnTo>
                    <a:pt x="66" y="172"/>
                  </a:lnTo>
                  <a:lnTo>
                    <a:pt x="64" y="172"/>
                  </a:lnTo>
                  <a:lnTo>
                    <a:pt x="64" y="172"/>
                  </a:lnTo>
                  <a:lnTo>
                    <a:pt x="60" y="172"/>
                  </a:lnTo>
                  <a:lnTo>
                    <a:pt x="58" y="176"/>
                  </a:lnTo>
                  <a:lnTo>
                    <a:pt x="54" y="180"/>
                  </a:lnTo>
                  <a:lnTo>
                    <a:pt x="54" y="180"/>
                  </a:lnTo>
                  <a:lnTo>
                    <a:pt x="52" y="178"/>
                  </a:lnTo>
                  <a:lnTo>
                    <a:pt x="52" y="176"/>
                  </a:lnTo>
                  <a:lnTo>
                    <a:pt x="52" y="176"/>
                  </a:lnTo>
                  <a:lnTo>
                    <a:pt x="40" y="178"/>
                  </a:lnTo>
                  <a:lnTo>
                    <a:pt x="40" y="178"/>
                  </a:lnTo>
                  <a:lnTo>
                    <a:pt x="40" y="180"/>
                  </a:lnTo>
                  <a:lnTo>
                    <a:pt x="38" y="180"/>
                  </a:lnTo>
                  <a:lnTo>
                    <a:pt x="38" y="180"/>
                  </a:lnTo>
                  <a:lnTo>
                    <a:pt x="36" y="180"/>
                  </a:lnTo>
                  <a:lnTo>
                    <a:pt x="36" y="180"/>
                  </a:lnTo>
                  <a:lnTo>
                    <a:pt x="32" y="188"/>
                  </a:lnTo>
                  <a:lnTo>
                    <a:pt x="32" y="188"/>
                  </a:lnTo>
                  <a:lnTo>
                    <a:pt x="28" y="186"/>
                  </a:lnTo>
                  <a:lnTo>
                    <a:pt x="24" y="184"/>
                  </a:lnTo>
                  <a:lnTo>
                    <a:pt x="24" y="184"/>
                  </a:lnTo>
                  <a:lnTo>
                    <a:pt x="24" y="182"/>
                  </a:lnTo>
                  <a:lnTo>
                    <a:pt x="24" y="182"/>
                  </a:lnTo>
                  <a:lnTo>
                    <a:pt x="30" y="180"/>
                  </a:lnTo>
                  <a:lnTo>
                    <a:pt x="30" y="180"/>
                  </a:lnTo>
                  <a:lnTo>
                    <a:pt x="32" y="178"/>
                  </a:lnTo>
                  <a:lnTo>
                    <a:pt x="32" y="174"/>
                  </a:lnTo>
                  <a:lnTo>
                    <a:pt x="32" y="174"/>
                  </a:lnTo>
                  <a:lnTo>
                    <a:pt x="38" y="170"/>
                  </a:lnTo>
                  <a:lnTo>
                    <a:pt x="38" y="170"/>
                  </a:lnTo>
                  <a:lnTo>
                    <a:pt x="40" y="164"/>
                  </a:lnTo>
                  <a:lnTo>
                    <a:pt x="42" y="162"/>
                  </a:lnTo>
                  <a:lnTo>
                    <a:pt x="44" y="160"/>
                  </a:lnTo>
                  <a:lnTo>
                    <a:pt x="44" y="160"/>
                  </a:lnTo>
                  <a:lnTo>
                    <a:pt x="44" y="160"/>
                  </a:lnTo>
                  <a:lnTo>
                    <a:pt x="54" y="160"/>
                  </a:lnTo>
                  <a:lnTo>
                    <a:pt x="66" y="160"/>
                  </a:lnTo>
                  <a:lnTo>
                    <a:pt x="66" y="160"/>
                  </a:lnTo>
                  <a:lnTo>
                    <a:pt x="68" y="152"/>
                  </a:lnTo>
                  <a:lnTo>
                    <a:pt x="68" y="150"/>
                  </a:lnTo>
                  <a:lnTo>
                    <a:pt x="62" y="152"/>
                  </a:lnTo>
                  <a:lnTo>
                    <a:pt x="62" y="152"/>
                  </a:lnTo>
                  <a:lnTo>
                    <a:pt x="62" y="154"/>
                  </a:lnTo>
                  <a:lnTo>
                    <a:pt x="60" y="156"/>
                  </a:lnTo>
                  <a:lnTo>
                    <a:pt x="60" y="156"/>
                  </a:lnTo>
                  <a:lnTo>
                    <a:pt x="56" y="154"/>
                  </a:lnTo>
                  <a:lnTo>
                    <a:pt x="56" y="154"/>
                  </a:lnTo>
                  <a:lnTo>
                    <a:pt x="56" y="152"/>
                  </a:lnTo>
                  <a:lnTo>
                    <a:pt x="54" y="152"/>
                  </a:lnTo>
                  <a:lnTo>
                    <a:pt x="54" y="152"/>
                  </a:lnTo>
                  <a:lnTo>
                    <a:pt x="54" y="152"/>
                  </a:lnTo>
                  <a:lnTo>
                    <a:pt x="54" y="152"/>
                  </a:lnTo>
                  <a:lnTo>
                    <a:pt x="50" y="156"/>
                  </a:lnTo>
                  <a:lnTo>
                    <a:pt x="50" y="156"/>
                  </a:lnTo>
                  <a:lnTo>
                    <a:pt x="46" y="156"/>
                  </a:lnTo>
                  <a:lnTo>
                    <a:pt x="44" y="156"/>
                  </a:lnTo>
                  <a:lnTo>
                    <a:pt x="44" y="154"/>
                  </a:lnTo>
                  <a:lnTo>
                    <a:pt x="44" y="154"/>
                  </a:lnTo>
                  <a:lnTo>
                    <a:pt x="44" y="154"/>
                  </a:lnTo>
                  <a:lnTo>
                    <a:pt x="44" y="152"/>
                  </a:lnTo>
                  <a:lnTo>
                    <a:pt x="44" y="152"/>
                  </a:lnTo>
                  <a:lnTo>
                    <a:pt x="40" y="152"/>
                  </a:lnTo>
                  <a:lnTo>
                    <a:pt x="40" y="152"/>
                  </a:lnTo>
                  <a:lnTo>
                    <a:pt x="40" y="152"/>
                  </a:lnTo>
                  <a:lnTo>
                    <a:pt x="40" y="154"/>
                  </a:lnTo>
                  <a:lnTo>
                    <a:pt x="40" y="154"/>
                  </a:lnTo>
                  <a:lnTo>
                    <a:pt x="40" y="154"/>
                  </a:lnTo>
                  <a:lnTo>
                    <a:pt x="38" y="156"/>
                  </a:lnTo>
                  <a:lnTo>
                    <a:pt x="38" y="156"/>
                  </a:lnTo>
                  <a:lnTo>
                    <a:pt x="36" y="156"/>
                  </a:lnTo>
                  <a:lnTo>
                    <a:pt x="36" y="154"/>
                  </a:lnTo>
                  <a:lnTo>
                    <a:pt x="36" y="152"/>
                  </a:lnTo>
                  <a:lnTo>
                    <a:pt x="36" y="152"/>
                  </a:lnTo>
                  <a:lnTo>
                    <a:pt x="32" y="152"/>
                  </a:lnTo>
                  <a:lnTo>
                    <a:pt x="32" y="152"/>
                  </a:lnTo>
                  <a:lnTo>
                    <a:pt x="32" y="150"/>
                  </a:lnTo>
                  <a:lnTo>
                    <a:pt x="34" y="150"/>
                  </a:lnTo>
                  <a:lnTo>
                    <a:pt x="34" y="150"/>
                  </a:lnTo>
                  <a:lnTo>
                    <a:pt x="32" y="146"/>
                  </a:lnTo>
                  <a:lnTo>
                    <a:pt x="32" y="146"/>
                  </a:lnTo>
                  <a:lnTo>
                    <a:pt x="40" y="142"/>
                  </a:lnTo>
                  <a:lnTo>
                    <a:pt x="40" y="142"/>
                  </a:lnTo>
                  <a:lnTo>
                    <a:pt x="42" y="140"/>
                  </a:lnTo>
                  <a:lnTo>
                    <a:pt x="42" y="140"/>
                  </a:lnTo>
                  <a:lnTo>
                    <a:pt x="46" y="136"/>
                  </a:lnTo>
                  <a:lnTo>
                    <a:pt x="46" y="128"/>
                  </a:lnTo>
                  <a:lnTo>
                    <a:pt x="46" y="128"/>
                  </a:lnTo>
                  <a:lnTo>
                    <a:pt x="38" y="130"/>
                  </a:lnTo>
                  <a:lnTo>
                    <a:pt x="38" y="130"/>
                  </a:lnTo>
                  <a:lnTo>
                    <a:pt x="44" y="124"/>
                  </a:lnTo>
                  <a:lnTo>
                    <a:pt x="48" y="120"/>
                  </a:lnTo>
                  <a:lnTo>
                    <a:pt x="48" y="120"/>
                  </a:lnTo>
                  <a:lnTo>
                    <a:pt x="44" y="120"/>
                  </a:lnTo>
                  <a:lnTo>
                    <a:pt x="44" y="120"/>
                  </a:lnTo>
                  <a:lnTo>
                    <a:pt x="42" y="114"/>
                  </a:lnTo>
                  <a:lnTo>
                    <a:pt x="42" y="114"/>
                  </a:lnTo>
                  <a:lnTo>
                    <a:pt x="44" y="114"/>
                  </a:lnTo>
                  <a:lnTo>
                    <a:pt x="44" y="112"/>
                  </a:lnTo>
                  <a:lnTo>
                    <a:pt x="44" y="112"/>
                  </a:lnTo>
                  <a:lnTo>
                    <a:pt x="46" y="112"/>
                  </a:lnTo>
                  <a:lnTo>
                    <a:pt x="50" y="112"/>
                  </a:lnTo>
                  <a:lnTo>
                    <a:pt x="50" y="112"/>
                  </a:lnTo>
                  <a:lnTo>
                    <a:pt x="50" y="116"/>
                  </a:lnTo>
                  <a:lnTo>
                    <a:pt x="50" y="116"/>
                  </a:lnTo>
                  <a:lnTo>
                    <a:pt x="50" y="116"/>
                  </a:lnTo>
                  <a:lnTo>
                    <a:pt x="52" y="118"/>
                  </a:lnTo>
                  <a:lnTo>
                    <a:pt x="62" y="118"/>
                  </a:lnTo>
                  <a:lnTo>
                    <a:pt x="62" y="116"/>
                  </a:lnTo>
                  <a:lnTo>
                    <a:pt x="62" y="116"/>
                  </a:lnTo>
                  <a:lnTo>
                    <a:pt x="64" y="116"/>
                  </a:lnTo>
                  <a:lnTo>
                    <a:pt x="64" y="116"/>
                  </a:lnTo>
                  <a:lnTo>
                    <a:pt x="64" y="114"/>
                  </a:lnTo>
                  <a:lnTo>
                    <a:pt x="64" y="110"/>
                  </a:lnTo>
                  <a:lnTo>
                    <a:pt x="64" y="110"/>
                  </a:lnTo>
                  <a:lnTo>
                    <a:pt x="66" y="106"/>
                  </a:lnTo>
                  <a:lnTo>
                    <a:pt x="66" y="106"/>
                  </a:lnTo>
                  <a:lnTo>
                    <a:pt x="66" y="98"/>
                  </a:lnTo>
                  <a:lnTo>
                    <a:pt x="66" y="98"/>
                  </a:lnTo>
                  <a:lnTo>
                    <a:pt x="60" y="98"/>
                  </a:lnTo>
                  <a:lnTo>
                    <a:pt x="56" y="96"/>
                  </a:lnTo>
                  <a:lnTo>
                    <a:pt x="56" y="92"/>
                  </a:lnTo>
                  <a:lnTo>
                    <a:pt x="62" y="88"/>
                  </a:lnTo>
                  <a:lnTo>
                    <a:pt x="62" y="88"/>
                  </a:lnTo>
                  <a:lnTo>
                    <a:pt x="58" y="86"/>
                  </a:lnTo>
                  <a:lnTo>
                    <a:pt x="54" y="88"/>
                  </a:lnTo>
                  <a:lnTo>
                    <a:pt x="48" y="88"/>
                  </a:lnTo>
                  <a:lnTo>
                    <a:pt x="42" y="86"/>
                  </a:lnTo>
                  <a:lnTo>
                    <a:pt x="42" y="86"/>
                  </a:lnTo>
                  <a:lnTo>
                    <a:pt x="42" y="90"/>
                  </a:lnTo>
                  <a:lnTo>
                    <a:pt x="42" y="92"/>
                  </a:lnTo>
                  <a:lnTo>
                    <a:pt x="42" y="92"/>
                  </a:lnTo>
                  <a:lnTo>
                    <a:pt x="40" y="90"/>
                  </a:lnTo>
                  <a:lnTo>
                    <a:pt x="40" y="90"/>
                  </a:lnTo>
                  <a:lnTo>
                    <a:pt x="38" y="88"/>
                  </a:lnTo>
                  <a:lnTo>
                    <a:pt x="38" y="88"/>
                  </a:lnTo>
                  <a:lnTo>
                    <a:pt x="36" y="88"/>
                  </a:lnTo>
                  <a:lnTo>
                    <a:pt x="34" y="88"/>
                  </a:lnTo>
                  <a:lnTo>
                    <a:pt x="34" y="88"/>
                  </a:lnTo>
                  <a:lnTo>
                    <a:pt x="38" y="76"/>
                  </a:lnTo>
                  <a:lnTo>
                    <a:pt x="38" y="72"/>
                  </a:lnTo>
                  <a:lnTo>
                    <a:pt x="36" y="66"/>
                  </a:lnTo>
                  <a:lnTo>
                    <a:pt x="36" y="66"/>
                  </a:lnTo>
                  <a:lnTo>
                    <a:pt x="38" y="66"/>
                  </a:lnTo>
                  <a:lnTo>
                    <a:pt x="38" y="64"/>
                  </a:lnTo>
                  <a:lnTo>
                    <a:pt x="38" y="62"/>
                  </a:lnTo>
                  <a:lnTo>
                    <a:pt x="38" y="62"/>
                  </a:lnTo>
                  <a:lnTo>
                    <a:pt x="36" y="62"/>
                  </a:lnTo>
                  <a:lnTo>
                    <a:pt x="36" y="64"/>
                  </a:lnTo>
                  <a:lnTo>
                    <a:pt x="36" y="64"/>
                  </a:lnTo>
                  <a:lnTo>
                    <a:pt x="34" y="64"/>
                  </a:lnTo>
                  <a:lnTo>
                    <a:pt x="34" y="62"/>
                  </a:lnTo>
                  <a:lnTo>
                    <a:pt x="34" y="62"/>
                  </a:lnTo>
                  <a:lnTo>
                    <a:pt x="34" y="62"/>
                  </a:lnTo>
                  <a:lnTo>
                    <a:pt x="30" y="64"/>
                  </a:lnTo>
                  <a:lnTo>
                    <a:pt x="30" y="64"/>
                  </a:lnTo>
                  <a:lnTo>
                    <a:pt x="28" y="68"/>
                  </a:lnTo>
                  <a:lnTo>
                    <a:pt x="28" y="68"/>
                  </a:lnTo>
                  <a:lnTo>
                    <a:pt x="28" y="64"/>
                  </a:lnTo>
                  <a:lnTo>
                    <a:pt x="28" y="62"/>
                  </a:lnTo>
                  <a:lnTo>
                    <a:pt x="30" y="62"/>
                  </a:lnTo>
                  <a:lnTo>
                    <a:pt x="30" y="62"/>
                  </a:lnTo>
                  <a:lnTo>
                    <a:pt x="30" y="58"/>
                  </a:lnTo>
                  <a:lnTo>
                    <a:pt x="30" y="58"/>
                  </a:lnTo>
                  <a:lnTo>
                    <a:pt x="28" y="58"/>
                  </a:lnTo>
                  <a:lnTo>
                    <a:pt x="30" y="58"/>
                  </a:lnTo>
                  <a:lnTo>
                    <a:pt x="30" y="56"/>
                  </a:lnTo>
                  <a:lnTo>
                    <a:pt x="30" y="56"/>
                  </a:lnTo>
                  <a:lnTo>
                    <a:pt x="34" y="56"/>
                  </a:lnTo>
                  <a:lnTo>
                    <a:pt x="34" y="56"/>
                  </a:lnTo>
                  <a:lnTo>
                    <a:pt x="34" y="52"/>
                  </a:lnTo>
                  <a:lnTo>
                    <a:pt x="34" y="52"/>
                  </a:lnTo>
                  <a:lnTo>
                    <a:pt x="34" y="52"/>
                  </a:lnTo>
                  <a:lnTo>
                    <a:pt x="34" y="52"/>
                  </a:lnTo>
                  <a:lnTo>
                    <a:pt x="26" y="54"/>
                  </a:lnTo>
                  <a:lnTo>
                    <a:pt x="26" y="52"/>
                  </a:lnTo>
                  <a:lnTo>
                    <a:pt x="26" y="52"/>
                  </a:lnTo>
                  <a:lnTo>
                    <a:pt x="28" y="46"/>
                  </a:lnTo>
                  <a:lnTo>
                    <a:pt x="28" y="44"/>
                  </a:lnTo>
                  <a:lnTo>
                    <a:pt x="30" y="42"/>
                  </a:lnTo>
                  <a:lnTo>
                    <a:pt x="30" y="42"/>
                  </a:lnTo>
                  <a:lnTo>
                    <a:pt x="28" y="40"/>
                  </a:lnTo>
                  <a:lnTo>
                    <a:pt x="26" y="38"/>
                  </a:lnTo>
                  <a:lnTo>
                    <a:pt x="26" y="38"/>
                  </a:lnTo>
                  <a:lnTo>
                    <a:pt x="28" y="36"/>
                  </a:lnTo>
                  <a:lnTo>
                    <a:pt x="28" y="34"/>
                  </a:lnTo>
                  <a:lnTo>
                    <a:pt x="26" y="28"/>
                  </a:lnTo>
                  <a:lnTo>
                    <a:pt x="26" y="28"/>
                  </a:lnTo>
                  <a:lnTo>
                    <a:pt x="30" y="28"/>
                  </a:lnTo>
                  <a:lnTo>
                    <a:pt x="30" y="28"/>
                  </a:lnTo>
                  <a:lnTo>
                    <a:pt x="28" y="26"/>
                  </a:lnTo>
                  <a:lnTo>
                    <a:pt x="28" y="24"/>
                  </a:lnTo>
                  <a:lnTo>
                    <a:pt x="28" y="24"/>
                  </a:lnTo>
                  <a:lnTo>
                    <a:pt x="28" y="24"/>
                  </a:lnTo>
                  <a:lnTo>
                    <a:pt x="28" y="24"/>
                  </a:lnTo>
                  <a:lnTo>
                    <a:pt x="28" y="22"/>
                  </a:lnTo>
                  <a:lnTo>
                    <a:pt x="28" y="22"/>
                  </a:lnTo>
                  <a:lnTo>
                    <a:pt x="34" y="22"/>
                  </a:lnTo>
                  <a:lnTo>
                    <a:pt x="34" y="22"/>
                  </a:lnTo>
                  <a:lnTo>
                    <a:pt x="36" y="20"/>
                  </a:lnTo>
                  <a:lnTo>
                    <a:pt x="36" y="20"/>
                  </a:lnTo>
                  <a:lnTo>
                    <a:pt x="34" y="20"/>
                  </a:lnTo>
                  <a:lnTo>
                    <a:pt x="34" y="18"/>
                  </a:lnTo>
                  <a:lnTo>
                    <a:pt x="34" y="18"/>
                  </a:lnTo>
                  <a:lnTo>
                    <a:pt x="34" y="18"/>
                  </a:lnTo>
                  <a:lnTo>
                    <a:pt x="34" y="16"/>
                  </a:lnTo>
                  <a:lnTo>
                    <a:pt x="34" y="16"/>
                  </a:lnTo>
                  <a:lnTo>
                    <a:pt x="36" y="12"/>
                  </a:lnTo>
                  <a:lnTo>
                    <a:pt x="38" y="8"/>
                  </a:lnTo>
                  <a:lnTo>
                    <a:pt x="38" y="8"/>
                  </a:lnTo>
                  <a:lnTo>
                    <a:pt x="38" y="2"/>
                  </a:lnTo>
                  <a:lnTo>
                    <a:pt x="38" y="2"/>
                  </a:lnTo>
                  <a:lnTo>
                    <a:pt x="42" y="2"/>
                  </a:lnTo>
                  <a:lnTo>
                    <a:pt x="42" y="2"/>
                  </a:lnTo>
                  <a:lnTo>
                    <a:pt x="44" y="2"/>
                  </a:lnTo>
                  <a:lnTo>
                    <a:pt x="44" y="4"/>
                  </a:lnTo>
                  <a:lnTo>
                    <a:pt x="42" y="6"/>
                  </a:lnTo>
                  <a:lnTo>
                    <a:pt x="44" y="6"/>
                  </a:lnTo>
                  <a:lnTo>
                    <a:pt x="44" y="6"/>
                  </a:lnTo>
                  <a:lnTo>
                    <a:pt x="44" y="2"/>
                  </a:lnTo>
                  <a:lnTo>
                    <a:pt x="46" y="2"/>
                  </a:lnTo>
                  <a:lnTo>
                    <a:pt x="46" y="4"/>
                  </a:lnTo>
                  <a:lnTo>
                    <a:pt x="52" y="0"/>
                  </a:lnTo>
                  <a:lnTo>
                    <a:pt x="52" y="0"/>
                  </a:lnTo>
                  <a:lnTo>
                    <a:pt x="56" y="0"/>
                  </a:lnTo>
                  <a:lnTo>
                    <a:pt x="60" y="2"/>
                  </a:lnTo>
                  <a:lnTo>
                    <a:pt x="62" y="4"/>
                  </a:lnTo>
                  <a:lnTo>
                    <a:pt x="60" y="10"/>
                  </a:lnTo>
                  <a:lnTo>
                    <a:pt x="60" y="10"/>
                  </a:lnTo>
                  <a:lnTo>
                    <a:pt x="56" y="12"/>
                  </a:lnTo>
                  <a:lnTo>
                    <a:pt x="56" y="12"/>
                  </a:lnTo>
                  <a:lnTo>
                    <a:pt x="54" y="18"/>
                  </a:lnTo>
                  <a:lnTo>
                    <a:pt x="52" y="18"/>
                  </a:lnTo>
                  <a:lnTo>
                    <a:pt x="52" y="18"/>
                  </a:lnTo>
                  <a:lnTo>
                    <a:pt x="48" y="20"/>
                  </a:lnTo>
                  <a:lnTo>
                    <a:pt x="48" y="20"/>
                  </a:lnTo>
                  <a:lnTo>
                    <a:pt x="48" y="22"/>
                  </a:lnTo>
                  <a:lnTo>
                    <a:pt x="48" y="26"/>
                  </a:lnTo>
                  <a:lnTo>
                    <a:pt x="48" y="28"/>
                  </a:lnTo>
                  <a:lnTo>
                    <a:pt x="48" y="28"/>
                  </a:lnTo>
                  <a:lnTo>
                    <a:pt x="50" y="28"/>
                  </a:lnTo>
                  <a:lnTo>
                    <a:pt x="50" y="28"/>
                  </a:lnTo>
                  <a:lnTo>
                    <a:pt x="50" y="28"/>
                  </a:lnTo>
                  <a:close/>
                  <a:moveTo>
                    <a:pt x="22" y="50"/>
                  </a:moveTo>
                  <a:lnTo>
                    <a:pt x="22" y="50"/>
                  </a:lnTo>
                  <a:lnTo>
                    <a:pt x="24" y="54"/>
                  </a:lnTo>
                  <a:lnTo>
                    <a:pt x="24" y="54"/>
                  </a:lnTo>
                  <a:lnTo>
                    <a:pt x="24" y="56"/>
                  </a:lnTo>
                  <a:lnTo>
                    <a:pt x="22" y="58"/>
                  </a:lnTo>
                  <a:lnTo>
                    <a:pt x="22" y="58"/>
                  </a:lnTo>
                  <a:lnTo>
                    <a:pt x="22" y="58"/>
                  </a:lnTo>
                  <a:lnTo>
                    <a:pt x="18" y="56"/>
                  </a:lnTo>
                  <a:lnTo>
                    <a:pt x="18" y="56"/>
                  </a:lnTo>
                  <a:lnTo>
                    <a:pt x="20" y="56"/>
                  </a:lnTo>
                  <a:lnTo>
                    <a:pt x="20" y="56"/>
                  </a:lnTo>
                  <a:lnTo>
                    <a:pt x="20" y="54"/>
                  </a:lnTo>
                  <a:lnTo>
                    <a:pt x="18" y="52"/>
                  </a:lnTo>
                  <a:lnTo>
                    <a:pt x="18" y="52"/>
                  </a:lnTo>
                  <a:lnTo>
                    <a:pt x="18" y="50"/>
                  </a:lnTo>
                  <a:lnTo>
                    <a:pt x="18" y="50"/>
                  </a:lnTo>
                  <a:lnTo>
                    <a:pt x="22" y="50"/>
                  </a:lnTo>
                  <a:lnTo>
                    <a:pt x="22" y="50"/>
                  </a:lnTo>
                  <a:close/>
                  <a:moveTo>
                    <a:pt x="20" y="28"/>
                  </a:moveTo>
                  <a:lnTo>
                    <a:pt x="20" y="28"/>
                  </a:lnTo>
                  <a:lnTo>
                    <a:pt x="20" y="32"/>
                  </a:lnTo>
                  <a:lnTo>
                    <a:pt x="20" y="38"/>
                  </a:lnTo>
                  <a:lnTo>
                    <a:pt x="20" y="38"/>
                  </a:lnTo>
                  <a:lnTo>
                    <a:pt x="24" y="38"/>
                  </a:lnTo>
                  <a:lnTo>
                    <a:pt x="24" y="38"/>
                  </a:lnTo>
                  <a:lnTo>
                    <a:pt x="24" y="40"/>
                  </a:lnTo>
                  <a:lnTo>
                    <a:pt x="24" y="42"/>
                  </a:lnTo>
                  <a:lnTo>
                    <a:pt x="24" y="42"/>
                  </a:lnTo>
                  <a:lnTo>
                    <a:pt x="24" y="42"/>
                  </a:lnTo>
                  <a:lnTo>
                    <a:pt x="24" y="44"/>
                  </a:lnTo>
                  <a:lnTo>
                    <a:pt x="22" y="44"/>
                  </a:lnTo>
                  <a:lnTo>
                    <a:pt x="22" y="44"/>
                  </a:lnTo>
                  <a:lnTo>
                    <a:pt x="22" y="42"/>
                  </a:lnTo>
                  <a:lnTo>
                    <a:pt x="20" y="42"/>
                  </a:lnTo>
                  <a:lnTo>
                    <a:pt x="20" y="42"/>
                  </a:lnTo>
                  <a:lnTo>
                    <a:pt x="16" y="36"/>
                  </a:lnTo>
                  <a:lnTo>
                    <a:pt x="16" y="28"/>
                  </a:lnTo>
                  <a:lnTo>
                    <a:pt x="16" y="28"/>
                  </a:lnTo>
                  <a:lnTo>
                    <a:pt x="20" y="28"/>
                  </a:lnTo>
                  <a:lnTo>
                    <a:pt x="20" y="28"/>
                  </a:lnTo>
                  <a:lnTo>
                    <a:pt x="20" y="24"/>
                  </a:lnTo>
                  <a:lnTo>
                    <a:pt x="20" y="24"/>
                  </a:lnTo>
                  <a:lnTo>
                    <a:pt x="20" y="26"/>
                  </a:lnTo>
                  <a:lnTo>
                    <a:pt x="20" y="28"/>
                  </a:lnTo>
                  <a:lnTo>
                    <a:pt x="20" y="28"/>
                  </a:lnTo>
                  <a:close/>
                  <a:moveTo>
                    <a:pt x="20" y="12"/>
                  </a:moveTo>
                  <a:lnTo>
                    <a:pt x="20" y="12"/>
                  </a:lnTo>
                  <a:lnTo>
                    <a:pt x="18" y="16"/>
                  </a:lnTo>
                  <a:lnTo>
                    <a:pt x="18" y="20"/>
                  </a:lnTo>
                  <a:lnTo>
                    <a:pt x="18" y="20"/>
                  </a:lnTo>
                  <a:lnTo>
                    <a:pt x="14" y="20"/>
                  </a:lnTo>
                  <a:lnTo>
                    <a:pt x="14" y="22"/>
                  </a:lnTo>
                  <a:lnTo>
                    <a:pt x="14" y="22"/>
                  </a:lnTo>
                  <a:lnTo>
                    <a:pt x="10" y="24"/>
                  </a:lnTo>
                  <a:lnTo>
                    <a:pt x="10" y="24"/>
                  </a:lnTo>
                  <a:lnTo>
                    <a:pt x="10" y="20"/>
                  </a:lnTo>
                  <a:lnTo>
                    <a:pt x="14" y="16"/>
                  </a:lnTo>
                  <a:lnTo>
                    <a:pt x="14" y="16"/>
                  </a:lnTo>
                  <a:lnTo>
                    <a:pt x="12" y="14"/>
                  </a:lnTo>
                  <a:lnTo>
                    <a:pt x="10" y="10"/>
                  </a:lnTo>
                  <a:lnTo>
                    <a:pt x="10" y="10"/>
                  </a:lnTo>
                  <a:lnTo>
                    <a:pt x="14" y="10"/>
                  </a:lnTo>
                  <a:lnTo>
                    <a:pt x="14" y="10"/>
                  </a:lnTo>
                  <a:lnTo>
                    <a:pt x="14" y="6"/>
                  </a:lnTo>
                  <a:lnTo>
                    <a:pt x="20" y="2"/>
                  </a:lnTo>
                  <a:lnTo>
                    <a:pt x="20" y="2"/>
                  </a:lnTo>
                  <a:lnTo>
                    <a:pt x="22" y="4"/>
                  </a:lnTo>
                  <a:lnTo>
                    <a:pt x="22" y="8"/>
                  </a:lnTo>
                  <a:lnTo>
                    <a:pt x="20" y="12"/>
                  </a:lnTo>
                  <a:lnTo>
                    <a:pt x="20"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7" name="Freeform 21"/>
            <p:cNvSpPr>
              <a:spLocks noChangeAspect="1"/>
            </p:cNvSpPr>
            <p:nvPr/>
          </p:nvSpPr>
          <p:spPr bwMode="gray">
            <a:xfrm>
              <a:off x="5448586" y="3713694"/>
              <a:ext cx="122408" cy="78958"/>
            </a:xfrm>
            <a:custGeom>
              <a:avLst/>
              <a:gdLst/>
              <a:ahLst/>
              <a:cxnLst>
                <a:cxn ang="0">
                  <a:pos x="72" y="14"/>
                </a:cxn>
                <a:cxn ang="0">
                  <a:pos x="66" y="6"/>
                </a:cxn>
                <a:cxn ang="0">
                  <a:pos x="66" y="0"/>
                </a:cxn>
                <a:cxn ang="0">
                  <a:pos x="66" y="0"/>
                </a:cxn>
                <a:cxn ang="0">
                  <a:pos x="58" y="6"/>
                </a:cxn>
                <a:cxn ang="0">
                  <a:pos x="54" y="12"/>
                </a:cxn>
                <a:cxn ang="0">
                  <a:pos x="50" y="16"/>
                </a:cxn>
                <a:cxn ang="0">
                  <a:pos x="40" y="24"/>
                </a:cxn>
                <a:cxn ang="0">
                  <a:pos x="38" y="24"/>
                </a:cxn>
                <a:cxn ang="0">
                  <a:pos x="38" y="28"/>
                </a:cxn>
                <a:cxn ang="0">
                  <a:pos x="34" y="26"/>
                </a:cxn>
                <a:cxn ang="0">
                  <a:pos x="24" y="22"/>
                </a:cxn>
                <a:cxn ang="0">
                  <a:pos x="20" y="22"/>
                </a:cxn>
                <a:cxn ang="0">
                  <a:pos x="18" y="26"/>
                </a:cxn>
                <a:cxn ang="0">
                  <a:pos x="14" y="26"/>
                </a:cxn>
                <a:cxn ang="0">
                  <a:pos x="10" y="24"/>
                </a:cxn>
                <a:cxn ang="0">
                  <a:pos x="8" y="22"/>
                </a:cxn>
                <a:cxn ang="0">
                  <a:pos x="4" y="20"/>
                </a:cxn>
                <a:cxn ang="0">
                  <a:pos x="0" y="12"/>
                </a:cxn>
                <a:cxn ang="0">
                  <a:pos x="8" y="26"/>
                </a:cxn>
                <a:cxn ang="0">
                  <a:pos x="8" y="40"/>
                </a:cxn>
                <a:cxn ang="0">
                  <a:pos x="52" y="48"/>
                </a:cxn>
                <a:cxn ang="0">
                  <a:pos x="56" y="48"/>
                </a:cxn>
                <a:cxn ang="0">
                  <a:pos x="58" y="44"/>
                </a:cxn>
                <a:cxn ang="0">
                  <a:pos x="60" y="38"/>
                </a:cxn>
                <a:cxn ang="0">
                  <a:pos x="62" y="30"/>
                </a:cxn>
                <a:cxn ang="0">
                  <a:pos x="62" y="26"/>
                </a:cxn>
                <a:cxn ang="0">
                  <a:pos x="60" y="26"/>
                </a:cxn>
                <a:cxn ang="0">
                  <a:pos x="62" y="22"/>
                </a:cxn>
                <a:cxn ang="0">
                  <a:pos x="66" y="20"/>
                </a:cxn>
                <a:cxn ang="0">
                  <a:pos x="62" y="16"/>
                </a:cxn>
                <a:cxn ang="0">
                  <a:pos x="62" y="12"/>
                </a:cxn>
                <a:cxn ang="0">
                  <a:pos x="64" y="12"/>
                </a:cxn>
                <a:cxn ang="0">
                  <a:pos x="68" y="16"/>
                </a:cxn>
                <a:cxn ang="0">
                  <a:pos x="68" y="16"/>
                </a:cxn>
                <a:cxn ang="0">
                  <a:pos x="72" y="12"/>
                </a:cxn>
              </a:cxnLst>
              <a:rect l="0" t="0" r="r" b="b"/>
              <a:pathLst>
                <a:path w="72" h="48">
                  <a:moveTo>
                    <a:pt x="72" y="14"/>
                  </a:moveTo>
                  <a:lnTo>
                    <a:pt x="72" y="14"/>
                  </a:lnTo>
                  <a:lnTo>
                    <a:pt x="70" y="6"/>
                  </a:lnTo>
                  <a:lnTo>
                    <a:pt x="66" y="6"/>
                  </a:lnTo>
                  <a:lnTo>
                    <a:pt x="68" y="0"/>
                  </a:lnTo>
                  <a:lnTo>
                    <a:pt x="66" y="0"/>
                  </a:lnTo>
                  <a:lnTo>
                    <a:pt x="66" y="0"/>
                  </a:lnTo>
                  <a:lnTo>
                    <a:pt x="66" y="0"/>
                  </a:lnTo>
                  <a:lnTo>
                    <a:pt x="62" y="4"/>
                  </a:lnTo>
                  <a:lnTo>
                    <a:pt x="58" y="6"/>
                  </a:lnTo>
                  <a:lnTo>
                    <a:pt x="58" y="6"/>
                  </a:lnTo>
                  <a:lnTo>
                    <a:pt x="54" y="12"/>
                  </a:lnTo>
                  <a:lnTo>
                    <a:pt x="50" y="16"/>
                  </a:lnTo>
                  <a:lnTo>
                    <a:pt x="50" y="16"/>
                  </a:lnTo>
                  <a:lnTo>
                    <a:pt x="42" y="22"/>
                  </a:lnTo>
                  <a:lnTo>
                    <a:pt x="40" y="24"/>
                  </a:lnTo>
                  <a:lnTo>
                    <a:pt x="40" y="24"/>
                  </a:lnTo>
                  <a:lnTo>
                    <a:pt x="38" y="24"/>
                  </a:lnTo>
                  <a:lnTo>
                    <a:pt x="38" y="24"/>
                  </a:lnTo>
                  <a:lnTo>
                    <a:pt x="38" y="28"/>
                  </a:lnTo>
                  <a:lnTo>
                    <a:pt x="38" y="28"/>
                  </a:lnTo>
                  <a:lnTo>
                    <a:pt x="34" y="26"/>
                  </a:lnTo>
                  <a:lnTo>
                    <a:pt x="30" y="24"/>
                  </a:lnTo>
                  <a:lnTo>
                    <a:pt x="24" y="22"/>
                  </a:lnTo>
                  <a:lnTo>
                    <a:pt x="24" y="22"/>
                  </a:lnTo>
                  <a:lnTo>
                    <a:pt x="20" y="22"/>
                  </a:lnTo>
                  <a:lnTo>
                    <a:pt x="20" y="24"/>
                  </a:lnTo>
                  <a:lnTo>
                    <a:pt x="18" y="26"/>
                  </a:lnTo>
                  <a:lnTo>
                    <a:pt x="18" y="26"/>
                  </a:lnTo>
                  <a:lnTo>
                    <a:pt x="14" y="26"/>
                  </a:lnTo>
                  <a:lnTo>
                    <a:pt x="10" y="24"/>
                  </a:lnTo>
                  <a:lnTo>
                    <a:pt x="10" y="24"/>
                  </a:lnTo>
                  <a:lnTo>
                    <a:pt x="8" y="22"/>
                  </a:lnTo>
                  <a:lnTo>
                    <a:pt x="8" y="22"/>
                  </a:lnTo>
                  <a:lnTo>
                    <a:pt x="4" y="20"/>
                  </a:lnTo>
                  <a:lnTo>
                    <a:pt x="4" y="20"/>
                  </a:lnTo>
                  <a:lnTo>
                    <a:pt x="6" y="14"/>
                  </a:lnTo>
                  <a:lnTo>
                    <a:pt x="0" y="12"/>
                  </a:lnTo>
                  <a:lnTo>
                    <a:pt x="0" y="18"/>
                  </a:lnTo>
                  <a:lnTo>
                    <a:pt x="8" y="26"/>
                  </a:lnTo>
                  <a:lnTo>
                    <a:pt x="8" y="40"/>
                  </a:lnTo>
                  <a:lnTo>
                    <a:pt x="8" y="40"/>
                  </a:lnTo>
                  <a:lnTo>
                    <a:pt x="52" y="48"/>
                  </a:lnTo>
                  <a:lnTo>
                    <a:pt x="52" y="48"/>
                  </a:lnTo>
                  <a:lnTo>
                    <a:pt x="56" y="48"/>
                  </a:lnTo>
                  <a:lnTo>
                    <a:pt x="56" y="48"/>
                  </a:lnTo>
                  <a:lnTo>
                    <a:pt x="56" y="48"/>
                  </a:lnTo>
                  <a:lnTo>
                    <a:pt x="58" y="44"/>
                  </a:lnTo>
                  <a:lnTo>
                    <a:pt x="60" y="38"/>
                  </a:lnTo>
                  <a:lnTo>
                    <a:pt x="60" y="38"/>
                  </a:lnTo>
                  <a:lnTo>
                    <a:pt x="62" y="34"/>
                  </a:lnTo>
                  <a:lnTo>
                    <a:pt x="62" y="30"/>
                  </a:lnTo>
                  <a:lnTo>
                    <a:pt x="62" y="26"/>
                  </a:lnTo>
                  <a:lnTo>
                    <a:pt x="62" y="26"/>
                  </a:lnTo>
                  <a:lnTo>
                    <a:pt x="60" y="26"/>
                  </a:lnTo>
                  <a:lnTo>
                    <a:pt x="60" y="26"/>
                  </a:lnTo>
                  <a:lnTo>
                    <a:pt x="62" y="22"/>
                  </a:lnTo>
                  <a:lnTo>
                    <a:pt x="62" y="22"/>
                  </a:lnTo>
                  <a:lnTo>
                    <a:pt x="66" y="20"/>
                  </a:lnTo>
                  <a:lnTo>
                    <a:pt x="66" y="20"/>
                  </a:lnTo>
                  <a:lnTo>
                    <a:pt x="64" y="18"/>
                  </a:lnTo>
                  <a:lnTo>
                    <a:pt x="62" y="16"/>
                  </a:lnTo>
                  <a:lnTo>
                    <a:pt x="62" y="16"/>
                  </a:lnTo>
                  <a:lnTo>
                    <a:pt x="62" y="12"/>
                  </a:lnTo>
                  <a:lnTo>
                    <a:pt x="64" y="12"/>
                  </a:lnTo>
                  <a:lnTo>
                    <a:pt x="64" y="12"/>
                  </a:lnTo>
                  <a:lnTo>
                    <a:pt x="66" y="16"/>
                  </a:lnTo>
                  <a:lnTo>
                    <a:pt x="68" y="16"/>
                  </a:lnTo>
                  <a:lnTo>
                    <a:pt x="68" y="16"/>
                  </a:lnTo>
                  <a:lnTo>
                    <a:pt x="68" y="16"/>
                  </a:lnTo>
                  <a:lnTo>
                    <a:pt x="70" y="14"/>
                  </a:lnTo>
                  <a:lnTo>
                    <a:pt x="72" y="12"/>
                  </a:lnTo>
                  <a:lnTo>
                    <a:pt x="72" y="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8" name="Freeform 22"/>
            <p:cNvSpPr>
              <a:spLocks noChangeAspect="1" noEditPoints="1"/>
            </p:cNvSpPr>
            <p:nvPr/>
          </p:nvSpPr>
          <p:spPr bwMode="gray">
            <a:xfrm>
              <a:off x="4822944" y="2894499"/>
              <a:ext cx="387626" cy="269775"/>
            </a:xfrm>
            <a:custGeom>
              <a:avLst/>
              <a:gdLst/>
              <a:ahLst/>
              <a:cxnLst>
                <a:cxn ang="0">
                  <a:pos x="202" y="108"/>
                </a:cxn>
                <a:cxn ang="0">
                  <a:pos x="188" y="114"/>
                </a:cxn>
                <a:cxn ang="0">
                  <a:pos x="176" y="122"/>
                </a:cxn>
                <a:cxn ang="0">
                  <a:pos x="170" y="120"/>
                </a:cxn>
                <a:cxn ang="0">
                  <a:pos x="152" y="128"/>
                </a:cxn>
                <a:cxn ang="0">
                  <a:pos x="144" y="130"/>
                </a:cxn>
                <a:cxn ang="0">
                  <a:pos x="152" y="136"/>
                </a:cxn>
                <a:cxn ang="0">
                  <a:pos x="156" y="142"/>
                </a:cxn>
                <a:cxn ang="0">
                  <a:pos x="172" y="144"/>
                </a:cxn>
                <a:cxn ang="0">
                  <a:pos x="178" y="144"/>
                </a:cxn>
                <a:cxn ang="0">
                  <a:pos x="166" y="152"/>
                </a:cxn>
                <a:cxn ang="0">
                  <a:pos x="138" y="148"/>
                </a:cxn>
                <a:cxn ang="0">
                  <a:pos x="128" y="140"/>
                </a:cxn>
                <a:cxn ang="0">
                  <a:pos x="142" y="134"/>
                </a:cxn>
                <a:cxn ang="0">
                  <a:pos x="136" y="128"/>
                </a:cxn>
                <a:cxn ang="0">
                  <a:pos x="124" y="132"/>
                </a:cxn>
                <a:cxn ang="0">
                  <a:pos x="118" y="126"/>
                </a:cxn>
                <a:cxn ang="0">
                  <a:pos x="120" y="122"/>
                </a:cxn>
                <a:cxn ang="0">
                  <a:pos x="114" y="118"/>
                </a:cxn>
                <a:cxn ang="0">
                  <a:pos x="100" y="122"/>
                </a:cxn>
                <a:cxn ang="0">
                  <a:pos x="84" y="108"/>
                </a:cxn>
                <a:cxn ang="0">
                  <a:pos x="80" y="94"/>
                </a:cxn>
                <a:cxn ang="0">
                  <a:pos x="68" y="80"/>
                </a:cxn>
                <a:cxn ang="0">
                  <a:pos x="50" y="76"/>
                </a:cxn>
                <a:cxn ang="0">
                  <a:pos x="40" y="84"/>
                </a:cxn>
                <a:cxn ang="0">
                  <a:pos x="28" y="92"/>
                </a:cxn>
                <a:cxn ang="0">
                  <a:pos x="14" y="88"/>
                </a:cxn>
                <a:cxn ang="0">
                  <a:pos x="0" y="82"/>
                </a:cxn>
                <a:cxn ang="0">
                  <a:pos x="14" y="68"/>
                </a:cxn>
                <a:cxn ang="0">
                  <a:pos x="16" y="50"/>
                </a:cxn>
                <a:cxn ang="0">
                  <a:pos x="16" y="32"/>
                </a:cxn>
                <a:cxn ang="0">
                  <a:pos x="18" y="20"/>
                </a:cxn>
                <a:cxn ang="0">
                  <a:pos x="18" y="8"/>
                </a:cxn>
                <a:cxn ang="0">
                  <a:pos x="26" y="12"/>
                </a:cxn>
                <a:cxn ang="0">
                  <a:pos x="54" y="8"/>
                </a:cxn>
                <a:cxn ang="0">
                  <a:pos x="72" y="12"/>
                </a:cxn>
                <a:cxn ang="0">
                  <a:pos x="80" y="10"/>
                </a:cxn>
                <a:cxn ang="0">
                  <a:pos x="98" y="10"/>
                </a:cxn>
                <a:cxn ang="0">
                  <a:pos x="104" y="0"/>
                </a:cxn>
                <a:cxn ang="0">
                  <a:pos x="118" y="2"/>
                </a:cxn>
                <a:cxn ang="0">
                  <a:pos x="128" y="2"/>
                </a:cxn>
                <a:cxn ang="0">
                  <a:pos x="132" y="10"/>
                </a:cxn>
                <a:cxn ang="0">
                  <a:pos x="136" y="20"/>
                </a:cxn>
                <a:cxn ang="0">
                  <a:pos x="148" y="22"/>
                </a:cxn>
                <a:cxn ang="0">
                  <a:pos x="162" y="30"/>
                </a:cxn>
                <a:cxn ang="0">
                  <a:pos x="172" y="42"/>
                </a:cxn>
                <a:cxn ang="0">
                  <a:pos x="188" y="36"/>
                </a:cxn>
                <a:cxn ang="0">
                  <a:pos x="198" y="44"/>
                </a:cxn>
                <a:cxn ang="0">
                  <a:pos x="220" y="58"/>
                </a:cxn>
                <a:cxn ang="0">
                  <a:pos x="226" y="64"/>
                </a:cxn>
                <a:cxn ang="0">
                  <a:pos x="226" y="72"/>
                </a:cxn>
                <a:cxn ang="0">
                  <a:pos x="228" y="86"/>
                </a:cxn>
                <a:cxn ang="0">
                  <a:pos x="214" y="100"/>
                </a:cxn>
                <a:cxn ang="0">
                  <a:pos x="88" y="124"/>
                </a:cxn>
                <a:cxn ang="0">
                  <a:pos x="80" y="124"/>
                </a:cxn>
                <a:cxn ang="0">
                  <a:pos x="74" y="140"/>
                </a:cxn>
                <a:cxn ang="0">
                  <a:pos x="80" y="140"/>
                </a:cxn>
                <a:cxn ang="0">
                  <a:pos x="90" y="136"/>
                </a:cxn>
              </a:cxnLst>
              <a:rect l="0" t="0" r="r" b="b"/>
              <a:pathLst>
                <a:path w="228" h="164">
                  <a:moveTo>
                    <a:pt x="210" y="108"/>
                  </a:moveTo>
                  <a:lnTo>
                    <a:pt x="210" y="108"/>
                  </a:lnTo>
                  <a:lnTo>
                    <a:pt x="204" y="108"/>
                  </a:lnTo>
                  <a:lnTo>
                    <a:pt x="204" y="108"/>
                  </a:lnTo>
                  <a:lnTo>
                    <a:pt x="202" y="108"/>
                  </a:lnTo>
                  <a:lnTo>
                    <a:pt x="202" y="108"/>
                  </a:lnTo>
                  <a:lnTo>
                    <a:pt x="198" y="112"/>
                  </a:lnTo>
                  <a:lnTo>
                    <a:pt x="198" y="112"/>
                  </a:lnTo>
                  <a:lnTo>
                    <a:pt x="194" y="112"/>
                  </a:lnTo>
                  <a:lnTo>
                    <a:pt x="194" y="112"/>
                  </a:lnTo>
                  <a:lnTo>
                    <a:pt x="188" y="114"/>
                  </a:lnTo>
                  <a:lnTo>
                    <a:pt x="188" y="114"/>
                  </a:lnTo>
                  <a:lnTo>
                    <a:pt x="186" y="118"/>
                  </a:lnTo>
                  <a:lnTo>
                    <a:pt x="186" y="118"/>
                  </a:lnTo>
                  <a:lnTo>
                    <a:pt x="182" y="118"/>
                  </a:lnTo>
                  <a:lnTo>
                    <a:pt x="178" y="118"/>
                  </a:lnTo>
                  <a:lnTo>
                    <a:pt x="178" y="118"/>
                  </a:lnTo>
                  <a:lnTo>
                    <a:pt x="176" y="122"/>
                  </a:lnTo>
                  <a:lnTo>
                    <a:pt x="176" y="122"/>
                  </a:lnTo>
                  <a:lnTo>
                    <a:pt x="174" y="122"/>
                  </a:lnTo>
                  <a:lnTo>
                    <a:pt x="172" y="120"/>
                  </a:lnTo>
                  <a:lnTo>
                    <a:pt x="172" y="120"/>
                  </a:lnTo>
                  <a:lnTo>
                    <a:pt x="170" y="120"/>
                  </a:lnTo>
                  <a:lnTo>
                    <a:pt x="170" y="120"/>
                  </a:lnTo>
                  <a:lnTo>
                    <a:pt x="170" y="120"/>
                  </a:lnTo>
                  <a:lnTo>
                    <a:pt x="162" y="126"/>
                  </a:lnTo>
                  <a:lnTo>
                    <a:pt x="162" y="128"/>
                  </a:lnTo>
                  <a:lnTo>
                    <a:pt x="162" y="128"/>
                  </a:lnTo>
                  <a:lnTo>
                    <a:pt x="156" y="128"/>
                  </a:lnTo>
                  <a:lnTo>
                    <a:pt x="152" y="128"/>
                  </a:lnTo>
                  <a:lnTo>
                    <a:pt x="152" y="126"/>
                  </a:lnTo>
                  <a:lnTo>
                    <a:pt x="152" y="126"/>
                  </a:lnTo>
                  <a:lnTo>
                    <a:pt x="144" y="126"/>
                  </a:lnTo>
                  <a:lnTo>
                    <a:pt x="144" y="126"/>
                  </a:lnTo>
                  <a:lnTo>
                    <a:pt x="144" y="130"/>
                  </a:lnTo>
                  <a:lnTo>
                    <a:pt x="144" y="130"/>
                  </a:lnTo>
                  <a:lnTo>
                    <a:pt x="148" y="132"/>
                  </a:lnTo>
                  <a:lnTo>
                    <a:pt x="148" y="132"/>
                  </a:lnTo>
                  <a:lnTo>
                    <a:pt x="150" y="132"/>
                  </a:lnTo>
                  <a:lnTo>
                    <a:pt x="150" y="132"/>
                  </a:lnTo>
                  <a:lnTo>
                    <a:pt x="152" y="136"/>
                  </a:lnTo>
                  <a:lnTo>
                    <a:pt x="152" y="136"/>
                  </a:lnTo>
                  <a:lnTo>
                    <a:pt x="154" y="136"/>
                  </a:lnTo>
                  <a:lnTo>
                    <a:pt x="156" y="136"/>
                  </a:lnTo>
                  <a:lnTo>
                    <a:pt x="156" y="136"/>
                  </a:lnTo>
                  <a:lnTo>
                    <a:pt x="156" y="138"/>
                  </a:lnTo>
                  <a:lnTo>
                    <a:pt x="156" y="140"/>
                  </a:lnTo>
                  <a:lnTo>
                    <a:pt x="156" y="142"/>
                  </a:lnTo>
                  <a:lnTo>
                    <a:pt x="158" y="142"/>
                  </a:lnTo>
                  <a:lnTo>
                    <a:pt x="158" y="144"/>
                  </a:lnTo>
                  <a:lnTo>
                    <a:pt x="158" y="144"/>
                  </a:lnTo>
                  <a:lnTo>
                    <a:pt x="164" y="144"/>
                  </a:lnTo>
                  <a:lnTo>
                    <a:pt x="164" y="144"/>
                  </a:lnTo>
                  <a:lnTo>
                    <a:pt x="172" y="144"/>
                  </a:lnTo>
                  <a:lnTo>
                    <a:pt x="172" y="144"/>
                  </a:lnTo>
                  <a:lnTo>
                    <a:pt x="174" y="144"/>
                  </a:lnTo>
                  <a:lnTo>
                    <a:pt x="176" y="142"/>
                  </a:lnTo>
                  <a:lnTo>
                    <a:pt x="176" y="142"/>
                  </a:lnTo>
                  <a:lnTo>
                    <a:pt x="178" y="144"/>
                  </a:lnTo>
                  <a:lnTo>
                    <a:pt x="178" y="144"/>
                  </a:lnTo>
                  <a:lnTo>
                    <a:pt x="178" y="146"/>
                  </a:lnTo>
                  <a:lnTo>
                    <a:pt x="176" y="150"/>
                  </a:lnTo>
                  <a:lnTo>
                    <a:pt x="176" y="150"/>
                  </a:lnTo>
                  <a:lnTo>
                    <a:pt x="170" y="152"/>
                  </a:lnTo>
                  <a:lnTo>
                    <a:pt x="166" y="152"/>
                  </a:lnTo>
                  <a:lnTo>
                    <a:pt x="166" y="152"/>
                  </a:lnTo>
                  <a:lnTo>
                    <a:pt x="158" y="156"/>
                  </a:lnTo>
                  <a:lnTo>
                    <a:pt x="158" y="156"/>
                  </a:lnTo>
                  <a:lnTo>
                    <a:pt x="136" y="164"/>
                  </a:lnTo>
                  <a:lnTo>
                    <a:pt x="136" y="164"/>
                  </a:lnTo>
                  <a:lnTo>
                    <a:pt x="138" y="156"/>
                  </a:lnTo>
                  <a:lnTo>
                    <a:pt x="138" y="148"/>
                  </a:lnTo>
                  <a:lnTo>
                    <a:pt x="138" y="148"/>
                  </a:lnTo>
                  <a:lnTo>
                    <a:pt x="130" y="144"/>
                  </a:lnTo>
                  <a:lnTo>
                    <a:pt x="124" y="146"/>
                  </a:lnTo>
                  <a:lnTo>
                    <a:pt x="126" y="142"/>
                  </a:lnTo>
                  <a:lnTo>
                    <a:pt x="126" y="142"/>
                  </a:lnTo>
                  <a:lnTo>
                    <a:pt x="128" y="140"/>
                  </a:lnTo>
                  <a:lnTo>
                    <a:pt x="138" y="136"/>
                  </a:lnTo>
                  <a:lnTo>
                    <a:pt x="138" y="136"/>
                  </a:lnTo>
                  <a:lnTo>
                    <a:pt x="140" y="136"/>
                  </a:lnTo>
                  <a:lnTo>
                    <a:pt x="142" y="136"/>
                  </a:lnTo>
                  <a:lnTo>
                    <a:pt x="142" y="136"/>
                  </a:lnTo>
                  <a:lnTo>
                    <a:pt x="142" y="134"/>
                  </a:lnTo>
                  <a:lnTo>
                    <a:pt x="142" y="134"/>
                  </a:lnTo>
                  <a:lnTo>
                    <a:pt x="140" y="130"/>
                  </a:lnTo>
                  <a:lnTo>
                    <a:pt x="140" y="130"/>
                  </a:lnTo>
                  <a:lnTo>
                    <a:pt x="138" y="130"/>
                  </a:lnTo>
                  <a:lnTo>
                    <a:pt x="136" y="130"/>
                  </a:lnTo>
                  <a:lnTo>
                    <a:pt x="136" y="128"/>
                  </a:lnTo>
                  <a:lnTo>
                    <a:pt x="136" y="128"/>
                  </a:lnTo>
                  <a:lnTo>
                    <a:pt x="128" y="128"/>
                  </a:lnTo>
                  <a:lnTo>
                    <a:pt x="128" y="128"/>
                  </a:lnTo>
                  <a:lnTo>
                    <a:pt x="128" y="130"/>
                  </a:lnTo>
                  <a:lnTo>
                    <a:pt x="126" y="132"/>
                  </a:lnTo>
                  <a:lnTo>
                    <a:pt x="124" y="132"/>
                  </a:lnTo>
                  <a:lnTo>
                    <a:pt x="124" y="132"/>
                  </a:lnTo>
                  <a:lnTo>
                    <a:pt x="122" y="128"/>
                  </a:lnTo>
                  <a:lnTo>
                    <a:pt x="122" y="128"/>
                  </a:lnTo>
                  <a:lnTo>
                    <a:pt x="118" y="128"/>
                  </a:lnTo>
                  <a:lnTo>
                    <a:pt x="118" y="126"/>
                  </a:lnTo>
                  <a:lnTo>
                    <a:pt x="118" y="126"/>
                  </a:lnTo>
                  <a:lnTo>
                    <a:pt x="112" y="126"/>
                  </a:lnTo>
                  <a:lnTo>
                    <a:pt x="114" y="124"/>
                  </a:lnTo>
                  <a:lnTo>
                    <a:pt x="114" y="124"/>
                  </a:lnTo>
                  <a:lnTo>
                    <a:pt x="120" y="124"/>
                  </a:lnTo>
                  <a:lnTo>
                    <a:pt x="120" y="124"/>
                  </a:lnTo>
                  <a:lnTo>
                    <a:pt x="120" y="122"/>
                  </a:lnTo>
                  <a:lnTo>
                    <a:pt x="120" y="122"/>
                  </a:lnTo>
                  <a:lnTo>
                    <a:pt x="118" y="122"/>
                  </a:lnTo>
                  <a:lnTo>
                    <a:pt x="118" y="122"/>
                  </a:lnTo>
                  <a:lnTo>
                    <a:pt x="116" y="118"/>
                  </a:lnTo>
                  <a:lnTo>
                    <a:pt x="116" y="118"/>
                  </a:lnTo>
                  <a:lnTo>
                    <a:pt x="114" y="118"/>
                  </a:lnTo>
                  <a:lnTo>
                    <a:pt x="114" y="120"/>
                  </a:lnTo>
                  <a:lnTo>
                    <a:pt x="114" y="120"/>
                  </a:lnTo>
                  <a:lnTo>
                    <a:pt x="104" y="120"/>
                  </a:lnTo>
                  <a:lnTo>
                    <a:pt x="102" y="122"/>
                  </a:lnTo>
                  <a:lnTo>
                    <a:pt x="100" y="122"/>
                  </a:lnTo>
                  <a:lnTo>
                    <a:pt x="100" y="122"/>
                  </a:lnTo>
                  <a:lnTo>
                    <a:pt x="96" y="128"/>
                  </a:lnTo>
                  <a:lnTo>
                    <a:pt x="88" y="116"/>
                  </a:lnTo>
                  <a:lnTo>
                    <a:pt x="88" y="116"/>
                  </a:lnTo>
                  <a:lnTo>
                    <a:pt x="86" y="114"/>
                  </a:lnTo>
                  <a:lnTo>
                    <a:pt x="84" y="112"/>
                  </a:lnTo>
                  <a:lnTo>
                    <a:pt x="84" y="108"/>
                  </a:lnTo>
                  <a:lnTo>
                    <a:pt x="84" y="108"/>
                  </a:lnTo>
                  <a:lnTo>
                    <a:pt x="84" y="104"/>
                  </a:lnTo>
                  <a:lnTo>
                    <a:pt x="82" y="100"/>
                  </a:lnTo>
                  <a:lnTo>
                    <a:pt x="82" y="100"/>
                  </a:lnTo>
                  <a:lnTo>
                    <a:pt x="80" y="98"/>
                  </a:lnTo>
                  <a:lnTo>
                    <a:pt x="80" y="94"/>
                  </a:lnTo>
                  <a:lnTo>
                    <a:pt x="80" y="94"/>
                  </a:lnTo>
                  <a:lnTo>
                    <a:pt x="78" y="88"/>
                  </a:lnTo>
                  <a:lnTo>
                    <a:pt x="74" y="84"/>
                  </a:lnTo>
                  <a:lnTo>
                    <a:pt x="74" y="84"/>
                  </a:lnTo>
                  <a:lnTo>
                    <a:pt x="68" y="80"/>
                  </a:lnTo>
                  <a:lnTo>
                    <a:pt x="68" y="80"/>
                  </a:lnTo>
                  <a:lnTo>
                    <a:pt x="62" y="76"/>
                  </a:lnTo>
                  <a:lnTo>
                    <a:pt x="62" y="76"/>
                  </a:lnTo>
                  <a:lnTo>
                    <a:pt x="58" y="74"/>
                  </a:lnTo>
                  <a:lnTo>
                    <a:pt x="54" y="76"/>
                  </a:lnTo>
                  <a:lnTo>
                    <a:pt x="54" y="76"/>
                  </a:lnTo>
                  <a:lnTo>
                    <a:pt x="50" y="76"/>
                  </a:lnTo>
                  <a:lnTo>
                    <a:pt x="46" y="78"/>
                  </a:lnTo>
                  <a:lnTo>
                    <a:pt x="46" y="80"/>
                  </a:lnTo>
                  <a:lnTo>
                    <a:pt x="46" y="80"/>
                  </a:lnTo>
                  <a:lnTo>
                    <a:pt x="44" y="80"/>
                  </a:lnTo>
                  <a:lnTo>
                    <a:pt x="40" y="84"/>
                  </a:lnTo>
                  <a:lnTo>
                    <a:pt x="40" y="84"/>
                  </a:lnTo>
                  <a:lnTo>
                    <a:pt x="38" y="86"/>
                  </a:lnTo>
                  <a:lnTo>
                    <a:pt x="34" y="88"/>
                  </a:lnTo>
                  <a:lnTo>
                    <a:pt x="34" y="88"/>
                  </a:lnTo>
                  <a:lnTo>
                    <a:pt x="32" y="88"/>
                  </a:lnTo>
                  <a:lnTo>
                    <a:pt x="32" y="90"/>
                  </a:lnTo>
                  <a:lnTo>
                    <a:pt x="28" y="92"/>
                  </a:lnTo>
                  <a:lnTo>
                    <a:pt x="28" y="92"/>
                  </a:lnTo>
                  <a:lnTo>
                    <a:pt x="24" y="94"/>
                  </a:lnTo>
                  <a:lnTo>
                    <a:pt x="22" y="90"/>
                  </a:lnTo>
                  <a:lnTo>
                    <a:pt x="22" y="90"/>
                  </a:lnTo>
                  <a:lnTo>
                    <a:pt x="18" y="88"/>
                  </a:lnTo>
                  <a:lnTo>
                    <a:pt x="14" y="88"/>
                  </a:lnTo>
                  <a:lnTo>
                    <a:pt x="14" y="88"/>
                  </a:lnTo>
                  <a:lnTo>
                    <a:pt x="8" y="88"/>
                  </a:lnTo>
                  <a:lnTo>
                    <a:pt x="4" y="86"/>
                  </a:lnTo>
                  <a:lnTo>
                    <a:pt x="4" y="86"/>
                  </a:lnTo>
                  <a:lnTo>
                    <a:pt x="2" y="82"/>
                  </a:lnTo>
                  <a:lnTo>
                    <a:pt x="0" y="82"/>
                  </a:lnTo>
                  <a:lnTo>
                    <a:pt x="2" y="76"/>
                  </a:lnTo>
                  <a:lnTo>
                    <a:pt x="6" y="74"/>
                  </a:lnTo>
                  <a:lnTo>
                    <a:pt x="6" y="74"/>
                  </a:lnTo>
                  <a:lnTo>
                    <a:pt x="10" y="72"/>
                  </a:lnTo>
                  <a:lnTo>
                    <a:pt x="14" y="70"/>
                  </a:lnTo>
                  <a:lnTo>
                    <a:pt x="14" y="68"/>
                  </a:lnTo>
                  <a:lnTo>
                    <a:pt x="14" y="68"/>
                  </a:lnTo>
                  <a:lnTo>
                    <a:pt x="12" y="64"/>
                  </a:lnTo>
                  <a:lnTo>
                    <a:pt x="12" y="60"/>
                  </a:lnTo>
                  <a:lnTo>
                    <a:pt x="12" y="58"/>
                  </a:lnTo>
                  <a:lnTo>
                    <a:pt x="12" y="58"/>
                  </a:lnTo>
                  <a:lnTo>
                    <a:pt x="16" y="50"/>
                  </a:lnTo>
                  <a:lnTo>
                    <a:pt x="16" y="50"/>
                  </a:lnTo>
                  <a:lnTo>
                    <a:pt x="20" y="42"/>
                  </a:lnTo>
                  <a:lnTo>
                    <a:pt x="20" y="42"/>
                  </a:lnTo>
                  <a:lnTo>
                    <a:pt x="18" y="38"/>
                  </a:lnTo>
                  <a:lnTo>
                    <a:pt x="16" y="34"/>
                  </a:lnTo>
                  <a:lnTo>
                    <a:pt x="16" y="32"/>
                  </a:lnTo>
                  <a:lnTo>
                    <a:pt x="16" y="32"/>
                  </a:lnTo>
                  <a:lnTo>
                    <a:pt x="16" y="28"/>
                  </a:lnTo>
                  <a:lnTo>
                    <a:pt x="18" y="22"/>
                  </a:lnTo>
                  <a:lnTo>
                    <a:pt x="18" y="22"/>
                  </a:lnTo>
                  <a:lnTo>
                    <a:pt x="18" y="20"/>
                  </a:lnTo>
                  <a:lnTo>
                    <a:pt x="18" y="20"/>
                  </a:lnTo>
                  <a:lnTo>
                    <a:pt x="18" y="18"/>
                  </a:lnTo>
                  <a:lnTo>
                    <a:pt x="18" y="18"/>
                  </a:lnTo>
                  <a:lnTo>
                    <a:pt x="18" y="18"/>
                  </a:lnTo>
                  <a:lnTo>
                    <a:pt x="16" y="12"/>
                  </a:lnTo>
                  <a:lnTo>
                    <a:pt x="16" y="10"/>
                  </a:lnTo>
                  <a:lnTo>
                    <a:pt x="18" y="8"/>
                  </a:lnTo>
                  <a:lnTo>
                    <a:pt x="18" y="8"/>
                  </a:lnTo>
                  <a:lnTo>
                    <a:pt x="20" y="6"/>
                  </a:lnTo>
                  <a:lnTo>
                    <a:pt x="22" y="6"/>
                  </a:lnTo>
                  <a:lnTo>
                    <a:pt x="24" y="10"/>
                  </a:lnTo>
                  <a:lnTo>
                    <a:pt x="24" y="10"/>
                  </a:lnTo>
                  <a:lnTo>
                    <a:pt x="26" y="12"/>
                  </a:lnTo>
                  <a:lnTo>
                    <a:pt x="28" y="10"/>
                  </a:lnTo>
                  <a:lnTo>
                    <a:pt x="30" y="6"/>
                  </a:lnTo>
                  <a:lnTo>
                    <a:pt x="30" y="6"/>
                  </a:lnTo>
                  <a:lnTo>
                    <a:pt x="40" y="6"/>
                  </a:lnTo>
                  <a:lnTo>
                    <a:pt x="40" y="6"/>
                  </a:lnTo>
                  <a:lnTo>
                    <a:pt x="54" y="8"/>
                  </a:lnTo>
                  <a:lnTo>
                    <a:pt x="54" y="8"/>
                  </a:lnTo>
                  <a:lnTo>
                    <a:pt x="60" y="10"/>
                  </a:lnTo>
                  <a:lnTo>
                    <a:pt x="66" y="8"/>
                  </a:lnTo>
                  <a:lnTo>
                    <a:pt x="66" y="8"/>
                  </a:lnTo>
                  <a:lnTo>
                    <a:pt x="70" y="8"/>
                  </a:lnTo>
                  <a:lnTo>
                    <a:pt x="72" y="12"/>
                  </a:lnTo>
                  <a:lnTo>
                    <a:pt x="72" y="12"/>
                  </a:lnTo>
                  <a:lnTo>
                    <a:pt x="74" y="8"/>
                  </a:lnTo>
                  <a:lnTo>
                    <a:pt x="74" y="8"/>
                  </a:lnTo>
                  <a:lnTo>
                    <a:pt x="76" y="10"/>
                  </a:lnTo>
                  <a:lnTo>
                    <a:pt x="78" y="10"/>
                  </a:lnTo>
                  <a:lnTo>
                    <a:pt x="80" y="10"/>
                  </a:lnTo>
                  <a:lnTo>
                    <a:pt x="80" y="10"/>
                  </a:lnTo>
                  <a:lnTo>
                    <a:pt x="82" y="8"/>
                  </a:lnTo>
                  <a:lnTo>
                    <a:pt x="86" y="10"/>
                  </a:lnTo>
                  <a:lnTo>
                    <a:pt x="86" y="10"/>
                  </a:lnTo>
                  <a:lnTo>
                    <a:pt x="92" y="10"/>
                  </a:lnTo>
                  <a:lnTo>
                    <a:pt x="98" y="10"/>
                  </a:lnTo>
                  <a:lnTo>
                    <a:pt x="98" y="10"/>
                  </a:lnTo>
                  <a:lnTo>
                    <a:pt x="100" y="10"/>
                  </a:lnTo>
                  <a:lnTo>
                    <a:pt x="102" y="6"/>
                  </a:lnTo>
                  <a:lnTo>
                    <a:pt x="102" y="6"/>
                  </a:lnTo>
                  <a:lnTo>
                    <a:pt x="102" y="2"/>
                  </a:lnTo>
                  <a:lnTo>
                    <a:pt x="104" y="0"/>
                  </a:lnTo>
                  <a:lnTo>
                    <a:pt x="104" y="0"/>
                  </a:lnTo>
                  <a:lnTo>
                    <a:pt x="110" y="0"/>
                  </a:lnTo>
                  <a:lnTo>
                    <a:pt x="110" y="0"/>
                  </a:lnTo>
                  <a:lnTo>
                    <a:pt x="112" y="4"/>
                  </a:lnTo>
                  <a:lnTo>
                    <a:pt x="116" y="4"/>
                  </a:lnTo>
                  <a:lnTo>
                    <a:pt x="118" y="2"/>
                  </a:lnTo>
                  <a:lnTo>
                    <a:pt x="118" y="2"/>
                  </a:lnTo>
                  <a:lnTo>
                    <a:pt x="120" y="0"/>
                  </a:lnTo>
                  <a:lnTo>
                    <a:pt x="120" y="0"/>
                  </a:lnTo>
                  <a:lnTo>
                    <a:pt x="124" y="2"/>
                  </a:lnTo>
                  <a:lnTo>
                    <a:pt x="124" y="2"/>
                  </a:lnTo>
                  <a:lnTo>
                    <a:pt x="128" y="2"/>
                  </a:lnTo>
                  <a:lnTo>
                    <a:pt x="130" y="2"/>
                  </a:lnTo>
                  <a:lnTo>
                    <a:pt x="130" y="4"/>
                  </a:lnTo>
                  <a:lnTo>
                    <a:pt x="130" y="4"/>
                  </a:lnTo>
                  <a:lnTo>
                    <a:pt x="132" y="8"/>
                  </a:lnTo>
                  <a:lnTo>
                    <a:pt x="132" y="10"/>
                  </a:lnTo>
                  <a:lnTo>
                    <a:pt x="132" y="10"/>
                  </a:lnTo>
                  <a:lnTo>
                    <a:pt x="134" y="14"/>
                  </a:lnTo>
                  <a:lnTo>
                    <a:pt x="134" y="16"/>
                  </a:lnTo>
                  <a:lnTo>
                    <a:pt x="136" y="16"/>
                  </a:lnTo>
                  <a:lnTo>
                    <a:pt x="136" y="16"/>
                  </a:lnTo>
                  <a:lnTo>
                    <a:pt x="136" y="18"/>
                  </a:lnTo>
                  <a:lnTo>
                    <a:pt x="136" y="20"/>
                  </a:lnTo>
                  <a:lnTo>
                    <a:pt x="138" y="22"/>
                  </a:lnTo>
                  <a:lnTo>
                    <a:pt x="140" y="22"/>
                  </a:lnTo>
                  <a:lnTo>
                    <a:pt x="140" y="22"/>
                  </a:lnTo>
                  <a:lnTo>
                    <a:pt x="144" y="22"/>
                  </a:lnTo>
                  <a:lnTo>
                    <a:pt x="148" y="22"/>
                  </a:lnTo>
                  <a:lnTo>
                    <a:pt x="148" y="22"/>
                  </a:lnTo>
                  <a:lnTo>
                    <a:pt x="154" y="26"/>
                  </a:lnTo>
                  <a:lnTo>
                    <a:pt x="158" y="24"/>
                  </a:lnTo>
                  <a:lnTo>
                    <a:pt x="158" y="24"/>
                  </a:lnTo>
                  <a:lnTo>
                    <a:pt x="160" y="24"/>
                  </a:lnTo>
                  <a:lnTo>
                    <a:pt x="160" y="26"/>
                  </a:lnTo>
                  <a:lnTo>
                    <a:pt x="162" y="30"/>
                  </a:lnTo>
                  <a:lnTo>
                    <a:pt x="162" y="30"/>
                  </a:lnTo>
                  <a:lnTo>
                    <a:pt x="168" y="32"/>
                  </a:lnTo>
                  <a:lnTo>
                    <a:pt x="168" y="32"/>
                  </a:lnTo>
                  <a:lnTo>
                    <a:pt x="170" y="34"/>
                  </a:lnTo>
                  <a:lnTo>
                    <a:pt x="170" y="38"/>
                  </a:lnTo>
                  <a:lnTo>
                    <a:pt x="172" y="42"/>
                  </a:lnTo>
                  <a:lnTo>
                    <a:pt x="172" y="42"/>
                  </a:lnTo>
                  <a:lnTo>
                    <a:pt x="180" y="38"/>
                  </a:lnTo>
                  <a:lnTo>
                    <a:pt x="180" y="38"/>
                  </a:lnTo>
                  <a:lnTo>
                    <a:pt x="184" y="36"/>
                  </a:lnTo>
                  <a:lnTo>
                    <a:pt x="184" y="36"/>
                  </a:lnTo>
                  <a:lnTo>
                    <a:pt x="188" y="36"/>
                  </a:lnTo>
                  <a:lnTo>
                    <a:pt x="192" y="38"/>
                  </a:lnTo>
                  <a:lnTo>
                    <a:pt x="192" y="38"/>
                  </a:lnTo>
                  <a:lnTo>
                    <a:pt x="192" y="40"/>
                  </a:lnTo>
                  <a:lnTo>
                    <a:pt x="194" y="42"/>
                  </a:lnTo>
                  <a:lnTo>
                    <a:pt x="194" y="42"/>
                  </a:lnTo>
                  <a:lnTo>
                    <a:pt x="198" y="44"/>
                  </a:lnTo>
                  <a:lnTo>
                    <a:pt x="202" y="46"/>
                  </a:lnTo>
                  <a:lnTo>
                    <a:pt x="202" y="46"/>
                  </a:lnTo>
                  <a:lnTo>
                    <a:pt x="220" y="52"/>
                  </a:lnTo>
                  <a:lnTo>
                    <a:pt x="220" y="52"/>
                  </a:lnTo>
                  <a:lnTo>
                    <a:pt x="222" y="56"/>
                  </a:lnTo>
                  <a:lnTo>
                    <a:pt x="220" y="58"/>
                  </a:lnTo>
                  <a:lnTo>
                    <a:pt x="220" y="58"/>
                  </a:lnTo>
                  <a:lnTo>
                    <a:pt x="220" y="60"/>
                  </a:lnTo>
                  <a:lnTo>
                    <a:pt x="220" y="60"/>
                  </a:lnTo>
                  <a:lnTo>
                    <a:pt x="224" y="62"/>
                  </a:lnTo>
                  <a:lnTo>
                    <a:pt x="226" y="62"/>
                  </a:lnTo>
                  <a:lnTo>
                    <a:pt x="226" y="64"/>
                  </a:lnTo>
                  <a:lnTo>
                    <a:pt x="226" y="64"/>
                  </a:lnTo>
                  <a:lnTo>
                    <a:pt x="224" y="68"/>
                  </a:lnTo>
                  <a:lnTo>
                    <a:pt x="222" y="68"/>
                  </a:lnTo>
                  <a:lnTo>
                    <a:pt x="224" y="70"/>
                  </a:lnTo>
                  <a:lnTo>
                    <a:pt x="224" y="70"/>
                  </a:lnTo>
                  <a:lnTo>
                    <a:pt x="226" y="72"/>
                  </a:lnTo>
                  <a:lnTo>
                    <a:pt x="226" y="74"/>
                  </a:lnTo>
                  <a:lnTo>
                    <a:pt x="226" y="76"/>
                  </a:lnTo>
                  <a:lnTo>
                    <a:pt x="226" y="80"/>
                  </a:lnTo>
                  <a:lnTo>
                    <a:pt x="226" y="80"/>
                  </a:lnTo>
                  <a:lnTo>
                    <a:pt x="228" y="82"/>
                  </a:lnTo>
                  <a:lnTo>
                    <a:pt x="228" y="86"/>
                  </a:lnTo>
                  <a:lnTo>
                    <a:pt x="228" y="86"/>
                  </a:lnTo>
                  <a:lnTo>
                    <a:pt x="226" y="96"/>
                  </a:lnTo>
                  <a:lnTo>
                    <a:pt x="226" y="96"/>
                  </a:lnTo>
                  <a:lnTo>
                    <a:pt x="224" y="98"/>
                  </a:lnTo>
                  <a:lnTo>
                    <a:pt x="220" y="98"/>
                  </a:lnTo>
                  <a:lnTo>
                    <a:pt x="214" y="100"/>
                  </a:lnTo>
                  <a:lnTo>
                    <a:pt x="212" y="104"/>
                  </a:lnTo>
                  <a:lnTo>
                    <a:pt x="210" y="108"/>
                  </a:lnTo>
                  <a:close/>
                  <a:moveTo>
                    <a:pt x="96" y="128"/>
                  </a:moveTo>
                  <a:lnTo>
                    <a:pt x="96" y="128"/>
                  </a:lnTo>
                  <a:lnTo>
                    <a:pt x="94" y="126"/>
                  </a:lnTo>
                  <a:lnTo>
                    <a:pt x="88" y="124"/>
                  </a:lnTo>
                  <a:lnTo>
                    <a:pt x="88" y="124"/>
                  </a:lnTo>
                  <a:lnTo>
                    <a:pt x="84" y="122"/>
                  </a:lnTo>
                  <a:lnTo>
                    <a:pt x="82" y="122"/>
                  </a:lnTo>
                  <a:lnTo>
                    <a:pt x="82" y="122"/>
                  </a:lnTo>
                  <a:lnTo>
                    <a:pt x="82" y="122"/>
                  </a:lnTo>
                  <a:lnTo>
                    <a:pt x="80" y="124"/>
                  </a:lnTo>
                  <a:lnTo>
                    <a:pt x="78" y="126"/>
                  </a:lnTo>
                  <a:lnTo>
                    <a:pt x="76" y="130"/>
                  </a:lnTo>
                  <a:lnTo>
                    <a:pt x="76" y="130"/>
                  </a:lnTo>
                  <a:lnTo>
                    <a:pt x="74" y="136"/>
                  </a:lnTo>
                  <a:lnTo>
                    <a:pt x="70" y="138"/>
                  </a:lnTo>
                  <a:lnTo>
                    <a:pt x="74" y="140"/>
                  </a:lnTo>
                  <a:lnTo>
                    <a:pt x="74" y="140"/>
                  </a:lnTo>
                  <a:lnTo>
                    <a:pt x="76" y="142"/>
                  </a:lnTo>
                  <a:lnTo>
                    <a:pt x="78" y="142"/>
                  </a:lnTo>
                  <a:lnTo>
                    <a:pt x="78" y="140"/>
                  </a:lnTo>
                  <a:lnTo>
                    <a:pt x="78" y="140"/>
                  </a:lnTo>
                  <a:lnTo>
                    <a:pt x="80" y="140"/>
                  </a:lnTo>
                  <a:lnTo>
                    <a:pt x="84" y="140"/>
                  </a:lnTo>
                  <a:lnTo>
                    <a:pt x="86" y="142"/>
                  </a:lnTo>
                  <a:lnTo>
                    <a:pt x="86" y="142"/>
                  </a:lnTo>
                  <a:lnTo>
                    <a:pt x="86" y="138"/>
                  </a:lnTo>
                  <a:lnTo>
                    <a:pt x="86" y="138"/>
                  </a:lnTo>
                  <a:lnTo>
                    <a:pt x="90" y="136"/>
                  </a:lnTo>
                  <a:lnTo>
                    <a:pt x="94" y="132"/>
                  </a:lnTo>
                  <a:lnTo>
                    <a:pt x="94" y="132"/>
                  </a:lnTo>
                  <a:lnTo>
                    <a:pt x="96" y="128"/>
                  </a:lnTo>
                  <a:lnTo>
                    <a:pt x="96" y="12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09" name="Freeform 24"/>
            <p:cNvSpPr>
              <a:spLocks noChangeAspect="1"/>
            </p:cNvSpPr>
            <p:nvPr/>
          </p:nvSpPr>
          <p:spPr bwMode="gray">
            <a:xfrm>
              <a:off x="5482589" y="3207043"/>
              <a:ext cx="323021" cy="223716"/>
            </a:xfrm>
            <a:custGeom>
              <a:avLst/>
              <a:gdLst/>
              <a:ahLst/>
              <a:cxnLst>
                <a:cxn ang="0">
                  <a:pos x="4" y="22"/>
                </a:cxn>
                <a:cxn ang="0">
                  <a:pos x="6" y="22"/>
                </a:cxn>
                <a:cxn ang="0">
                  <a:pos x="4" y="18"/>
                </a:cxn>
                <a:cxn ang="0">
                  <a:pos x="10" y="12"/>
                </a:cxn>
                <a:cxn ang="0">
                  <a:pos x="20" y="14"/>
                </a:cxn>
                <a:cxn ang="0">
                  <a:pos x="26" y="26"/>
                </a:cxn>
                <a:cxn ang="0">
                  <a:pos x="30" y="32"/>
                </a:cxn>
                <a:cxn ang="0">
                  <a:pos x="24" y="36"/>
                </a:cxn>
                <a:cxn ang="0">
                  <a:pos x="24" y="38"/>
                </a:cxn>
                <a:cxn ang="0">
                  <a:pos x="24" y="40"/>
                </a:cxn>
                <a:cxn ang="0">
                  <a:pos x="10" y="38"/>
                </a:cxn>
                <a:cxn ang="0">
                  <a:pos x="6" y="32"/>
                </a:cxn>
                <a:cxn ang="0">
                  <a:pos x="6" y="38"/>
                </a:cxn>
                <a:cxn ang="0">
                  <a:pos x="2" y="52"/>
                </a:cxn>
                <a:cxn ang="0">
                  <a:pos x="4" y="54"/>
                </a:cxn>
                <a:cxn ang="0">
                  <a:pos x="8" y="52"/>
                </a:cxn>
                <a:cxn ang="0">
                  <a:pos x="16" y="50"/>
                </a:cxn>
                <a:cxn ang="0">
                  <a:pos x="16" y="52"/>
                </a:cxn>
                <a:cxn ang="0">
                  <a:pos x="12" y="56"/>
                </a:cxn>
                <a:cxn ang="0">
                  <a:pos x="16" y="66"/>
                </a:cxn>
                <a:cxn ang="0">
                  <a:pos x="22" y="74"/>
                </a:cxn>
                <a:cxn ang="0">
                  <a:pos x="20" y="80"/>
                </a:cxn>
                <a:cxn ang="0">
                  <a:pos x="18" y="88"/>
                </a:cxn>
                <a:cxn ang="0">
                  <a:pos x="20" y="100"/>
                </a:cxn>
                <a:cxn ang="0">
                  <a:pos x="32" y="92"/>
                </a:cxn>
                <a:cxn ang="0">
                  <a:pos x="46" y="86"/>
                </a:cxn>
                <a:cxn ang="0">
                  <a:pos x="74" y="86"/>
                </a:cxn>
                <a:cxn ang="0">
                  <a:pos x="96" y="92"/>
                </a:cxn>
                <a:cxn ang="0">
                  <a:pos x="116" y="104"/>
                </a:cxn>
                <a:cxn ang="0">
                  <a:pos x="130" y="116"/>
                </a:cxn>
                <a:cxn ang="0">
                  <a:pos x="128" y="134"/>
                </a:cxn>
                <a:cxn ang="0">
                  <a:pos x="142" y="136"/>
                </a:cxn>
                <a:cxn ang="0">
                  <a:pos x="160" y="116"/>
                </a:cxn>
                <a:cxn ang="0">
                  <a:pos x="164" y="100"/>
                </a:cxn>
                <a:cxn ang="0">
                  <a:pos x="176" y="100"/>
                </a:cxn>
                <a:cxn ang="0">
                  <a:pos x="182" y="90"/>
                </a:cxn>
                <a:cxn ang="0">
                  <a:pos x="182" y="84"/>
                </a:cxn>
                <a:cxn ang="0">
                  <a:pos x="168" y="76"/>
                </a:cxn>
                <a:cxn ang="0">
                  <a:pos x="150" y="66"/>
                </a:cxn>
                <a:cxn ang="0">
                  <a:pos x="138" y="52"/>
                </a:cxn>
                <a:cxn ang="0">
                  <a:pos x="130" y="38"/>
                </a:cxn>
                <a:cxn ang="0">
                  <a:pos x="112" y="30"/>
                </a:cxn>
                <a:cxn ang="0">
                  <a:pos x="96" y="34"/>
                </a:cxn>
                <a:cxn ang="0">
                  <a:pos x="96" y="22"/>
                </a:cxn>
                <a:cxn ang="0">
                  <a:pos x="84" y="2"/>
                </a:cxn>
                <a:cxn ang="0">
                  <a:pos x="72" y="4"/>
                </a:cxn>
                <a:cxn ang="0">
                  <a:pos x="60" y="10"/>
                </a:cxn>
                <a:cxn ang="0">
                  <a:pos x="62" y="22"/>
                </a:cxn>
                <a:cxn ang="0">
                  <a:pos x="44" y="20"/>
                </a:cxn>
                <a:cxn ang="0">
                  <a:pos x="30" y="12"/>
                </a:cxn>
                <a:cxn ang="0">
                  <a:pos x="18" y="6"/>
                </a:cxn>
                <a:cxn ang="0">
                  <a:pos x="4" y="8"/>
                </a:cxn>
                <a:cxn ang="0">
                  <a:pos x="2" y="16"/>
                </a:cxn>
                <a:cxn ang="0">
                  <a:pos x="0" y="18"/>
                </a:cxn>
              </a:cxnLst>
              <a:rect l="0" t="0" r="r" b="b"/>
              <a:pathLst>
                <a:path w="190" h="136">
                  <a:moveTo>
                    <a:pt x="0" y="18"/>
                  </a:moveTo>
                  <a:lnTo>
                    <a:pt x="0" y="18"/>
                  </a:lnTo>
                  <a:lnTo>
                    <a:pt x="4" y="22"/>
                  </a:lnTo>
                  <a:lnTo>
                    <a:pt x="4" y="22"/>
                  </a:lnTo>
                  <a:lnTo>
                    <a:pt x="6" y="22"/>
                  </a:lnTo>
                  <a:lnTo>
                    <a:pt x="6" y="22"/>
                  </a:lnTo>
                  <a:lnTo>
                    <a:pt x="6" y="20"/>
                  </a:lnTo>
                  <a:lnTo>
                    <a:pt x="4" y="18"/>
                  </a:lnTo>
                  <a:lnTo>
                    <a:pt x="4" y="18"/>
                  </a:lnTo>
                  <a:lnTo>
                    <a:pt x="8" y="16"/>
                  </a:lnTo>
                  <a:lnTo>
                    <a:pt x="8" y="16"/>
                  </a:lnTo>
                  <a:lnTo>
                    <a:pt x="10" y="12"/>
                  </a:lnTo>
                  <a:lnTo>
                    <a:pt x="10" y="12"/>
                  </a:lnTo>
                  <a:lnTo>
                    <a:pt x="20" y="14"/>
                  </a:lnTo>
                  <a:lnTo>
                    <a:pt x="20" y="14"/>
                  </a:lnTo>
                  <a:lnTo>
                    <a:pt x="20" y="20"/>
                  </a:lnTo>
                  <a:lnTo>
                    <a:pt x="20" y="20"/>
                  </a:lnTo>
                  <a:lnTo>
                    <a:pt x="26" y="26"/>
                  </a:lnTo>
                  <a:lnTo>
                    <a:pt x="30" y="30"/>
                  </a:lnTo>
                  <a:lnTo>
                    <a:pt x="30" y="30"/>
                  </a:lnTo>
                  <a:lnTo>
                    <a:pt x="30" y="32"/>
                  </a:lnTo>
                  <a:lnTo>
                    <a:pt x="28" y="36"/>
                  </a:lnTo>
                  <a:lnTo>
                    <a:pt x="28" y="36"/>
                  </a:lnTo>
                  <a:lnTo>
                    <a:pt x="24" y="36"/>
                  </a:lnTo>
                  <a:lnTo>
                    <a:pt x="24" y="36"/>
                  </a:lnTo>
                  <a:lnTo>
                    <a:pt x="24" y="36"/>
                  </a:lnTo>
                  <a:lnTo>
                    <a:pt x="24" y="38"/>
                  </a:lnTo>
                  <a:lnTo>
                    <a:pt x="24" y="38"/>
                  </a:lnTo>
                  <a:lnTo>
                    <a:pt x="24" y="38"/>
                  </a:lnTo>
                  <a:lnTo>
                    <a:pt x="24" y="40"/>
                  </a:lnTo>
                  <a:lnTo>
                    <a:pt x="24" y="40"/>
                  </a:lnTo>
                  <a:lnTo>
                    <a:pt x="10" y="38"/>
                  </a:lnTo>
                  <a:lnTo>
                    <a:pt x="10" y="38"/>
                  </a:lnTo>
                  <a:lnTo>
                    <a:pt x="8" y="32"/>
                  </a:lnTo>
                  <a:lnTo>
                    <a:pt x="8" y="32"/>
                  </a:lnTo>
                  <a:lnTo>
                    <a:pt x="6" y="32"/>
                  </a:lnTo>
                  <a:lnTo>
                    <a:pt x="6" y="32"/>
                  </a:lnTo>
                  <a:lnTo>
                    <a:pt x="6" y="38"/>
                  </a:lnTo>
                  <a:lnTo>
                    <a:pt x="6" y="38"/>
                  </a:lnTo>
                  <a:lnTo>
                    <a:pt x="4" y="46"/>
                  </a:lnTo>
                  <a:lnTo>
                    <a:pt x="2" y="52"/>
                  </a:lnTo>
                  <a:lnTo>
                    <a:pt x="2" y="52"/>
                  </a:lnTo>
                  <a:lnTo>
                    <a:pt x="2" y="54"/>
                  </a:lnTo>
                  <a:lnTo>
                    <a:pt x="2" y="54"/>
                  </a:lnTo>
                  <a:lnTo>
                    <a:pt x="4" y="54"/>
                  </a:lnTo>
                  <a:lnTo>
                    <a:pt x="6" y="54"/>
                  </a:lnTo>
                  <a:lnTo>
                    <a:pt x="6" y="54"/>
                  </a:lnTo>
                  <a:lnTo>
                    <a:pt x="8" y="52"/>
                  </a:lnTo>
                  <a:lnTo>
                    <a:pt x="10" y="50"/>
                  </a:lnTo>
                  <a:lnTo>
                    <a:pt x="10" y="50"/>
                  </a:lnTo>
                  <a:lnTo>
                    <a:pt x="16" y="50"/>
                  </a:lnTo>
                  <a:lnTo>
                    <a:pt x="20" y="52"/>
                  </a:lnTo>
                  <a:lnTo>
                    <a:pt x="20" y="52"/>
                  </a:lnTo>
                  <a:lnTo>
                    <a:pt x="16" y="52"/>
                  </a:lnTo>
                  <a:lnTo>
                    <a:pt x="12" y="52"/>
                  </a:lnTo>
                  <a:lnTo>
                    <a:pt x="12" y="52"/>
                  </a:lnTo>
                  <a:lnTo>
                    <a:pt x="12" y="56"/>
                  </a:lnTo>
                  <a:lnTo>
                    <a:pt x="12" y="56"/>
                  </a:lnTo>
                  <a:lnTo>
                    <a:pt x="16" y="60"/>
                  </a:lnTo>
                  <a:lnTo>
                    <a:pt x="16" y="66"/>
                  </a:lnTo>
                  <a:lnTo>
                    <a:pt x="16" y="66"/>
                  </a:lnTo>
                  <a:lnTo>
                    <a:pt x="20" y="70"/>
                  </a:lnTo>
                  <a:lnTo>
                    <a:pt x="22" y="74"/>
                  </a:lnTo>
                  <a:lnTo>
                    <a:pt x="22" y="78"/>
                  </a:lnTo>
                  <a:lnTo>
                    <a:pt x="22" y="78"/>
                  </a:lnTo>
                  <a:lnTo>
                    <a:pt x="20" y="80"/>
                  </a:lnTo>
                  <a:lnTo>
                    <a:pt x="18" y="80"/>
                  </a:lnTo>
                  <a:lnTo>
                    <a:pt x="18" y="80"/>
                  </a:lnTo>
                  <a:lnTo>
                    <a:pt x="18" y="88"/>
                  </a:lnTo>
                  <a:lnTo>
                    <a:pt x="18" y="94"/>
                  </a:lnTo>
                  <a:lnTo>
                    <a:pt x="18" y="94"/>
                  </a:lnTo>
                  <a:lnTo>
                    <a:pt x="20" y="100"/>
                  </a:lnTo>
                  <a:lnTo>
                    <a:pt x="28" y="100"/>
                  </a:lnTo>
                  <a:lnTo>
                    <a:pt x="32" y="94"/>
                  </a:lnTo>
                  <a:lnTo>
                    <a:pt x="32" y="92"/>
                  </a:lnTo>
                  <a:lnTo>
                    <a:pt x="34" y="88"/>
                  </a:lnTo>
                  <a:lnTo>
                    <a:pt x="38" y="86"/>
                  </a:lnTo>
                  <a:lnTo>
                    <a:pt x="46" y="86"/>
                  </a:lnTo>
                  <a:lnTo>
                    <a:pt x="52" y="84"/>
                  </a:lnTo>
                  <a:lnTo>
                    <a:pt x="58" y="82"/>
                  </a:lnTo>
                  <a:lnTo>
                    <a:pt x="74" y="86"/>
                  </a:lnTo>
                  <a:lnTo>
                    <a:pt x="82" y="86"/>
                  </a:lnTo>
                  <a:lnTo>
                    <a:pt x="86" y="88"/>
                  </a:lnTo>
                  <a:lnTo>
                    <a:pt x="96" y="92"/>
                  </a:lnTo>
                  <a:lnTo>
                    <a:pt x="104" y="96"/>
                  </a:lnTo>
                  <a:lnTo>
                    <a:pt x="112" y="102"/>
                  </a:lnTo>
                  <a:lnTo>
                    <a:pt x="116" y="104"/>
                  </a:lnTo>
                  <a:lnTo>
                    <a:pt x="118" y="108"/>
                  </a:lnTo>
                  <a:lnTo>
                    <a:pt x="122" y="114"/>
                  </a:lnTo>
                  <a:lnTo>
                    <a:pt x="130" y="116"/>
                  </a:lnTo>
                  <a:lnTo>
                    <a:pt x="130" y="122"/>
                  </a:lnTo>
                  <a:lnTo>
                    <a:pt x="130" y="128"/>
                  </a:lnTo>
                  <a:lnTo>
                    <a:pt x="128" y="134"/>
                  </a:lnTo>
                  <a:lnTo>
                    <a:pt x="134" y="136"/>
                  </a:lnTo>
                  <a:lnTo>
                    <a:pt x="138" y="134"/>
                  </a:lnTo>
                  <a:lnTo>
                    <a:pt x="142" y="136"/>
                  </a:lnTo>
                  <a:lnTo>
                    <a:pt x="154" y="130"/>
                  </a:lnTo>
                  <a:lnTo>
                    <a:pt x="152" y="124"/>
                  </a:lnTo>
                  <a:lnTo>
                    <a:pt x="160" y="116"/>
                  </a:lnTo>
                  <a:lnTo>
                    <a:pt x="162" y="112"/>
                  </a:lnTo>
                  <a:lnTo>
                    <a:pt x="162" y="104"/>
                  </a:lnTo>
                  <a:lnTo>
                    <a:pt x="164" y="100"/>
                  </a:lnTo>
                  <a:lnTo>
                    <a:pt x="166" y="96"/>
                  </a:lnTo>
                  <a:lnTo>
                    <a:pt x="172" y="98"/>
                  </a:lnTo>
                  <a:lnTo>
                    <a:pt x="176" y="100"/>
                  </a:lnTo>
                  <a:lnTo>
                    <a:pt x="182" y="102"/>
                  </a:lnTo>
                  <a:lnTo>
                    <a:pt x="182" y="94"/>
                  </a:lnTo>
                  <a:lnTo>
                    <a:pt x="182" y="90"/>
                  </a:lnTo>
                  <a:lnTo>
                    <a:pt x="190" y="86"/>
                  </a:lnTo>
                  <a:lnTo>
                    <a:pt x="188" y="84"/>
                  </a:lnTo>
                  <a:lnTo>
                    <a:pt x="182" y="84"/>
                  </a:lnTo>
                  <a:lnTo>
                    <a:pt x="178" y="80"/>
                  </a:lnTo>
                  <a:lnTo>
                    <a:pt x="172" y="80"/>
                  </a:lnTo>
                  <a:lnTo>
                    <a:pt x="168" y="76"/>
                  </a:lnTo>
                  <a:lnTo>
                    <a:pt x="160" y="78"/>
                  </a:lnTo>
                  <a:lnTo>
                    <a:pt x="156" y="72"/>
                  </a:lnTo>
                  <a:lnTo>
                    <a:pt x="150" y="66"/>
                  </a:lnTo>
                  <a:lnTo>
                    <a:pt x="144" y="64"/>
                  </a:lnTo>
                  <a:lnTo>
                    <a:pt x="140" y="60"/>
                  </a:lnTo>
                  <a:lnTo>
                    <a:pt x="138" y="52"/>
                  </a:lnTo>
                  <a:lnTo>
                    <a:pt x="134" y="48"/>
                  </a:lnTo>
                  <a:lnTo>
                    <a:pt x="130" y="44"/>
                  </a:lnTo>
                  <a:lnTo>
                    <a:pt x="130" y="38"/>
                  </a:lnTo>
                  <a:lnTo>
                    <a:pt x="126" y="30"/>
                  </a:lnTo>
                  <a:lnTo>
                    <a:pt x="120" y="30"/>
                  </a:lnTo>
                  <a:lnTo>
                    <a:pt x="112" y="30"/>
                  </a:lnTo>
                  <a:lnTo>
                    <a:pt x="108" y="32"/>
                  </a:lnTo>
                  <a:lnTo>
                    <a:pt x="102" y="36"/>
                  </a:lnTo>
                  <a:lnTo>
                    <a:pt x="96" y="34"/>
                  </a:lnTo>
                  <a:lnTo>
                    <a:pt x="94" y="32"/>
                  </a:lnTo>
                  <a:lnTo>
                    <a:pt x="96" y="28"/>
                  </a:lnTo>
                  <a:lnTo>
                    <a:pt x="96" y="22"/>
                  </a:lnTo>
                  <a:lnTo>
                    <a:pt x="88" y="20"/>
                  </a:lnTo>
                  <a:lnTo>
                    <a:pt x="86" y="10"/>
                  </a:lnTo>
                  <a:lnTo>
                    <a:pt x="84" y="2"/>
                  </a:lnTo>
                  <a:lnTo>
                    <a:pt x="80" y="0"/>
                  </a:lnTo>
                  <a:lnTo>
                    <a:pt x="76" y="0"/>
                  </a:lnTo>
                  <a:lnTo>
                    <a:pt x="72" y="4"/>
                  </a:lnTo>
                  <a:lnTo>
                    <a:pt x="70" y="8"/>
                  </a:lnTo>
                  <a:lnTo>
                    <a:pt x="62" y="8"/>
                  </a:lnTo>
                  <a:lnTo>
                    <a:pt x="60" y="10"/>
                  </a:lnTo>
                  <a:lnTo>
                    <a:pt x="60" y="16"/>
                  </a:lnTo>
                  <a:lnTo>
                    <a:pt x="62" y="20"/>
                  </a:lnTo>
                  <a:lnTo>
                    <a:pt x="62" y="22"/>
                  </a:lnTo>
                  <a:lnTo>
                    <a:pt x="48" y="20"/>
                  </a:lnTo>
                  <a:lnTo>
                    <a:pt x="48" y="20"/>
                  </a:lnTo>
                  <a:lnTo>
                    <a:pt x="44" y="20"/>
                  </a:lnTo>
                  <a:lnTo>
                    <a:pt x="36" y="20"/>
                  </a:lnTo>
                  <a:lnTo>
                    <a:pt x="36" y="20"/>
                  </a:lnTo>
                  <a:lnTo>
                    <a:pt x="30" y="12"/>
                  </a:lnTo>
                  <a:lnTo>
                    <a:pt x="26" y="8"/>
                  </a:lnTo>
                  <a:lnTo>
                    <a:pt x="22" y="6"/>
                  </a:lnTo>
                  <a:lnTo>
                    <a:pt x="18" y="6"/>
                  </a:lnTo>
                  <a:lnTo>
                    <a:pt x="18" y="6"/>
                  </a:lnTo>
                  <a:lnTo>
                    <a:pt x="8" y="6"/>
                  </a:lnTo>
                  <a:lnTo>
                    <a:pt x="4" y="8"/>
                  </a:lnTo>
                  <a:lnTo>
                    <a:pt x="4" y="14"/>
                  </a:lnTo>
                  <a:lnTo>
                    <a:pt x="4" y="14"/>
                  </a:lnTo>
                  <a:lnTo>
                    <a:pt x="2" y="16"/>
                  </a:lnTo>
                  <a:lnTo>
                    <a:pt x="2" y="18"/>
                  </a:lnTo>
                  <a:lnTo>
                    <a:pt x="0" y="18"/>
                  </a:lnTo>
                  <a:lnTo>
                    <a:pt x="0" y="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0" name="Freeform 25"/>
            <p:cNvSpPr>
              <a:spLocks noChangeAspect="1" noEditPoints="1"/>
            </p:cNvSpPr>
            <p:nvPr/>
          </p:nvSpPr>
          <p:spPr bwMode="gray">
            <a:xfrm>
              <a:off x="4890948" y="3230073"/>
              <a:ext cx="428429" cy="194106"/>
            </a:xfrm>
            <a:custGeom>
              <a:avLst/>
              <a:gdLst/>
              <a:ahLst/>
              <a:cxnLst>
                <a:cxn ang="0">
                  <a:pos x="12" y="4"/>
                </a:cxn>
                <a:cxn ang="0">
                  <a:pos x="12" y="12"/>
                </a:cxn>
                <a:cxn ang="0">
                  <a:pos x="6" y="18"/>
                </a:cxn>
                <a:cxn ang="0">
                  <a:pos x="0" y="26"/>
                </a:cxn>
                <a:cxn ang="0">
                  <a:pos x="0" y="36"/>
                </a:cxn>
                <a:cxn ang="0">
                  <a:pos x="18" y="26"/>
                </a:cxn>
                <a:cxn ang="0">
                  <a:pos x="34" y="20"/>
                </a:cxn>
                <a:cxn ang="0">
                  <a:pos x="24" y="8"/>
                </a:cxn>
                <a:cxn ang="0">
                  <a:pos x="132" y="118"/>
                </a:cxn>
                <a:cxn ang="0">
                  <a:pos x="140" y="112"/>
                </a:cxn>
                <a:cxn ang="0">
                  <a:pos x="140" y="102"/>
                </a:cxn>
                <a:cxn ang="0">
                  <a:pos x="150" y="100"/>
                </a:cxn>
                <a:cxn ang="0">
                  <a:pos x="162" y="100"/>
                </a:cxn>
                <a:cxn ang="0">
                  <a:pos x="188" y="94"/>
                </a:cxn>
                <a:cxn ang="0">
                  <a:pos x="210" y="90"/>
                </a:cxn>
                <a:cxn ang="0">
                  <a:pos x="220" y="90"/>
                </a:cxn>
                <a:cxn ang="0">
                  <a:pos x="232" y="90"/>
                </a:cxn>
                <a:cxn ang="0">
                  <a:pos x="244" y="86"/>
                </a:cxn>
                <a:cxn ang="0">
                  <a:pos x="236" y="70"/>
                </a:cxn>
                <a:cxn ang="0">
                  <a:pos x="240" y="60"/>
                </a:cxn>
                <a:cxn ang="0">
                  <a:pos x="240" y="52"/>
                </a:cxn>
                <a:cxn ang="0">
                  <a:pos x="248" y="50"/>
                </a:cxn>
                <a:cxn ang="0">
                  <a:pos x="246" y="38"/>
                </a:cxn>
                <a:cxn ang="0">
                  <a:pos x="234" y="26"/>
                </a:cxn>
                <a:cxn ang="0">
                  <a:pos x="232" y="14"/>
                </a:cxn>
                <a:cxn ang="0">
                  <a:pos x="222" y="12"/>
                </a:cxn>
                <a:cxn ang="0">
                  <a:pos x="208" y="8"/>
                </a:cxn>
                <a:cxn ang="0">
                  <a:pos x="202" y="8"/>
                </a:cxn>
                <a:cxn ang="0">
                  <a:pos x="194" y="16"/>
                </a:cxn>
                <a:cxn ang="0">
                  <a:pos x="182" y="20"/>
                </a:cxn>
                <a:cxn ang="0">
                  <a:pos x="166" y="20"/>
                </a:cxn>
                <a:cxn ang="0">
                  <a:pos x="150" y="18"/>
                </a:cxn>
                <a:cxn ang="0">
                  <a:pos x="138" y="16"/>
                </a:cxn>
                <a:cxn ang="0">
                  <a:pos x="118" y="4"/>
                </a:cxn>
                <a:cxn ang="0">
                  <a:pos x="108" y="4"/>
                </a:cxn>
                <a:cxn ang="0">
                  <a:pos x="88" y="2"/>
                </a:cxn>
                <a:cxn ang="0">
                  <a:pos x="72" y="14"/>
                </a:cxn>
                <a:cxn ang="0">
                  <a:pos x="56" y="16"/>
                </a:cxn>
                <a:cxn ang="0">
                  <a:pos x="38" y="20"/>
                </a:cxn>
                <a:cxn ang="0">
                  <a:pos x="38" y="24"/>
                </a:cxn>
                <a:cxn ang="0">
                  <a:pos x="26" y="28"/>
                </a:cxn>
                <a:cxn ang="0">
                  <a:pos x="14" y="32"/>
                </a:cxn>
                <a:cxn ang="0">
                  <a:pos x="0" y="50"/>
                </a:cxn>
                <a:cxn ang="0">
                  <a:pos x="8" y="64"/>
                </a:cxn>
                <a:cxn ang="0">
                  <a:pos x="8" y="70"/>
                </a:cxn>
                <a:cxn ang="0">
                  <a:pos x="4" y="70"/>
                </a:cxn>
                <a:cxn ang="0">
                  <a:pos x="14" y="78"/>
                </a:cxn>
                <a:cxn ang="0">
                  <a:pos x="24" y="94"/>
                </a:cxn>
                <a:cxn ang="0">
                  <a:pos x="32" y="102"/>
                </a:cxn>
                <a:cxn ang="0">
                  <a:pos x="38" y="106"/>
                </a:cxn>
                <a:cxn ang="0">
                  <a:pos x="60" y="100"/>
                </a:cxn>
                <a:cxn ang="0">
                  <a:pos x="86" y="112"/>
                </a:cxn>
                <a:cxn ang="0">
                  <a:pos x="112" y="102"/>
                </a:cxn>
                <a:cxn ang="0">
                  <a:pos x="128" y="96"/>
                </a:cxn>
                <a:cxn ang="0">
                  <a:pos x="126" y="108"/>
                </a:cxn>
                <a:cxn ang="0">
                  <a:pos x="128" y="118"/>
                </a:cxn>
              </a:cxnLst>
              <a:rect l="0" t="0" r="r" b="b"/>
              <a:pathLst>
                <a:path w="252" h="118">
                  <a:moveTo>
                    <a:pt x="24" y="6"/>
                  </a:moveTo>
                  <a:lnTo>
                    <a:pt x="24" y="6"/>
                  </a:lnTo>
                  <a:lnTo>
                    <a:pt x="20" y="6"/>
                  </a:lnTo>
                  <a:lnTo>
                    <a:pt x="16" y="6"/>
                  </a:lnTo>
                  <a:lnTo>
                    <a:pt x="16" y="6"/>
                  </a:lnTo>
                  <a:lnTo>
                    <a:pt x="12" y="4"/>
                  </a:lnTo>
                  <a:lnTo>
                    <a:pt x="8" y="6"/>
                  </a:lnTo>
                  <a:lnTo>
                    <a:pt x="8" y="6"/>
                  </a:lnTo>
                  <a:lnTo>
                    <a:pt x="8" y="8"/>
                  </a:lnTo>
                  <a:lnTo>
                    <a:pt x="8" y="8"/>
                  </a:lnTo>
                  <a:lnTo>
                    <a:pt x="12" y="12"/>
                  </a:lnTo>
                  <a:lnTo>
                    <a:pt x="12" y="12"/>
                  </a:lnTo>
                  <a:lnTo>
                    <a:pt x="14" y="14"/>
                  </a:lnTo>
                  <a:lnTo>
                    <a:pt x="14" y="16"/>
                  </a:lnTo>
                  <a:lnTo>
                    <a:pt x="12" y="18"/>
                  </a:lnTo>
                  <a:lnTo>
                    <a:pt x="12" y="18"/>
                  </a:lnTo>
                  <a:lnTo>
                    <a:pt x="10" y="18"/>
                  </a:lnTo>
                  <a:lnTo>
                    <a:pt x="6" y="18"/>
                  </a:lnTo>
                  <a:lnTo>
                    <a:pt x="6" y="16"/>
                  </a:lnTo>
                  <a:lnTo>
                    <a:pt x="4" y="18"/>
                  </a:lnTo>
                  <a:lnTo>
                    <a:pt x="4" y="18"/>
                  </a:lnTo>
                  <a:lnTo>
                    <a:pt x="4" y="22"/>
                  </a:lnTo>
                  <a:lnTo>
                    <a:pt x="2" y="24"/>
                  </a:lnTo>
                  <a:lnTo>
                    <a:pt x="0" y="26"/>
                  </a:lnTo>
                  <a:lnTo>
                    <a:pt x="2" y="28"/>
                  </a:lnTo>
                  <a:lnTo>
                    <a:pt x="4" y="28"/>
                  </a:lnTo>
                  <a:lnTo>
                    <a:pt x="0" y="30"/>
                  </a:lnTo>
                  <a:lnTo>
                    <a:pt x="0" y="30"/>
                  </a:lnTo>
                  <a:lnTo>
                    <a:pt x="0" y="34"/>
                  </a:lnTo>
                  <a:lnTo>
                    <a:pt x="0" y="36"/>
                  </a:lnTo>
                  <a:lnTo>
                    <a:pt x="2" y="36"/>
                  </a:lnTo>
                  <a:lnTo>
                    <a:pt x="2" y="36"/>
                  </a:lnTo>
                  <a:lnTo>
                    <a:pt x="10" y="28"/>
                  </a:lnTo>
                  <a:lnTo>
                    <a:pt x="10" y="28"/>
                  </a:lnTo>
                  <a:lnTo>
                    <a:pt x="18" y="26"/>
                  </a:lnTo>
                  <a:lnTo>
                    <a:pt x="18" y="26"/>
                  </a:lnTo>
                  <a:lnTo>
                    <a:pt x="18" y="24"/>
                  </a:lnTo>
                  <a:lnTo>
                    <a:pt x="20" y="22"/>
                  </a:lnTo>
                  <a:lnTo>
                    <a:pt x="20" y="22"/>
                  </a:lnTo>
                  <a:lnTo>
                    <a:pt x="28" y="22"/>
                  </a:lnTo>
                  <a:lnTo>
                    <a:pt x="34" y="20"/>
                  </a:lnTo>
                  <a:lnTo>
                    <a:pt x="34" y="20"/>
                  </a:lnTo>
                  <a:lnTo>
                    <a:pt x="36" y="16"/>
                  </a:lnTo>
                  <a:lnTo>
                    <a:pt x="36" y="16"/>
                  </a:lnTo>
                  <a:lnTo>
                    <a:pt x="30" y="12"/>
                  </a:lnTo>
                  <a:lnTo>
                    <a:pt x="26" y="10"/>
                  </a:lnTo>
                  <a:lnTo>
                    <a:pt x="24" y="8"/>
                  </a:lnTo>
                  <a:lnTo>
                    <a:pt x="24" y="8"/>
                  </a:lnTo>
                  <a:lnTo>
                    <a:pt x="24" y="6"/>
                  </a:lnTo>
                  <a:lnTo>
                    <a:pt x="24" y="6"/>
                  </a:lnTo>
                  <a:close/>
                  <a:moveTo>
                    <a:pt x="128" y="118"/>
                  </a:moveTo>
                  <a:lnTo>
                    <a:pt x="128" y="118"/>
                  </a:lnTo>
                  <a:lnTo>
                    <a:pt x="132" y="118"/>
                  </a:lnTo>
                  <a:lnTo>
                    <a:pt x="132" y="118"/>
                  </a:lnTo>
                  <a:lnTo>
                    <a:pt x="134" y="118"/>
                  </a:lnTo>
                  <a:lnTo>
                    <a:pt x="134" y="116"/>
                  </a:lnTo>
                  <a:lnTo>
                    <a:pt x="136" y="114"/>
                  </a:lnTo>
                  <a:lnTo>
                    <a:pt x="138" y="112"/>
                  </a:lnTo>
                  <a:lnTo>
                    <a:pt x="138" y="112"/>
                  </a:lnTo>
                  <a:lnTo>
                    <a:pt x="140" y="112"/>
                  </a:lnTo>
                  <a:lnTo>
                    <a:pt x="140" y="110"/>
                  </a:lnTo>
                  <a:lnTo>
                    <a:pt x="140" y="110"/>
                  </a:lnTo>
                  <a:lnTo>
                    <a:pt x="140" y="106"/>
                  </a:lnTo>
                  <a:lnTo>
                    <a:pt x="140" y="104"/>
                  </a:lnTo>
                  <a:lnTo>
                    <a:pt x="140" y="102"/>
                  </a:lnTo>
                  <a:lnTo>
                    <a:pt x="140" y="102"/>
                  </a:lnTo>
                  <a:lnTo>
                    <a:pt x="142" y="102"/>
                  </a:lnTo>
                  <a:lnTo>
                    <a:pt x="144" y="102"/>
                  </a:lnTo>
                  <a:lnTo>
                    <a:pt x="146" y="104"/>
                  </a:lnTo>
                  <a:lnTo>
                    <a:pt x="148" y="104"/>
                  </a:lnTo>
                  <a:lnTo>
                    <a:pt x="148" y="104"/>
                  </a:lnTo>
                  <a:lnTo>
                    <a:pt x="150" y="100"/>
                  </a:lnTo>
                  <a:lnTo>
                    <a:pt x="154" y="100"/>
                  </a:lnTo>
                  <a:lnTo>
                    <a:pt x="154" y="100"/>
                  </a:lnTo>
                  <a:lnTo>
                    <a:pt x="158" y="100"/>
                  </a:lnTo>
                  <a:lnTo>
                    <a:pt x="160" y="100"/>
                  </a:lnTo>
                  <a:lnTo>
                    <a:pt x="162" y="100"/>
                  </a:lnTo>
                  <a:lnTo>
                    <a:pt x="162" y="100"/>
                  </a:lnTo>
                  <a:lnTo>
                    <a:pt x="170" y="98"/>
                  </a:lnTo>
                  <a:lnTo>
                    <a:pt x="174" y="98"/>
                  </a:lnTo>
                  <a:lnTo>
                    <a:pt x="180" y="94"/>
                  </a:lnTo>
                  <a:lnTo>
                    <a:pt x="180" y="94"/>
                  </a:lnTo>
                  <a:lnTo>
                    <a:pt x="184" y="94"/>
                  </a:lnTo>
                  <a:lnTo>
                    <a:pt x="188" y="94"/>
                  </a:lnTo>
                  <a:lnTo>
                    <a:pt x="194" y="94"/>
                  </a:lnTo>
                  <a:lnTo>
                    <a:pt x="198" y="92"/>
                  </a:lnTo>
                  <a:lnTo>
                    <a:pt x="198" y="92"/>
                  </a:lnTo>
                  <a:lnTo>
                    <a:pt x="204" y="88"/>
                  </a:lnTo>
                  <a:lnTo>
                    <a:pt x="210" y="86"/>
                  </a:lnTo>
                  <a:lnTo>
                    <a:pt x="210" y="90"/>
                  </a:lnTo>
                  <a:lnTo>
                    <a:pt x="210" y="90"/>
                  </a:lnTo>
                  <a:lnTo>
                    <a:pt x="214" y="92"/>
                  </a:lnTo>
                  <a:lnTo>
                    <a:pt x="214" y="92"/>
                  </a:lnTo>
                  <a:lnTo>
                    <a:pt x="218" y="90"/>
                  </a:lnTo>
                  <a:lnTo>
                    <a:pt x="218" y="90"/>
                  </a:lnTo>
                  <a:lnTo>
                    <a:pt x="220" y="90"/>
                  </a:lnTo>
                  <a:lnTo>
                    <a:pt x="222" y="92"/>
                  </a:lnTo>
                  <a:lnTo>
                    <a:pt x="224" y="92"/>
                  </a:lnTo>
                  <a:lnTo>
                    <a:pt x="226" y="92"/>
                  </a:lnTo>
                  <a:lnTo>
                    <a:pt x="226" y="92"/>
                  </a:lnTo>
                  <a:lnTo>
                    <a:pt x="230" y="88"/>
                  </a:lnTo>
                  <a:lnTo>
                    <a:pt x="232" y="90"/>
                  </a:lnTo>
                  <a:lnTo>
                    <a:pt x="234" y="94"/>
                  </a:lnTo>
                  <a:lnTo>
                    <a:pt x="238" y="90"/>
                  </a:lnTo>
                  <a:lnTo>
                    <a:pt x="244" y="92"/>
                  </a:lnTo>
                  <a:lnTo>
                    <a:pt x="244" y="92"/>
                  </a:lnTo>
                  <a:lnTo>
                    <a:pt x="244" y="90"/>
                  </a:lnTo>
                  <a:lnTo>
                    <a:pt x="244" y="86"/>
                  </a:lnTo>
                  <a:lnTo>
                    <a:pt x="244" y="86"/>
                  </a:lnTo>
                  <a:lnTo>
                    <a:pt x="242" y="82"/>
                  </a:lnTo>
                  <a:lnTo>
                    <a:pt x="242" y="78"/>
                  </a:lnTo>
                  <a:lnTo>
                    <a:pt x="242" y="78"/>
                  </a:lnTo>
                  <a:lnTo>
                    <a:pt x="238" y="74"/>
                  </a:lnTo>
                  <a:lnTo>
                    <a:pt x="236" y="70"/>
                  </a:lnTo>
                  <a:lnTo>
                    <a:pt x="238" y="68"/>
                  </a:lnTo>
                  <a:lnTo>
                    <a:pt x="238" y="68"/>
                  </a:lnTo>
                  <a:lnTo>
                    <a:pt x="240" y="66"/>
                  </a:lnTo>
                  <a:lnTo>
                    <a:pt x="240" y="62"/>
                  </a:lnTo>
                  <a:lnTo>
                    <a:pt x="240" y="62"/>
                  </a:lnTo>
                  <a:lnTo>
                    <a:pt x="240" y="60"/>
                  </a:lnTo>
                  <a:lnTo>
                    <a:pt x="240" y="58"/>
                  </a:lnTo>
                  <a:lnTo>
                    <a:pt x="240" y="58"/>
                  </a:lnTo>
                  <a:lnTo>
                    <a:pt x="238" y="54"/>
                  </a:lnTo>
                  <a:lnTo>
                    <a:pt x="238" y="54"/>
                  </a:lnTo>
                  <a:lnTo>
                    <a:pt x="240" y="52"/>
                  </a:lnTo>
                  <a:lnTo>
                    <a:pt x="240" y="52"/>
                  </a:lnTo>
                  <a:lnTo>
                    <a:pt x="242" y="48"/>
                  </a:lnTo>
                  <a:lnTo>
                    <a:pt x="242" y="48"/>
                  </a:lnTo>
                  <a:lnTo>
                    <a:pt x="244" y="48"/>
                  </a:lnTo>
                  <a:lnTo>
                    <a:pt x="244" y="48"/>
                  </a:lnTo>
                  <a:lnTo>
                    <a:pt x="248" y="50"/>
                  </a:lnTo>
                  <a:lnTo>
                    <a:pt x="248" y="50"/>
                  </a:lnTo>
                  <a:lnTo>
                    <a:pt x="250" y="46"/>
                  </a:lnTo>
                  <a:lnTo>
                    <a:pt x="250" y="46"/>
                  </a:lnTo>
                  <a:lnTo>
                    <a:pt x="252" y="44"/>
                  </a:lnTo>
                  <a:lnTo>
                    <a:pt x="250" y="42"/>
                  </a:lnTo>
                  <a:lnTo>
                    <a:pt x="246" y="38"/>
                  </a:lnTo>
                  <a:lnTo>
                    <a:pt x="246" y="38"/>
                  </a:lnTo>
                  <a:lnTo>
                    <a:pt x="238" y="36"/>
                  </a:lnTo>
                  <a:lnTo>
                    <a:pt x="234" y="34"/>
                  </a:lnTo>
                  <a:lnTo>
                    <a:pt x="232" y="32"/>
                  </a:lnTo>
                  <a:lnTo>
                    <a:pt x="232" y="30"/>
                  </a:lnTo>
                  <a:lnTo>
                    <a:pt x="232" y="30"/>
                  </a:lnTo>
                  <a:lnTo>
                    <a:pt x="234" y="26"/>
                  </a:lnTo>
                  <a:lnTo>
                    <a:pt x="236" y="24"/>
                  </a:lnTo>
                  <a:lnTo>
                    <a:pt x="236" y="24"/>
                  </a:lnTo>
                  <a:lnTo>
                    <a:pt x="238" y="22"/>
                  </a:lnTo>
                  <a:lnTo>
                    <a:pt x="236" y="18"/>
                  </a:lnTo>
                  <a:lnTo>
                    <a:pt x="234" y="14"/>
                  </a:lnTo>
                  <a:lnTo>
                    <a:pt x="232" y="14"/>
                  </a:lnTo>
                  <a:lnTo>
                    <a:pt x="232" y="14"/>
                  </a:lnTo>
                  <a:lnTo>
                    <a:pt x="232" y="12"/>
                  </a:lnTo>
                  <a:lnTo>
                    <a:pt x="232" y="10"/>
                  </a:lnTo>
                  <a:lnTo>
                    <a:pt x="230" y="10"/>
                  </a:lnTo>
                  <a:lnTo>
                    <a:pt x="230" y="10"/>
                  </a:lnTo>
                  <a:lnTo>
                    <a:pt x="222" y="12"/>
                  </a:lnTo>
                  <a:lnTo>
                    <a:pt x="222" y="12"/>
                  </a:lnTo>
                  <a:lnTo>
                    <a:pt x="220" y="10"/>
                  </a:lnTo>
                  <a:lnTo>
                    <a:pt x="216" y="8"/>
                  </a:lnTo>
                  <a:lnTo>
                    <a:pt x="216" y="8"/>
                  </a:lnTo>
                  <a:lnTo>
                    <a:pt x="212" y="8"/>
                  </a:lnTo>
                  <a:lnTo>
                    <a:pt x="208" y="8"/>
                  </a:lnTo>
                  <a:lnTo>
                    <a:pt x="208" y="8"/>
                  </a:lnTo>
                  <a:lnTo>
                    <a:pt x="206" y="10"/>
                  </a:lnTo>
                  <a:lnTo>
                    <a:pt x="206" y="8"/>
                  </a:lnTo>
                  <a:lnTo>
                    <a:pt x="204" y="8"/>
                  </a:lnTo>
                  <a:lnTo>
                    <a:pt x="204" y="8"/>
                  </a:lnTo>
                  <a:lnTo>
                    <a:pt x="202" y="8"/>
                  </a:lnTo>
                  <a:lnTo>
                    <a:pt x="202" y="8"/>
                  </a:lnTo>
                  <a:lnTo>
                    <a:pt x="200" y="10"/>
                  </a:lnTo>
                  <a:lnTo>
                    <a:pt x="200" y="10"/>
                  </a:lnTo>
                  <a:lnTo>
                    <a:pt x="198" y="14"/>
                  </a:lnTo>
                  <a:lnTo>
                    <a:pt x="198" y="14"/>
                  </a:lnTo>
                  <a:lnTo>
                    <a:pt x="194" y="16"/>
                  </a:lnTo>
                  <a:lnTo>
                    <a:pt x="190" y="16"/>
                  </a:lnTo>
                  <a:lnTo>
                    <a:pt x="190" y="16"/>
                  </a:lnTo>
                  <a:lnTo>
                    <a:pt x="188" y="18"/>
                  </a:lnTo>
                  <a:lnTo>
                    <a:pt x="186" y="20"/>
                  </a:lnTo>
                  <a:lnTo>
                    <a:pt x="182" y="20"/>
                  </a:lnTo>
                  <a:lnTo>
                    <a:pt x="182" y="20"/>
                  </a:lnTo>
                  <a:lnTo>
                    <a:pt x="180" y="18"/>
                  </a:lnTo>
                  <a:lnTo>
                    <a:pt x="176" y="16"/>
                  </a:lnTo>
                  <a:lnTo>
                    <a:pt x="176" y="16"/>
                  </a:lnTo>
                  <a:lnTo>
                    <a:pt x="172" y="20"/>
                  </a:lnTo>
                  <a:lnTo>
                    <a:pt x="172" y="20"/>
                  </a:lnTo>
                  <a:lnTo>
                    <a:pt x="166" y="20"/>
                  </a:lnTo>
                  <a:lnTo>
                    <a:pt x="158" y="20"/>
                  </a:lnTo>
                  <a:lnTo>
                    <a:pt x="158" y="20"/>
                  </a:lnTo>
                  <a:lnTo>
                    <a:pt x="156" y="18"/>
                  </a:lnTo>
                  <a:lnTo>
                    <a:pt x="156" y="18"/>
                  </a:lnTo>
                  <a:lnTo>
                    <a:pt x="150" y="18"/>
                  </a:lnTo>
                  <a:lnTo>
                    <a:pt x="150" y="18"/>
                  </a:lnTo>
                  <a:lnTo>
                    <a:pt x="148" y="14"/>
                  </a:lnTo>
                  <a:lnTo>
                    <a:pt x="148" y="14"/>
                  </a:lnTo>
                  <a:lnTo>
                    <a:pt x="144" y="12"/>
                  </a:lnTo>
                  <a:lnTo>
                    <a:pt x="138" y="12"/>
                  </a:lnTo>
                  <a:lnTo>
                    <a:pt x="138" y="16"/>
                  </a:lnTo>
                  <a:lnTo>
                    <a:pt x="138" y="16"/>
                  </a:lnTo>
                  <a:lnTo>
                    <a:pt x="134" y="16"/>
                  </a:lnTo>
                  <a:lnTo>
                    <a:pt x="134" y="16"/>
                  </a:lnTo>
                  <a:lnTo>
                    <a:pt x="130" y="6"/>
                  </a:lnTo>
                  <a:lnTo>
                    <a:pt x="130" y="6"/>
                  </a:lnTo>
                  <a:lnTo>
                    <a:pt x="124" y="6"/>
                  </a:lnTo>
                  <a:lnTo>
                    <a:pt x="118" y="4"/>
                  </a:lnTo>
                  <a:lnTo>
                    <a:pt x="118" y="4"/>
                  </a:lnTo>
                  <a:lnTo>
                    <a:pt x="118" y="0"/>
                  </a:lnTo>
                  <a:lnTo>
                    <a:pt x="118" y="0"/>
                  </a:lnTo>
                  <a:lnTo>
                    <a:pt x="114" y="2"/>
                  </a:lnTo>
                  <a:lnTo>
                    <a:pt x="108" y="4"/>
                  </a:lnTo>
                  <a:lnTo>
                    <a:pt x="108" y="4"/>
                  </a:lnTo>
                  <a:lnTo>
                    <a:pt x="102" y="2"/>
                  </a:lnTo>
                  <a:lnTo>
                    <a:pt x="98" y="0"/>
                  </a:lnTo>
                  <a:lnTo>
                    <a:pt x="94" y="0"/>
                  </a:lnTo>
                  <a:lnTo>
                    <a:pt x="94" y="2"/>
                  </a:lnTo>
                  <a:lnTo>
                    <a:pt x="94" y="2"/>
                  </a:lnTo>
                  <a:lnTo>
                    <a:pt x="88" y="2"/>
                  </a:lnTo>
                  <a:lnTo>
                    <a:pt x="82" y="4"/>
                  </a:lnTo>
                  <a:lnTo>
                    <a:pt x="82" y="4"/>
                  </a:lnTo>
                  <a:lnTo>
                    <a:pt x="80" y="8"/>
                  </a:lnTo>
                  <a:lnTo>
                    <a:pt x="80" y="8"/>
                  </a:lnTo>
                  <a:lnTo>
                    <a:pt x="72" y="10"/>
                  </a:lnTo>
                  <a:lnTo>
                    <a:pt x="72" y="14"/>
                  </a:lnTo>
                  <a:lnTo>
                    <a:pt x="72" y="14"/>
                  </a:lnTo>
                  <a:lnTo>
                    <a:pt x="66" y="18"/>
                  </a:lnTo>
                  <a:lnTo>
                    <a:pt x="66" y="18"/>
                  </a:lnTo>
                  <a:lnTo>
                    <a:pt x="60" y="18"/>
                  </a:lnTo>
                  <a:lnTo>
                    <a:pt x="56" y="16"/>
                  </a:lnTo>
                  <a:lnTo>
                    <a:pt x="56" y="16"/>
                  </a:lnTo>
                  <a:lnTo>
                    <a:pt x="56" y="16"/>
                  </a:lnTo>
                  <a:lnTo>
                    <a:pt x="54" y="16"/>
                  </a:lnTo>
                  <a:lnTo>
                    <a:pt x="52" y="18"/>
                  </a:lnTo>
                  <a:lnTo>
                    <a:pt x="52" y="18"/>
                  </a:lnTo>
                  <a:lnTo>
                    <a:pt x="40" y="16"/>
                  </a:lnTo>
                  <a:lnTo>
                    <a:pt x="38" y="20"/>
                  </a:lnTo>
                  <a:lnTo>
                    <a:pt x="38" y="20"/>
                  </a:lnTo>
                  <a:lnTo>
                    <a:pt x="48" y="24"/>
                  </a:lnTo>
                  <a:lnTo>
                    <a:pt x="48" y="24"/>
                  </a:lnTo>
                  <a:lnTo>
                    <a:pt x="40" y="24"/>
                  </a:lnTo>
                  <a:lnTo>
                    <a:pt x="38" y="24"/>
                  </a:lnTo>
                  <a:lnTo>
                    <a:pt x="38" y="24"/>
                  </a:lnTo>
                  <a:lnTo>
                    <a:pt x="40" y="26"/>
                  </a:lnTo>
                  <a:lnTo>
                    <a:pt x="40" y="26"/>
                  </a:lnTo>
                  <a:lnTo>
                    <a:pt x="30" y="30"/>
                  </a:lnTo>
                  <a:lnTo>
                    <a:pt x="30" y="30"/>
                  </a:lnTo>
                  <a:lnTo>
                    <a:pt x="28" y="30"/>
                  </a:lnTo>
                  <a:lnTo>
                    <a:pt x="26" y="28"/>
                  </a:lnTo>
                  <a:lnTo>
                    <a:pt x="24" y="28"/>
                  </a:lnTo>
                  <a:lnTo>
                    <a:pt x="22" y="28"/>
                  </a:lnTo>
                  <a:lnTo>
                    <a:pt x="22" y="28"/>
                  </a:lnTo>
                  <a:lnTo>
                    <a:pt x="22" y="32"/>
                  </a:lnTo>
                  <a:lnTo>
                    <a:pt x="22" y="32"/>
                  </a:lnTo>
                  <a:lnTo>
                    <a:pt x="14" y="32"/>
                  </a:lnTo>
                  <a:lnTo>
                    <a:pt x="10" y="32"/>
                  </a:lnTo>
                  <a:lnTo>
                    <a:pt x="0" y="40"/>
                  </a:lnTo>
                  <a:lnTo>
                    <a:pt x="0" y="40"/>
                  </a:lnTo>
                  <a:lnTo>
                    <a:pt x="2" y="42"/>
                  </a:lnTo>
                  <a:lnTo>
                    <a:pt x="2" y="46"/>
                  </a:lnTo>
                  <a:lnTo>
                    <a:pt x="0" y="50"/>
                  </a:lnTo>
                  <a:lnTo>
                    <a:pt x="0" y="50"/>
                  </a:lnTo>
                  <a:lnTo>
                    <a:pt x="10" y="50"/>
                  </a:lnTo>
                  <a:lnTo>
                    <a:pt x="10" y="50"/>
                  </a:lnTo>
                  <a:lnTo>
                    <a:pt x="10" y="58"/>
                  </a:lnTo>
                  <a:lnTo>
                    <a:pt x="8" y="64"/>
                  </a:lnTo>
                  <a:lnTo>
                    <a:pt x="8" y="64"/>
                  </a:lnTo>
                  <a:lnTo>
                    <a:pt x="12" y="66"/>
                  </a:lnTo>
                  <a:lnTo>
                    <a:pt x="12" y="68"/>
                  </a:lnTo>
                  <a:lnTo>
                    <a:pt x="12" y="68"/>
                  </a:lnTo>
                  <a:lnTo>
                    <a:pt x="10" y="70"/>
                  </a:lnTo>
                  <a:lnTo>
                    <a:pt x="10" y="70"/>
                  </a:lnTo>
                  <a:lnTo>
                    <a:pt x="8" y="70"/>
                  </a:lnTo>
                  <a:lnTo>
                    <a:pt x="6" y="68"/>
                  </a:lnTo>
                  <a:lnTo>
                    <a:pt x="6" y="68"/>
                  </a:lnTo>
                  <a:lnTo>
                    <a:pt x="4" y="68"/>
                  </a:lnTo>
                  <a:lnTo>
                    <a:pt x="4" y="70"/>
                  </a:lnTo>
                  <a:lnTo>
                    <a:pt x="4" y="70"/>
                  </a:lnTo>
                  <a:lnTo>
                    <a:pt x="4" y="70"/>
                  </a:lnTo>
                  <a:lnTo>
                    <a:pt x="4" y="72"/>
                  </a:lnTo>
                  <a:lnTo>
                    <a:pt x="4" y="76"/>
                  </a:lnTo>
                  <a:lnTo>
                    <a:pt x="4" y="76"/>
                  </a:lnTo>
                  <a:lnTo>
                    <a:pt x="10" y="74"/>
                  </a:lnTo>
                  <a:lnTo>
                    <a:pt x="10" y="74"/>
                  </a:lnTo>
                  <a:lnTo>
                    <a:pt x="14" y="78"/>
                  </a:lnTo>
                  <a:lnTo>
                    <a:pt x="14" y="78"/>
                  </a:lnTo>
                  <a:lnTo>
                    <a:pt x="14" y="86"/>
                  </a:lnTo>
                  <a:lnTo>
                    <a:pt x="14" y="94"/>
                  </a:lnTo>
                  <a:lnTo>
                    <a:pt x="14" y="94"/>
                  </a:lnTo>
                  <a:lnTo>
                    <a:pt x="24" y="94"/>
                  </a:lnTo>
                  <a:lnTo>
                    <a:pt x="24" y="94"/>
                  </a:lnTo>
                  <a:lnTo>
                    <a:pt x="24" y="98"/>
                  </a:lnTo>
                  <a:lnTo>
                    <a:pt x="24" y="100"/>
                  </a:lnTo>
                  <a:lnTo>
                    <a:pt x="24" y="100"/>
                  </a:lnTo>
                  <a:lnTo>
                    <a:pt x="30" y="98"/>
                  </a:lnTo>
                  <a:lnTo>
                    <a:pt x="30" y="98"/>
                  </a:lnTo>
                  <a:lnTo>
                    <a:pt x="32" y="102"/>
                  </a:lnTo>
                  <a:lnTo>
                    <a:pt x="32" y="102"/>
                  </a:lnTo>
                  <a:lnTo>
                    <a:pt x="34" y="102"/>
                  </a:lnTo>
                  <a:lnTo>
                    <a:pt x="38" y="102"/>
                  </a:lnTo>
                  <a:lnTo>
                    <a:pt x="38" y="102"/>
                  </a:lnTo>
                  <a:lnTo>
                    <a:pt x="38" y="104"/>
                  </a:lnTo>
                  <a:lnTo>
                    <a:pt x="38" y="106"/>
                  </a:lnTo>
                  <a:lnTo>
                    <a:pt x="38" y="106"/>
                  </a:lnTo>
                  <a:lnTo>
                    <a:pt x="48" y="116"/>
                  </a:lnTo>
                  <a:lnTo>
                    <a:pt x="48" y="116"/>
                  </a:lnTo>
                  <a:lnTo>
                    <a:pt x="56" y="110"/>
                  </a:lnTo>
                  <a:lnTo>
                    <a:pt x="60" y="100"/>
                  </a:lnTo>
                  <a:lnTo>
                    <a:pt x="60" y="100"/>
                  </a:lnTo>
                  <a:lnTo>
                    <a:pt x="70" y="102"/>
                  </a:lnTo>
                  <a:lnTo>
                    <a:pt x="78" y="106"/>
                  </a:lnTo>
                  <a:lnTo>
                    <a:pt x="78" y="106"/>
                  </a:lnTo>
                  <a:lnTo>
                    <a:pt x="82" y="110"/>
                  </a:lnTo>
                  <a:lnTo>
                    <a:pt x="86" y="112"/>
                  </a:lnTo>
                  <a:lnTo>
                    <a:pt x="86" y="112"/>
                  </a:lnTo>
                  <a:lnTo>
                    <a:pt x="92" y="114"/>
                  </a:lnTo>
                  <a:lnTo>
                    <a:pt x="98" y="112"/>
                  </a:lnTo>
                  <a:lnTo>
                    <a:pt x="108" y="108"/>
                  </a:lnTo>
                  <a:lnTo>
                    <a:pt x="108" y="108"/>
                  </a:lnTo>
                  <a:lnTo>
                    <a:pt x="110" y="106"/>
                  </a:lnTo>
                  <a:lnTo>
                    <a:pt x="112" y="102"/>
                  </a:lnTo>
                  <a:lnTo>
                    <a:pt x="112" y="102"/>
                  </a:lnTo>
                  <a:lnTo>
                    <a:pt x="116" y="102"/>
                  </a:lnTo>
                  <a:lnTo>
                    <a:pt x="120" y="104"/>
                  </a:lnTo>
                  <a:lnTo>
                    <a:pt x="126" y="96"/>
                  </a:lnTo>
                  <a:lnTo>
                    <a:pt x="126" y="96"/>
                  </a:lnTo>
                  <a:lnTo>
                    <a:pt x="128" y="96"/>
                  </a:lnTo>
                  <a:lnTo>
                    <a:pt x="128" y="96"/>
                  </a:lnTo>
                  <a:lnTo>
                    <a:pt x="130" y="102"/>
                  </a:lnTo>
                  <a:lnTo>
                    <a:pt x="128" y="106"/>
                  </a:lnTo>
                  <a:lnTo>
                    <a:pt x="128" y="106"/>
                  </a:lnTo>
                  <a:lnTo>
                    <a:pt x="126" y="108"/>
                  </a:lnTo>
                  <a:lnTo>
                    <a:pt x="126" y="108"/>
                  </a:lnTo>
                  <a:lnTo>
                    <a:pt x="126" y="112"/>
                  </a:lnTo>
                  <a:lnTo>
                    <a:pt x="126" y="112"/>
                  </a:lnTo>
                  <a:lnTo>
                    <a:pt x="126" y="112"/>
                  </a:lnTo>
                  <a:lnTo>
                    <a:pt x="126" y="116"/>
                  </a:lnTo>
                  <a:lnTo>
                    <a:pt x="126" y="116"/>
                  </a:lnTo>
                  <a:lnTo>
                    <a:pt x="128" y="118"/>
                  </a:lnTo>
                  <a:lnTo>
                    <a:pt x="128" y="1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1" name="Freeform 28"/>
            <p:cNvSpPr>
              <a:spLocks noChangeAspect="1"/>
            </p:cNvSpPr>
            <p:nvPr/>
          </p:nvSpPr>
          <p:spPr bwMode="gray">
            <a:xfrm>
              <a:off x="6516258" y="3878191"/>
              <a:ext cx="166611" cy="404662"/>
            </a:xfrm>
            <a:custGeom>
              <a:avLst/>
              <a:gdLst/>
              <a:ahLst/>
              <a:cxnLst>
                <a:cxn ang="0">
                  <a:pos x="38" y="6"/>
                </a:cxn>
                <a:cxn ang="0">
                  <a:pos x="40" y="18"/>
                </a:cxn>
                <a:cxn ang="0">
                  <a:pos x="44" y="26"/>
                </a:cxn>
                <a:cxn ang="0">
                  <a:pos x="48" y="38"/>
                </a:cxn>
                <a:cxn ang="0">
                  <a:pos x="62" y="26"/>
                </a:cxn>
                <a:cxn ang="0">
                  <a:pos x="68" y="32"/>
                </a:cxn>
                <a:cxn ang="0">
                  <a:pos x="86" y="44"/>
                </a:cxn>
                <a:cxn ang="0">
                  <a:pos x="90" y="62"/>
                </a:cxn>
                <a:cxn ang="0">
                  <a:pos x="96" y="76"/>
                </a:cxn>
                <a:cxn ang="0">
                  <a:pos x="94" y="88"/>
                </a:cxn>
                <a:cxn ang="0">
                  <a:pos x="80" y="100"/>
                </a:cxn>
                <a:cxn ang="0">
                  <a:pos x="64" y="104"/>
                </a:cxn>
                <a:cxn ang="0">
                  <a:pos x="60" y="124"/>
                </a:cxn>
                <a:cxn ang="0">
                  <a:pos x="66" y="148"/>
                </a:cxn>
                <a:cxn ang="0">
                  <a:pos x="64" y="144"/>
                </a:cxn>
                <a:cxn ang="0">
                  <a:pos x="60" y="138"/>
                </a:cxn>
                <a:cxn ang="0">
                  <a:pos x="56" y="132"/>
                </a:cxn>
                <a:cxn ang="0">
                  <a:pos x="46" y="126"/>
                </a:cxn>
                <a:cxn ang="0">
                  <a:pos x="42" y="118"/>
                </a:cxn>
                <a:cxn ang="0">
                  <a:pos x="32" y="114"/>
                </a:cxn>
                <a:cxn ang="0">
                  <a:pos x="30" y="116"/>
                </a:cxn>
                <a:cxn ang="0">
                  <a:pos x="30" y="130"/>
                </a:cxn>
                <a:cxn ang="0">
                  <a:pos x="30" y="140"/>
                </a:cxn>
                <a:cxn ang="0">
                  <a:pos x="28" y="144"/>
                </a:cxn>
                <a:cxn ang="0">
                  <a:pos x="24" y="162"/>
                </a:cxn>
                <a:cxn ang="0">
                  <a:pos x="20" y="180"/>
                </a:cxn>
                <a:cxn ang="0">
                  <a:pos x="24" y="186"/>
                </a:cxn>
                <a:cxn ang="0">
                  <a:pos x="28" y="198"/>
                </a:cxn>
                <a:cxn ang="0">
                  <a:pos x="32" y="196"/>
                </a:cxn>
                <a:cxn ang="0">
                  <a:pos x="36" y="214"/>
                </a:cxn>
                <a:cxn ang="0">
                  <a:pos x="44" y="216"/>
                </a:cxn>
                <a:cxn ang="0">
                  <a:pos x="48" y="220"/>
                </a:cxn>
                <a:cxn ang="0">
                  <a:pos x="52" y="226"/>
                </a:cxn>
                <a:cxn ang="0">
                  <a:pos x="56" y="234"/>
                </a:cxn>
                <a:cxn ang="0">
                  <a:pos x="48" y="242"/>
                </a:cxn>
                <a:cxn ang="0">
                  <a:pos x="44" y="240"/>
                </a:cxn>
                <a:cxn ang="0">
                  <a:pos x="32" y="238"/>
                </a:cxn>
                <a:cxn ang="0">
                  <a:pos x="30" y="222"/>
                </a:cxn>
                <a:cxn ang="0">
                  <a:pos x="28" y="218"/>
                </a:cxn>
                <a:cxn ang="0">
                  <a:pos x="22" y="212"/>
                </a:cxn>
                <a:cxn ang="0">
                  <a:pos x="10" y="196"/>
                </a:cxn>
                <a:cxn ang="0">
                  <a:pos x="10" y="182"/>
                </a:cxn>
                <a:cxn ang="0">
                  <a:pos x="16" y="174"/>
                </a:cxn>
                <a:cxn ang="0">
                  <a:pos x="14" y="168"/>
                </a:cxn>
                <a:cxn ang="0">
                  <a:pos x="12" y="162"/>
                </a:cxn>
                <a:cxn ang="0">
                  <a:pos x="16" y="152"/>
                </a:cxn>
                <a:cxn ang="0">
                  <a:pos x="20" y="138"/>
                </a:cxn>
                <a:cxn ang="0">
                  <a:pos x="22" y="112"/>
                </a:cxn>
                <a:cxn ang="0">
                  <a:pos x="6" y="80"/>
                </a:cxn>
                <a:cxn ang="0">
                  <a:pos x="8" y="64"/>
                </a:cxn>
                <a:cxn ang="0">
                  <a:pos x="2" y="36"/>
                </a:cxn>
                <a:cxn ang="0">
                  <a:pos x="2" y="16"/>
                </a:cxn>
                <a:cxn ang="0">
                  <a:pos x="14" y="10"/>
                </a:cxn>
                <a:cxn ang="0">
                  <a:pos x="20" y="0"/>
                </a:cxn>
              </a:cxnLst>
              <a:rect l="0" t="0" r="r" b="b"/>
              <a:pathLst>
                <a:path w="98" h="246">
                  <a:moveTo>
                    <a:pt x="34" y="2"/>
                  </a:moveTo>
                  <a:lnTo>
                    <a:pt x="34" y="6"/>
                  </a:lnTo>
                  <a:lnTo>
                    <a:pt x="38" y="6"/>
                  </a:lnTo>
                  <a:lnTo>
                    <a:pt x="42" y="6"/>
                  </a:lnTo>
                  <a:lnTo>
                    <a:pt x="44" y="10"/>
                  </a:lnTo>
                  <a:lnTo>
                    <a:pt x="40" y="18"/>
                  </a:lnTo>
                  <a:lnTo>
                    <a:pt x="42" y="20"/>
                  </a:lnTo>
                  <a:lnTo>
                    <a:pt x="42" y="24"/>
                  </a:lnTo>
                  <a:lnTo>
                    <a:pt x="44" y="26"/>
                  </a:lnTo>
                  <a:lnTo>
                    <a:pt x="46" y="32"/>
                  </a:lnTo>
                  <a:lnTo>
                    <a:pt x="44" y="36"/>
                  </a:lnTo>
                  <a:lnTo>
                    <a:pt x="48" y="38"/>
                  </a:lnTo>
                  <a:lnTo>
                    <a:pt x="52" y="36"/>
                  </a:lnTo>
                  <a:lnTo>
                    <a:pt x="54" y="32"/>
                  </a:lnTo>
                  <a:lnTo>
                    <a:pt x="62" y="26"/>
                  </a:lnTo>
                  <a:lnTo>
                    <a:pt x="66" y="28"/>
                  </a:lnTo>
                  <a:lnTo>
                    <a:pt x="66" y="30"/>
                  </a:lnTo>
                  <a:lnTo>
                    <a:pt x="68" y="32"/>
                  </a:lnTo>
                  <a:lnTo>
                    <a:pt x="74" y="36"/>
                  </a:lnTo>
                  <a:lnTo>
                    <a:pt x="80" y="36"/>
                  </a:lnTo>
                  <a:lnTo>
                    <a:pt x="86" y="44"/>
                  </a:lnTo>
                  <a:lnTo>
                    <a:pt x="86" y="50"/>
                  </a:lnTo>
                  <a:lnTo>
                    <a:pt x="86" y="58"/>
                  </a:lnTo>
                  <a:lnTo>
                    <a:pt x="90" y="62"/>
                  </a:lnTo>
                  <a:lnTo>
                    <a:pt x="94" y="66"/>
                  </a:lnTo>
                  <a:lnTo>
                    <a:pt x="96" y="70"/>
                  </a:lnTo>
                  <a:lnTo>
                    <a:pt x="96" y="76"/>
                  </a:lnTo>
                  <a:lnTo>
                    <a:pt x="98" y="78"/>
                  </a:lnTo>
                  <a:lnTo>
                    <a:pt x="96" y="84"/>
                  </a:lnTo>
                  <a:lnTo>
                    <a:pt x="94" y="88"/>
                  </a:lnTo>
                  <a:lnTo>
                    <a:pt x="90" y="92"/>
                  </a:lnTo>
                  <a:lnTo>
                    <a:pt x="86" y="96"/>
                  </a:lnTo>
                  <a:lnTo>
                    <a:pt x="80" y="100"/>
                  </a:lnTo>
                  <a:lnTo>
                    <a:pt x="76" y="100"/>
                  </a:lnTo>
                  <a:lnTo>
                    <a:pt x="70" y="100"/>
                  </a:lnTo>
                  <a:lnTo>
                    <a:pt x="64" y="104"/>
                  </a:lnTo>
                  <a:lnTo>
                    <a:pt x="60" y="106"/>
                  </a:lnTo>
                  <a:lnTo>
                    <a:pt x="60" y="114"/>
                  </a:lnTo>
                  <a:lnTo>
                    <a:pt x="60" y="124"/>
                  </a:lnTo>
                  <a:lnTo>
                    <a:pt x="64" y="130"/>
                  </a:lnTo>
                  <a:lnTo>
                    <a:pt x="66" y="138"/>
                  </a:lnTo>
                  <a:lnTo>
                    <a:pt x="66" y="148"/>
                  </a:lnTo>
                  <a:lnTo>
                    <a:pt x="66" y="148"/>
                  </a:lnTo>
                  <a:lnTo>
                    <a:pt x="64" y="144"/>
                  </a:lnTo>
                  <a:lnTo>
                    <a:pt x="64" y="144"/>
                  </a:lnTo>
                  <a:lnTo>
                    <a:pt x="62" y="140"/>
                  </a:lnTo>
                  <a:lnTo>
                    <a:pt x="62" y="140"/>
                  </a:lnTo>
                  <a:lnTo>
                    <a:pt x="60" y="138"/>
                  </a:lnTo>
                  <a:lnTo>
                    <a:pt x="58" y="138"/>
                  </a:lnTo>
                  <a:lnTo>
                    <a:pt x="58" y="138"/>
                  </a:lnTo>
                  <a:lnTo>
                    <a:pt x="56" y="132"/>
                  </a:lnTo>
                  <a:lnTo>
                    <a:pt x="52" y="126"/>
                  </a:lnTo>
                  <a:lnTo>
                    <a:pt x="52" y="126"/>
                  </a:lnTo>
                  <a:lnTo>
                    <a:pt x="46" y="126"/>
                  </a:lnTo>
                  <a:lnTo>
                    <a:pt x="46" y="126"/>
                  </a:lnTo>
                  <a:lnTo>
                    <a:pt x="44" y="120"/>
                  </a:lnTo>
                  <a:lnTo>
                    <a:pt x="42" y="118"/>
                  </a:lnTo>
                  <a:lnTo>
                    <a:pt x="38" y="116"/>
                  </a:lnTo>
                  <a:lnTo>
                    <a:pt x="32" y="114"/>
                  </a:lnTo>
                  <a:lnTo>
                    <a:pt x="32" y="114"/>
                  </a:lnTo>
                  <a:lnTo>
                    <a:pt x="32" y="116"/>
                  </a:lnTo>
                  <a:lnTo>
                    <a:pt x="30" y="116"/>
                  </a:lnTo>
                  <a:lnTo>
                    <a:pt x="30" y="116"/>
                  </a:lnTo>
                  <a:lnTo>
                    <a:pt x="30" y="122"/>
                  </a:lnTo>
                  <a:lnTo>
                    <a:pt x="30" y="126"/>
                  </a:lnTo>
                  <a:lnTo>
                    <a:pt x="30" y="130"/>
                  </a:lnTo>
                  <a:lnTo>
                    <a:pt x="30" y="136"/>
                  </a:lnTo>
                  <a:lnTo>
                    <a:pt x="30" y="136"/>
                  </a:lnTo>
                  <a:lnTo>
                    <a:pt x="30" y="140"/>
                  </a:lnTo>
                  <a:lnTo>
                    <a:pt x="30" y="140"/>
                  </a:lnTo>
                  <a:lnTo>
                    <a:pt x="28" y="144"/>
                  </a:lnTo>
                  <a:lnTo>
                    <a:pt x="28" y="144"/>
                  </a:lnTo>
                  <a:lnTo>
                    <a:pt x="26" y="152"/>
                  </a:lnTo>
                  <a:lnTo>
                    <a:pt x="26" y="160"/>
                  </a:lnTo>
                  <a:lnTo>
                    <a:pt x="24" y="162"/>
                  </a:lnTo>
                  <a:lnTo>
                    <a:pt x="24" y="162"/>
                  </a:lnTo>
                  <a:lnTo>
                    <a:pt x="22" y="172"/>
                  </a:lnTo>
                  <a:lnTo>
                    <a:pt x="20" y="180"/>
                  </a:lnTo>
                  <a:lnTo>
                    <a:pt x="22" y="184"/>
                  </a:lnTo>
                  <a:lnTo>
                    <a:pt x="22" y="184"/>
                  </a:lnTo>
                  <a:lnTo>
                    <a:pt x="24" y="186"/>
                  </a:lnTo>
                  <a:lnTo>
                    <a:pt x="26" y="188"/>
                  </a:lnTo>
                  <a:lnTo>
                    <a:pt x="26" y="188"/>
                  </a:lnTo>
                  <a:lnTo>
                    <a:pt x="28" y="198"/>
                  </a:lnTo>
                  <a:lnTo>
                    <a:pt x="28" y="198"/>
                  </a:lnTo>
                  <a:lnTo>
                    <a:pt x="30" y="198"/>
                  </a:lnTo>
                  <a:lnTo>
                    <a:pt x="32" y="196"/>
                  </a:lnTo>
                  <a:lnTo>
                    <a:pt x="32" y="196"/>
                  </a:lnTo>
                  <a:lnTo>
                    <a:pt x="34" y="208"/>
                  </a:lnTo>
                  <a:lnTo>
                    <a:pt x="36" y="214"/>
                  </a:lnTo>
                  <a:lnTo>
                    <a:pt x="40" y="216"/>
                  </a:lnTo>
                  <a:lnTo>
                    <a:pt x="40" y="216"/>
                  </a:lnTo>
                  <a:lnTo>
                    <a:pt x="44" y="216"/>
                  </a:lnTo>
                  <a:lnTo>
                    <a:pt x="48" y="218"/>
                  </a:lnTo>
                  <a:lnTo>
                    <a:pt x="48" y="218"/>
                  </a:lnTo>
                  <a:lnTo>
                    <a:pt x="48" y="220"/>
                  </a:lnTo>
                  <a:lnTo>
                    <a:pt x="48" y="222"/>
                  </a:lnTo>
                  <a:lnTo>
                    <a:pt x="48" y="222"/>
                  </a:lnTo>
                  <a:lnTo>
                    <a:pt x="52" y="226"/>
                  </a:lnTo>
                  <a:lnTo>
                    <a:pt x="54" y="228"/>
                  </a:lnTo>
                  <a:lnTo>
                    <a:pt x="54" y="228"/>
                  </a:lnTo>
                  <a:lnTo>
                    <a:pt x="56" y="234"/>
                  </a:lnTo>
                  <a:lnTo>
                    <a:pt x="54" y="236"/>
                  </a:lnTo>
                  <a:lnTo>
                    <a:pt x="54" y="244"/>
                  </a:lnTo>
                  <a:lnTo>
                    <a:pt x="48" y="242"/>
                  </a:lnTo>
                  <a:lnTo>
                    <a:pt x="48" y="246"/>
                  </a:lnTo>
                  <a:lnTo>
                    <a:pt x="44" y="246"/>
                  </a:lnTo>
                  <a:lnTo>
                    <a:pt x="44" y="240"/>
                  </a:lnTo>
                  <a:lnTo>
                    <a:pt x="38" y="236"/>
                  </a:lnTo>
                  <a:lnTo>
                    <a:pt x="32" y="238"/>
                  </a:lnTo>
                  <a:lnTo>
                    <a:pt x="32" y="238"/>
                  </a:lnTo>
                  <a:lnTo>
                    <a:pt x="32" y="230"/>
                  </a:lnTo>
                  <a:lnTo>
                    <a:pt x="30" y="222"/>
                  </a:lnTo>
                  <a:lnTo>
                    <a:pt x="30" y="222"/>
                  </a:lnTo>
                  <a:lnTo>
                    <a:pt x="28" y="220"/>
                  </a:lnTo>
                  <a:lnTo>
                    <a:pt x="28" y="220"/>
                  </a:lnTo>
                  <a:lnTo>
                    <a:pt x="28" y="218"/>
                  </a:lnTo>
                  <a:lnTo>
                    <a:pt x="26" y="214"/>
                  </a:lnTo>
                  <a:lnTo>
                    <a:pt x="26" y="214"/>
                  </a:lnTo>
                  <a:lnTo>
                    <a:pt x="22" y="212"/>
                  </a:lnTo>
                  <a:lnTo>
                    <a:pt x="22" y="212"/>
                  </a:lnTo>
                  <a:lnTo>
                    <a:pt x="14" y="202"/>
                  </a:lnTo>
                  <a:lnTo>
                    <a:pt x="10" y="196"/>
                  </a:lnTo>
                  <a:lnTo>
                    <a:pt x="10" y="190"/>
                  </a:lnTo>
                  <a:lnTo>
                    <a:pt x="10" y="190"/>
                  </a:lnTo>
                  <a:lnTo>
                    <a:pt x="10" y="182"/>
                  </a:lnTo>
                  <a:lnTo>
                    <a:pt x="12" y="176"/>
                  </a:lnTo>
                  <a:lnTo>
                    <a:pt x="12" y="176"/>
                  </a:lnTo>
                  <a:lnTo>
                    <a:pt x="16" y="174"/>
                  </a:lnTo>
                  <a:lnTo>
                    <a:pt x="16" y="174"/>
                  </a:lnTo>
                  <a:lnTo>
                    <a:pt x="14" y="172"/>
                  </a:lnTo>
                  <a:lnTo>
                    <a:pt x="14" y="168"/>
                  </a:lnTo>
                  <a:lnTo>
                    <a:pt x="12" y="166"/>
                  </a:lnTo>
                  <a:lnTo>
                    <a:pt x="12" y="162"/>
                  </a:lnTo>
                  <a:lnTo>
                    <a:pt x="12" y="162"/>
                  </a:lnTo>
                  <a:lnTo>
                    <a:pt x="16" y="156"/>
                  </a:lnTo>
                  <a:lnTo>
                    <a:pt x="16" y="156"/>
                  </a:lnTo>
                  <a:lnTo>
                    <a:pt x="16" y="152"/>
                  </a:lnTo>
                  <a:lnTo>
                    <a:pt x="18" y="152"/>
                  </a:lnTo>
                  <a:lnTo>
                    <a:pt x="18" y="146"/>
                  </a:lnTo>
                  <a:lnTo>
                    <a:pt x="20" y="138"/>
                  </a:lnTo>
                  <a:lnTo>
                    <a:pt x="26" y="130"/>
                  </a:lnTo>
                  <a:lnTo>
                    <a:pt x="26" y="122"/>
                  </a:lnTo>
                  <a:lnTo>
                    <a:pt x="22" y="112"/>
                  </a:lnTo>
                  <a:lnTo>
                    <a:pt x="14" y="104"/>
                  </a:lnTo>
                  <a:lnTo>
                    <a:pt x="10" y="92"/>
                  </a:lnTo>
                  <a:lnTo>
                    <a:pt x="6" y="80"/>
                  </a:lnTo>
                  <a:lnTo>
                    <a:pt x="14" y="76"/>
                  </a:lnTo>
                  <a:lnTo>
                    <a:pt x="14" y="70"/>
                  </a:lnTo>
                  <a:lnTo>
                    <a:pt x="8" y="64"/>
                  </a:lnTo>
                  <a:lnTo>
                    <a:pt x="2" y="56"/>
                  </a:lnTo>
                  <a:lnTo>
                    <a:pt x="0" y="44"/>
                  </a:lnTo>
                  <a:lnTo>
                    <a:pt x="2" y="36"/>
                  </a:lnTo>
                  <a:lnTo>
                    <a:pt x="2" y="30"/>
                  </a:lnTo>
                  <a:lnTo>
                    <a:pt x="0" y="22"/>
                  </a:lnTo>
                  <a:lnTo>
                    <a:pt x="2" y="16"/>
                  </a:lnTo>
                  <a:lnTo>
                    <a:pt x="6" y="16"/>
                  </a:lnTo>
                  <a:lnTo>
                    <a:pt x="10" y="10"/>
                  </a:lnTo>
                  <a:lnTo>
                    <a:pt x="14" y="10"/>
                  </a:lnTo>
                  <a:lnTo>
                    <a:pt x="14" y="6"/>
                  </a:lnTo>
                  <a:lnTo>
                    <a:pt x="16" y="0"/>
                  </a:lnTo>
                  <a:lnTo>
                    <a:pt x="20" y="0"/>
                  </a:lnTo>
                  <a:lnTo>
                    <a:pt x="24" y="2"/>
                  </a:lnTo>
                  <a:lnTo>
                    <a:pt x="34"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2" name="Freeform 30"/>
            <p:cNvSpPr>
              <a:spLocks noChangeAspect="1"/>
            </p:cNvSpPr>
            <p:nvPr/>
          </p:nvSpPr>
          <p:spPr bwMode="gray">
            <a:xfrm>
              <a:off x="5815811" y="3266262"/>
              <a:ext cx="170011" cy="151337"/>
            </a:xfrm>
            <a:custGeom>
              <a:avLst/>
              <a:gdLst/>
              <a:ahLst/>
              <a:cxnLst>
                <a:cxn ang="0">
                  <a:pos x="42" y="8"/>
                </a:cxn>
                <a:cxn ang="0">
                  <a:pos x="46" y="0"/>
                </a:cxn>
                <a:cxn ang="0">
                  <a:pos x="42" y="0"/>
                </a:cxn>
                <a:cxn ang="0">
                  <a:pos x="38" y="2"/>
                </a:cxn>
                <a:cxn ang="0">
                  <a:pos x="36" y="6"/>
                </a:cxn>
                <a:cxn ang="0">
                  <a:pos x="34" y="6"/>
                </a:cxn>
                <a:cxn ang="0">
                  <a:pos x="28" y="0"/>
                </a:cxn>
                <a:cxn ang="0">
                  <a:pos x="26" y="0"/>
                </a:cxn>
                <a:cxn ang="0">
                  <a:pos x="22" y="2"/>
                </a:cxn>
                <a:cxn ang="0">
                  <a:pos x="24" y="8"/>
                </a:cxn>
                <a:cxn ang="0">
                  <a:pos x="26" y="10"/>
                </a:cxn>
                <a:cxn ang="0">
                  <a:pos x="26" y="12"/>
                </a:cxn>
                <a:cxn ang="0">
                  <a:pos x="24" y="14"/>
                </a:cxn>
                <a:cxn ang="0">
                  <a:pos x="20" y="18"/>
                </a:cxn>
                <a:cxn ang="0">
                  <a:pos x="20" y="22"/>
                </a:cxn>
                <a:cxn ang="0">
                  <a:pos x="22" y="20"/>
                </a:cxn>
                <a:cxn ang="0">
                  <a:pos x="20" y="24"/>
                </a:cxn>
                <a:cxn ang="0">
                  <a:pos x="20" y="24"/>
                </a:cxn>
                <a:cxn ang="0">
                  <a:pos x="12" y="30"/>
                </a:cxn>
                <a:cxn ang="0">
                  <a:pos x="10" y="30"/>
                </a:cxn>
                <a:cxn ang="0">
                  <a:pos x="8" y="28"/>
                </a:cxn>
                <a:cxn ang="0">
                  <a:pos x="4" y="28"/>
                </a:cxn>
                <a:cxn ang="0">
                  <a:pos x="0" y="34"/>
                </a:cxn>
                <a:cxn ang="0">
                  <a:pos x="2" y="36"/>
                </a:cxn>
                <a:cxn ang="0">
                  <a:pos x="8" y="40"/>
                </a:cxn>
                <a:cxn ang="0">
                  <a:pos x="14" y="40"/>
                </a:cxn>
                <a:cxn ang="0">
                  <a:pos x="16" y="42"/>
                </a:cxn>
                <a:cxn ang="0">
                  <a:pos x="12" y="48"/>
                </a:cxn>
                <a:cxn ang="0">
                  <a:pos x="14" y="52"/>
                </a:cxn>
                <a:cxn ang="0">
                  <a:pos x="16" y="54"/>
                </a:cxn>
                <a:cxn ang="0">
                  <a:pos x="14" y="58"/>
                </a:cxn>
                <a:cxn ang="0">
                  <a:pos x="10" y="62"/>
                </a:cxn>
                <a:cxn ang="0">
                  <a:pos x="6" y="70"/>
                </a:cxn>
                <a:cxn ang="0">
                  <a:pos x="16" y="70"/>
                </a:cxn>
                <a:cxn ang="0">
                  <a:pos x="24" y="64"/>
                </a:cxn>
                <a:cxn ang="0">
                  <a:pos x="32" y="62"/>
                </a:cxn>
                <a:cxn ang="0">
                  <a:pos x="38" y="72"/>
                </a:cxn>
                <a:cxn ang="0">
                  <a:pos x="34" y="86"/>
                </a:cxn>
                <a:cxn ang="0">
                  <a:pos x="46" y="90"/>
                </a:cxn>
                <a:cxn ang="0">
                  <a:pos x="56" y="80"/>
                </a:cxn>
                <a:cxn ang="0">
                  <a:pos x="70" y="74"/>
                </a:cxn>
                <a:cxn ang="0">
                  <a:pos x="84" y="74"/>
                </a:cxn>
                <a:cxn ang="0">
                  <a:pos x="100" y="72"/>
                </a:cxn>
                <a:cxn ang="0">
                  <a:pos x="96" y="64"/>
                </a:cxn>
                <a:cxn ang="0">
                  <a:pos x="92" y="50"/>
                </a:cxn>
                <a:cxn ang="0">
                  <a:pos x="94" y="40"/>
                </a:cxn>
                <a:cxn ang="0">
                  <a:pos x="84" y="42"/>
                </a:cxn>
                <a:cxn ang="0">
                  <a:pos x="80" y="34"/>
                </a:cxn>
                <a:cxn ang="0">
                  <a:pos x="80" y="28"/>
                </a:cxn>
                <a:cxn ang="0">
                  <a:pos x="74" y="26"/>
                </a:cxn>
                <a:cxn ang="0">
                  <a:pos x="68" y="28"/>
                </a:cxn>
                <a:cxn ang="0">
                  <a:pos x="60" y="28"/>
                </a:cxn>
                <a:cxn ang="0">
                  <a:pos x="58" y="28"/>
                </a:cxn>
                <a:cxn ang="0">
                  <a:pos x="54" y="26"/>
                </a:cxn>
                <a:cxn ang="0">
                  <a:pos x="52" y="24"/>
                </a:cxn>
                <a:cxn ang="0">
                  <a:pos x="46" y="26"/>
                </a:cxn>
                <a:cxn ang="0">
                  <a:pos x="44" y="26"/>
                </a:cxn>
                <a:cxn ang="0">
                  <a:pos x="42" y="22"/>
                </a:cxn>
                <a:cxn ang="0">
                  <a:pos x="28" y="18"/>
                </a:cxn>
                <a:cxn ang="0">
                  <a:pos x="42" y="18"/>
                </a:cxn>
              </a:cxnLst>
              <a:rect l="0" t="0" r="r" b="b"/>
              <a:pathLst>
                <a:path w="100" h="92">
                  <a:moveTo>
                    <a:pt x="42" y="16"/>
                  </a:moveTo>
                  <a:lnTo>
                    <a:pt x="42" y="8"/>
                  </a:lnTo>
                  <a:lnTo>
                    <a:pt x="48" y="6"/>
                  </a:lnTo>
                  <a:lnTo>
                    <a:pt x="46" y="0"/>
                  </a:lnTo>
                  <a:lnTo>
                    <a:pt x="46" y="0"/>
                  </a:lnTo>
                  <a:lnTo>
                    <a:pt x="42" y="0"/>
                  </a:lnTo>
                  <a:lnTo>
                    <a:pt x="38" y="2"/>
                  </a:lnTo>
                  <a:lnTo>
                    <a:pt x="38" y="2"/>
                  </a:lnTo>
                  <a:lnTo>
                    <a:pt x="38" y="4"/>
                  </a:lnTo>
                  <a:lnTo>
                    <a:pt x="36" y="6"/>
                  </a:lnTo>
                  <a:lnTo>
                    <a:pt x="34" y="6"/>
                  </a:lnTo>
                  <a:lnTo>
                    <a:pt x="34" y="6"/>
                  </a:lnTo>
                  <a:lnTo>
                    <a:pt x="30" y="2"/>
                  </a:lnTo>
                  <a:lnTo>
                    <a:pt x="28" y="0"/>
                  </a:lnTo>
                  <a:lnTo>
                    <a:pt x="28" y="0"/>
                  </a:lnTo>
                  <a:lnTo>
                    <a:pt x="26" y="0"/>
                  </a:lnTo>
                  <a:lnTo>
                    <a:pt x="24" y="2"/>
                  </a:lnTo>
                  <a:lnTo>
                    <a:pt x="22" y="2"/>
                  </a:lnTo>
                  <a:lnTo>
                    <a:pt x="22" y="2"/>
                  </a:lnTo>
                  <a:lnTo>
                    <a:pt x="24" y="8"/>
                  </a:lnTo>
                  <a:lnTo>
                    <a:pt x="26" y="10"/>
                  </a:lnTo>
                  <a:lnTo>
                    <a:pt x="26" y="10"/>
                  </a:lnTo>
                  <a:lnTo>
                    <a:pt x="26" y="12"/>
                  </a:lnTo>
                  <a:lnTo>
                    <a:pt x="26" y="12"/>
                  </a:lnTo>
                  <a:lnTo>
                    <a:pt x="24" y="14"/>
                  </a:lnTo>
                  <a:lnTo>
                    <a:pt x="24" y="14"/>
                  </a:lnTo>
                  <a:lnTo>
                    <a:pt x="22" y="16"/>
                  </a:lnTo>
                  <a:lnTo>
                    <a:pt x="20" y="18"/>
                  </a:lnTo>
                  <a:lnTo>
                    <a:pt x="20" y="22"/>
                  </a:lnTo>
                  <a:lnTo>
                    <a:pt x="20" y="22"/>
                  </a:lnTo>
                  <a:lnTo>
                    <a:pt x="20" y="22"/>
                  </a:lnTo>
                  <a:lnTo>
                    <a:pt x="22" y="20"/>
                  </a:lnTo>
                  <a:lnTo>
                    <a:pt x="22" y="22"/>
                  </a:lnTo>
                  <a:lnTo>
                    <a:pt x="20" y="24"/>
                  </a:lnTo>
                  <a:lnTo>
                    <a:pt x="20" y="24"/>
                  </a:lnTo>
                  <a:lnTo>
                    <a:pt x="20" y="24"/>
                  </a:lnTo>
                  <a:lnTo>
                    <a:pt x="14" y="28"/>
                  </a:lnTo>
                  <a:lnTo>
                    <a:pt x="12" y="30"/>
                  </a:lnTo>
                  <a:lnTo>
                    <a:pt x="10" y="30"/>
                  </a:lnTo>
                  <a:lnTo>
                    <a:pt x="10" y="30"/>
                  </a:lnTo>
                  <a:lnTo>
                    <a:pt x="10" y="28"/>
                  </a:lnTo>
                  <a:lnTo>
                    <a:pt x="8" y="28"/>
                  </a:lnTo>
                  <a:lnTo>
                    <a:pt x="4" y="28"/>
                  </a:lnTo>
                  <a:lnTo>
                    <a:pt x="4" y="28"/>
                  </a:lnTo>
                  <a:lnTo>
                    <a:pt x="0" y="32"/>
                  </a:lnTo>
                  <a:lnTo>
                    <a:pt x="0" y="34"/>
                  </a:lnTo>
                  <a:lnTo>
                    <a:pt x="2" y="36"/>
                  </a:lnTo>
                  <a:lnTo>
                    <a:pt x="2" y="36"/>
                  </a:lnTo>
                  <a:lnTo>
                    <a:pt x="6" y="40"/>
                  </a:lnTo>
                  <a:lnTo>
                    <a:pt x="8" y="40"/>
                  </a:lnTo>
                  <a:lnTo>
                    <a:pt x="8" y="40"/>
                  </a:lnTo>
                  <a:lnTo>
                    <a:pt x="14" y="40"/>
                  </a:lnTo>
                  <a:lnTo>
                    <a:pt x="16" y="40"/>
                  </a:lnTo>
                  <a:lnTo>
                    <a:pt x="16" y="42"/>
                  </a:lnTo>
                  <a:lnTo>
                    <a:pt x="16" y="42"/>
                  </a:lnTo>
                  <a:lnTo>
                    <a:pt x="12" y="48"/>
                  </a:lnTo>
                  <a:lnTo>
                    <a:pt x="12" y="50"/>
                  </a:lnTo>
                  <a:lnTo>
                    <a:pt x="14" y="52"/>
                  </a:lnTo>
                  <a:lnTo>
                    <a:pt x="14" y="52"/>
                  </a:lnTo>
                  <a:lnTo>
                    <a:pt x="16" y="54"/>
                  </a:lnTo>
                  <a:lnTo>
                    <a:pt x="14" y="58"/>
                  </a:lnTo>
                  <a:lnTo>
                    <a:pt x="14" y="58"/>
                  </a:lnTo>
                  <a:lnTo>
                    <a:pt x="12" y="60"/>
                  </a:lnTo>
                  <a:lnTo>
                    <a:pt x="10" y="62"/>
                  </a:lnTo>
                  <a:lnTo>
                    <a:pt x="10" y="62"/>
                  </a:lnTo>
                  <a:lnTo>
                    <a:pt x="6" y="70"/>
                  </a:lnTo>
                  <a:lnTo>
                    <a:pt x="12" y="68"/>
                  </a:lnTo>
                  <a:lnTo>
                    <a:pt x="16" y="70"/>
                  </a:lnTo>
                  <a:lnTo>
                    <a:pt x="22" y="66"/>
                  </a:lnTo>
                  <a:lnTo>
                    <a:pt x="24" y="64"/>
                  </a:lnTo>
                  <a:lnTo>
                    <a:pt x="28" y="60"/>
                  </a:lnTo>
                  <a:lnTo>
                    <a:pt x="32" y="62"/>
                  </a:lnTo>
                  <a:lnTo>
                    <a:pt x="34" y="66"/>
                  </a:lnTo>
                  <a:lnTo>
                    <a:pt x="38" y="72"/>
                  </a:lnTo>
                  <a:lnTo>
                    <a:pt x="36" y="76"/>
                  </a:lnTo>
                  <a:lnTo>
                    <a:pt x="34" y="86"/>
                  </a:lnTo>
                  <a:lnTo>
                    <a:pt x="40" y="92"/>
                  </a:lnTo>
                  <a:lnTo>
                    <a:pt x="46" y="90"/>
                  </a:lnTo>
                  <a:lnTo>
                    <a:pt x="52" y="84"/>
                  </a:lnTo>
                  <a:lnTo>
                    <a:pt x="56" y="80"/>
                  </a:lnTo>
                  <a:lnTo>
                    <a:pt x="60" y="78"/>
                  </a:lnTo>
                  <a:lnTo>
                    <a:pt x="70" y="74"/>
                  </a:lnTo>
                  <a:lnTo>
                    <a:pt x="74" y="72"/>
                  </a:lnTo>
                  <a:lnTo>
                    <a:pt x="84" y="74"/>
                  </a:lnTo>
                  <a:lnTo>
                    <a:pt x="94" y="74"/>
                  </a:lnTo>
                  <a:lnTo>
                    <a:pt x="100" y="72"/>
                  </a:lnTo>
                  <a:lnTo>
                    <a:pt x="98" y="68"/>
                  </a:lnTo>
                  <a:lnTo>
                    <a:pt x="96" y="64"/>
                  </a:lnTo>
                  <a:lnTo>
                    <a:pt x="94" y="58"/>
                  </a:lnTo>
                  <a:lnTo>
                    <a:pt x="92" y="50"/>
                  </a:lnTo>
                  <a:lnTo>
                    <a:pt x="94" y="44"/>
                  </a:lnTo>
                  <a:lnTo>
                    <a:pt x="94" y="40"/>
                  </a:lnTo>
                  <a:lnTo>
                    <a:pt x="92" y="38"/>
                  </a:lnTo>
                  <a:lnTo>
                    <a:pt x="84" y="42"/>
                  </a:lnTo>
                  <a:lnTo>
                    <a:pt x="80" y="38"/>
                  </a:lnTo>
                  <a:lnTo>
                    <a:pt x="80" y="34"/>
                  </a:lnTo>
                  <a:lnTo>
                    <a:pt x="80" y="34"/>
                  </a:lnTo>
                  <a:lnTo>
                    <a:pt x="80" y="28"/>
                  </a:lnTo>
                  <a:lnTo>
                    <a:pt x="80" y="28"/>
                  </a:lnTo>
                  <a:lnTo>
                    <a:pt x="74" y="26"/>
                  </a:lnTo>
                  <a:lnTo>
                    <a:pt x="68" y="28"/>
                  </a:lnTo>
                  <a:lnTo>
                    <a:pt x="68" y="28"/>
                  </a:lnTo>
                  <a:lnTo>
                    <a:pt x="64" y="28"/>
                  </a:lnTo>
                  <a:lnTo>
                    <a:pt x="60" y="28"/>
                  </a:lnTo>
                  <a:lnTo>
                    <a:pt x="60" y="28"/>
                  </a:lnTo>
                  <a:lnTo>
                    <a:pt x="58" y="28"/>
                  </a:lnTo>
                  <a:lnTo>
                    <a:pt x="56" y="28"/>
                  </a:lnTo>
                  <a:lnTo>
                    <a:pt x="54" y="26"/>
                  </a:lnTo>
                  <a:lnTo>
                    <a:pt x="54" y="26"/>
                  </a:lnTo>
                  <a:lnTo>
                    <a:pt x="52" y="24"/>
                  </a:lnTo>
                  <a:lnTo>
                    <a:pt x="50" y="24"/>
                  </a:lnTo>
                  <a:lnTo>
                    <a:pt x="46" y="26"/>
                  </a:lnTo>
                  <a:lnTo>
                    <a:pt x="46" y="26"/>
                  </a:lnTo>
                  <a:lnTo>
                    <a:pt x="44" y="26"/>
                  </a:lnTo>
                  <a:lnTo>
                    <a:pt x="42" y="24"/>
                  </a:lnTo>
                  <a:lnTo>
                    <a:pt x="42" y="22"/>
                  </a:lnTo>
                  <a:lnTo>
                    <a:pt x="32" y="24"/>
                  </a:lnTo>
                  <a:lnTo>
                    <a:pt x="28" y="18"/>
                  </a:lnTo>
                  <a:lnTo>
                    <a:pt x="36" y="14"/>
                  </a:lnTo>
                  <a:lnTo>
                    <a:pt x="42" y="18"/>
                  </a:lnTo>
                  <a:lnTo>
                    <a:pt x="42" y="1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3" name="Freeform 31"/>
            <p:cNvSpPr>
              <a:spLocks noChangeAspect="1"/>
            </p:cNvSpPr>
            <p:nvPr/>
          </p:nvSpPr>
          <p:spPr bwMode="gray">
            <a:xfrm>
              <a:off x="7019492" y="3726854"/>
              <a:ext cx="44203" cy="88828"/>
            </a:xfrm>
            <a:custGeom>
              <a:avLst/>
              <a:gdLst/>
              <a:ahLst/>
              <a:cxnLst>
                <a:cxn ang="0">
                  <a:pos x="18" y="0"/>
                </a:cxn>
                <a:cxn ang="0">
                  <a:pos x="18" y="0"/>
                </a:cxn>
                <a:cxn ang="0">
                  <a:pos x="14" y="4"/>
                </a:cxn>
                <a:cxn ang="0">
                  <a:pos x="14" y="4"/>
                </a:cxn>
                <a:cxn ang="0">
                  <a:pos x="12" y="10"/>
                </a:cxn>
                <a:cxn ang="0">
                  <a:pos x="12" y="10"/>
                </a:cxn>
                <a:cxn ang="0">
                  <a:pos x="8" y="14"/>
                </a:cxn>
                <a:cxn ang="0">
                  <a:pos x="6" y="18"/>
                </a:cxn>
                <a:cxn ang="0">
                  <a:pos x="6" y="18"/>
                </a:cxn>
                <a:cxn ang="0">
                  <a:pos x="6" y="22"/>
                </a:cxn>
                <a:cxn ang="0">
                  <a:pos x="6" y="24"/>
                </a:cxn>
                <a:cxn ang="0">
                  <a:pos x="6" y="24"/>
                </a:cxn>
                <a:cxn ang="0">
                  <a:pos x="2" y="28"/>
                </a:cxn>
                <a:cxn ang="0">
                  <a:pos x="2" y="28"/>
                </a:cxn>
                <a:cxn ang="0">
                  <a:pos x="0" y="34"/>
                </a:cxn>
                <a:cxn ang="0">
                  <a:pos x="0" y="42"/>
                </a:cxn>
                <a:cxn ang="0">
                  <a:pos x="0" y="42"/>
                </a:cxn>
                <a:cxn ang="0">
                  <a:pos x="2" y="46"/>
                </a:cxn>
                <a:cxn ang="0">
                  <a:pos x="4" y="50"/>
                </a:cxn>
                <a:cxn ang="0">
                  <a:pos x="4" y="50"/>
                </a:cxn>
                <a:cxn ang="0">
                  <a:pos x="8" y="54"/>
                </a:cxn>
                <a:cxn ang="0">
                  <a:pos x="8" y="54"/>
                </a:cxn>
                <a:cxn ang="0">
                  <a:pos x="10" y="48"/>
                </a:cxn>
                <a:cxn ang="0">
                  <a:pos x="10" y="48"/>
                </a:cxn>
                <a:cxn ang="0">
                  <a:pos x="14" y="46"/>
                </a:cxn>
                <a:cxn ang="0">
                  <a:pos x="16" y="44"/>
                </a:cxn>
                <a:cxn ang="0">
                  <a:pos x="16" y="44"/>
                </a:cxn>
                <a:cxn ang="0">
                  <a:pos x="16" y="40"/>
                </a:cxn>
                <a:cxn ang="0">
                  <a:pos x="18" y="36"/>
                </a:cxn>
                <a:cxn ang="0">
                  <a:pos x="18" y="36"/>
                </a:cxn>
                <a:cxn ang="0">
                  <a:pos x="18" y="24"/>
                </a:cxn>
                <a:cxn ang="0">
                  <a:pos x="18" y="24"/>
                </a:cxn>
                <a:cxn ang="0">
                  <a:pos x="26" y="4"/>
                </a:cxn>
                <a:cxn ang="0">
                  <a:pos x="26" y="4"/>
                </a:cxn>
                <a:cxn ang="0">
                  <a:pos x="24" y="2"/>
                </a:cxn>
                <a:cxn ang="0">
                  <a:pos x="22" y="0"/>
                </a:cxn>
                <a:cxn ang="0">
                  <a:pos x="18" y="0"/>
                </a:cxn>
                <a:cxn ang="0">
                  <a:pos x="18" y="0"/>
                </a:cxn>
              </a:cxnLst>
              <a:rect l="0" t="0" r="r" b="b"/>
              <a:pathLst>
                <a:path w="26" h="54">
                  <a:moveTo>
                    <a:pt x="18" y="0"/>
                  </a:moveTo>
                  <a:lnTo>
                    <a:pt x="18" y="0"/>
                  </a:lnTo>
                  <a:lnTo>
                    <a:pt x="14" y="4"/>
                  </a:lnTo>
                  <a:lnTo>
                    <a:pt x="14" y="4"/>
                  </a:lnTo>
                  <a:lnTo>
                    <a:pt x="12" y="10"/>
                  </a:lnTo>
                  <a:lnTo>
                    <a:pt x="12" y="10"/>
                  </a:lnTo>
                  <a:lnTo>
                    <a:pt x="8" y="14"/>
                  </a:lnTo>
                  <a:lnTo>
                    <a:pt x="6" y="18"/>
                  </a:lnTo>
                  <a:lnTo>
                    <a:pt x="6" y="18"/>
                  </a:lnTo>
                  <a:lnTo>
                    <a:pt x="6" y="22"/>
                  </a:lnTo>
                  <a:lnTo>
                    <a:pt x="6" y="24"/>
                  </a:lnTo>
                  <a:lnTo>
                    <a:pt x="6" y="24"/>
                  </a:lnTo>
                  <a:lnTo>
                    <a:pt x="2" y="28"/>
                  </a:lnTo>
                  <a:lnTo>
                    <a:pt x="2" y="28"/>
                  </a:lnTo>
                  <a:lnTo>
                    <a:pt x="0" y="34"/>
                  </a:lnTo>
                  <a:lnTo>
                    <a:pt x="0" y="42"/>
                  </a:lnTo>
                  <a:lnTo>
                    <a:pt x="0" y="42"/>
                  </a:lnTo>
                  <a:lnTo>
                    <a:pt x="2" y="46"/>
                  </a:lnTo>
                  <a:lnTo>
                    <a:pt x="4" y="50"/>
                  </a:lnTo>
                  <a:lnTo>
                    <a:pt x="4" y="50"/>
                  </a:lnTo>
                  <a:lnTo>
                    <a:pt x="8" y="54"/>
                  </a:lnTo>
                  <a:lnTo>
                    <a:pt x="8" y="54"/>
                  </a:lnTo>
                  <a:lnTo>
                    <a:pt x="10" y="48"/>
                  </a:lnTo>
                  <a:lnTo>
                    <a:pt x="10" y="48"/>
                  </a:lnTo>
                  <a:lnTo>
                    <a:pt x="14" y="46"/>
                  </a:lnTo>
                  <a:lnTo>
                    <a:pt x="16" y="44"/>
                  </a:lnTo>
                  <a:lnTo>
                    <a:pt x="16" y="44"/>
                  </a:lnTo>
                  <a:lnTo>
                    <a:pt x="16" y="40"/>
                  </a:lnTo>
                  <a:lnTo>
                    <a:pt x="18" y="36"/>
                  </a:lnTo>
                  <a:lnTo>
                    <a:pt x="18" y="36"/>
                  </a:lnTo>
                  <a:lnTo>
                    <a:pt x="18" y="24"/>
                  </a:lnTo>
                  <a:lnTo>
                    <a:pt x="18" y="24"/>
                  </a:lnTo>
                  <a:lnTo>
                    <a:pt x="26" y="4"/>
                  </a:lnTo>
                  <a:lnTo>
                    <a:pt x="26" y="4"/>
                  </a:lnTo>
                  <a:lnTo>
                    <a:pt x="24" y="2"/>
                  </a:lnTo>
                  <a:lnTo>
                    <a:pt x="22" y="0"/>
                  </a:lnTo>
                  <a:lnTo>
                    <a:pt x="18" y="0"/>
                  </a:lnTo>
                  <a:lnTo>
                    <a:pt x="18"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4" name="Freeform 32"/>
            <p:cNvSpPr>
              <a:spLocks noChangeAspect="1"/>
            </p:cNvSpPr>
            <p:nvPr/>
          </p:nvSpPr>
          <p:spPr bwMode="gray">
            <a:xfrm>
              <a:off x="5105163" y="3371540"/>
              <a:ext cx="149610" cy="154627"/>
            </a:xfrm>
            <a:custGeom>
              <a:avLst/>
              <a:gdLst/>
              <a:ahLst/>
              <a:cxnLst>
                <a:cxn ang="0">
                  <a:pos x="2" y="32"/>
                </a:cxn>
                <a:cxn ang="0">
                  <a:pos x="0" y="36"/>
                </a:cxn>
                <a:cxn ang="0">
                  <a:pos x="0" y="40"/>
                </a:cxn>
                <a:cxn ang="0">
                  <a:pos x="4" y="40"/>
                </a:cxn>
                <a:cxn ang="0">
                  <a:pos x="4" y="48"/>
                </a:cxn>
                <a:cxn ang="0">
                  <a:pos x="2" y="48"/>
                </a:cxn>
                <a:cxn ang="0">
                  <a:pos x="2" y="48"/>
                </a:cxn>
                <a:cxn ang="0">
                  <a:pos x="2" y="50"/>
                </a:cxn>
                <a:cxn ang="0">
                  <a:pos x="4" y="52"/>
                </a:cxn>
                <a:cxn ang="0">
                  <a:pos x="6" y="56"/>
                </a:cxn>
                <a:cxn ang="0">
                  <a:pos x="8" y="52"/>
                </a:cxn>
                <a:cxn ang="0">
                  <a:pos x="12" y="52"/>
                </a:cxn>
                <a:cxn ang="0">
                  <a:pos x="16" y="54"/>
                </a:cxn>
                <a:cxn ang="0">
                  <a:pos x="18" y="56"/>
                </a:cxn>
                <a:cxn ang="0">
                  <a:pos x="16" y="64"/>
                </a:cxn>
                <a:cxn ang="0">
                  <a:pos x="12" y="70"/>
                </a:cxn>
                <a:cxn ang="0">
                  <a:pos x="10" y="78"/>
                </a:cxn>
                <a:cxn ang="0">
                  <a:pos x="8" y="80"/>
                </a:cxn>
                <a:cxn ang="0">
                  <a:pos x="6" y="82"/>
                </a:cxn>
                <a:cxn ang="0">
                  <a:pos x="4" y="94"/>
                </a:cxn>
                <a:cxn ang="0">
                  <a:pos x="6" y="92"/>
                </a:cxn>
                <a:cxn ang="0">
                  <a:pos x="12" y="90"/>
                </a:cxn>
                <a:cxn ang="0">
                  <a:pos x="18" y="92"/>
                </a:cxn>
                <a:cxn ang="0">
                  <a:pos x="42" y="78"/>
                </a:cxn>
                <a:cxn ang="0">
                  <a:pos x="70" y="56"/>
                </a:cxn>
                <a:cxn ang="0">
                  <a:pos x="74" y="52"/>
                </a:cxn>
                <a:cxn ang="0">
                  <a:pos x="76" y="44"/>
                </a:cxn>
                <a:cxn ang="0">
                  <a:pos x="76" y="38"/>
                </a:cxn>
                <a:cxn ang="0">
                  <a:pos x="76" y="34"/>
                </a:cxn>
                <a:cxn ang="0">
                  <a:pos x="80" y="30"/>
                </a:cxn>
                <a:cxn ang="0">
                  <a:pos x="78" y="26"/>
                </a:cxn>
                <a:cxn ang="0">
                  <a:pos x="78" y="22"/>
                </a:cxn>
                <a:cxn ang="0">
                  <a:pos x="80" y="18"/>
                </a:cxn>
                <a:cxn ang="0">
                  <a:pos x="84" y="14"/>
                </a:cxn>
                <a:cxn ang="0">
                  <a:pos x="88" y="8"/>
                </a:cxn>
                <a:cxn ang="0">
                  <a:pos x="88" y="6"/>
                </a:cxn>
                <a:cxn ang="0">
                  <a:pos x="84" y="4"/>
                </a:cxn>
                <a:cxn ang="0">
                  <a:pos x="84" y="0"/>
                </a:cxn>
                <a:cxn ang="0">
                  <a:pos x="72" y="6"/>
                </a:cxn>
                <a:cxn ang="0">
                  <a:pos x="68" y="8"/>
                </a:cxn>
                <a:cxn ang="0">
                  <a:pos x="58" y="8"/>
                </a:cxn>
                <a:cxn ang="0">
                  <a:pos x="54" y="8"/>
                </a:cxn>
                <a:cxn ang="0">
                  <a:pos x="44" y="12"/>
                </a:cxn>
                <a:cxn ang="0">
                  <a:pos x="36" y="14"/>
                </a:cxn>
                <a:cxn ang="0">
                  <a:pos x="32" y="14"/>
                </a:cxn>
                <a:cxn ang="0">
                  <a:pos x="28" y="14"/>
                </a:cxn>
                <a:cxn ang="0">
                  <a:pos x="22" y="18"/>
                </a:cxn>
                <a:cxn ang="0">
                  <a:pos x="20" y="18"/>
                </a:cxn>
                <a:cxn ang="0">
                  <a:pos x="16" y="16"/>
                </a:cxn>
                <a:cxn ang="0">
                  <a:pos x="14" y="16"/>
                </a:cxn>
                <a:cxn ang="0">
                  <a:pos x="14" y="20"/>
                </a:cxn>
                <a:cxn ang="0">
                  <a:pos x="14" y="24"/>
                </a:cxn>
                <a:cxn ang="0">
                  <a:pos x="12" y="26"/>
                </a:cxn>
                <a:cxn ang="0">
                  <a:pos x="10" y="28"/>
                </a:cxn>
                <a:cxn ang="0">
                  <a:pos x="8" y="32"/>
                </a:cxn>
                <a:cxn ang="0">
                  <a:pos x="6" y="32"/>
                </a:cxn>
                <a:cxn ang="0">
                  <a:pos x="2" y="32"/>
                </a:cxn>
              </a:cxnLst>
              <a:rect l="0" t="0" r="r" b="b"/>
              <a:pathLst>
                <a:path w="88" h="94">
                  <a:moveTo>
                    <a:pt x="2" y="32"/>
                  </a:moveTo>
                  <a:lnTo>
                    <a:pt x="2" y="32"/>
                  </a:lnTo>
                  <a:lnTo>
                    <a:pt x="0" y="36"/>
                  </a:lnTo>
                  <a:lnTo>
                    <a:pt x="0" y="36"/>
                  </a:lnTo>
                  <a:lnTo>
                    <a:pt x="0" y="40"/>
                  </a:lnTo>
                  <a:lnTo>
                    <a:pt x="0" y="40"/>
                  </a:lnTo>
                  <a:lnTo>
                    <a:pt x="4" y="40"/>
                  </a:lnTo>
                  <a:lnTo>
                    <a:pt x="4" y="40"/>
                  </a:lnTo>
                  <a:lnTo>
                    <a:pt x="4" y="48"/>
                  </a:lnTo>
                  <a:lnTo>
                    <a:pt x="4" y="48"/>
                  </a:lnTo>
                  <a:lnTo>
                    <a:pt x="2" y="48"/>
                  </a:lnTo>
                  <a:lnTo>
                    <a:pt x="2" y="48"/>
                  </a:lnTo>
                  <a:lnTo>
                    <a:pt x="2" y="48"/>
                  </a:lnTo>
                  <a:lnTo>
                    <a:pt x="2" y="48"/>
                  </a:lnTo>
                  <a:lnTo>
                    <a:pt x="2" y="48"/>
                  </a:lnTo>
                  <a:lnTo>
                    <a:pt x="2" y="50"/>
                  </a:lnTo>
                  <a:lnTo>
                    <a:pt x="2" y="50"/>
                  </a:lnTo>
                  <a:lnTo>
                    <a:pt x="4" y="52"/>
                  </a:lnTo>
                  <a:lnTo>
                    <a:pt x="4" y="52"/>
                  </a:lnTo>
                  <a:lnTo>
                    <a:pt x="6" y="56"/>
                  </a:lnTo>
                  <a:lnTo>
                    <a:pt x="6" y="56"/>
                  </a:lnTo>
                  <a:lnTo>
                    <a:pt x="8" y="52"/>
                  </a:lnTo>
                  <a:lnTo>
                    <a:pt x="10" y="52"/>
                  </a:lnTo>
                  <a:lnTo>
                    <a:pt x="12" y="52"/>
                  </a:lnTo>
                  <a:lnTo>
                    <a:pt x="12" y="52"/>
                  </a:lnTo>
                  <a:lnTo>
                    <a:pt x="16" y="54"/>
                  </a:lnTo>
                  <a:lnTo>
                    <a:pt x="18" y="54"/>
                  </a:lnTo>
                  <a:lnTo>
                    <a:pt x="18" y="56"/>
                  </a:lnTo>
                  <a:lnTo>
                    <a:pt x="18" y="56"/>
                  </a:lnTo>
                  <a:lnTo>
                    <a:pt x="16" y="64"/>
                  </a:lnTo>
                  <a:lnTo>
                    <a:pt x="12" y="70"/>
                  </a:lnTo>
                  <a:lnTo>
                    <a:pt x="12" y="70"/>
                  </a:lnTo>
                  <a:lnTo>
                    <a:pt x="10" y="74"/>
                  </a:lnTo>
                  <a:lnTo>
                    <a:pt x="10" y="78"/>
                  </a:lnTo>
                  <a:lnTo>
                    <a:pt x="10" y="78"/>
                  </a:lnTo>
                  <a:lnTo>
                    <a:pt x="8" y="80"/>
                  </a:lnTo>
                  <a:lnTo>
                    <a:pt x="6" y="82"/>
                  </a:lnTo>
                  <a:lnTo>
                    <a:pt x="6" y="82"/>
                  </a:lnTo>
                  <a:lnTo>
                    <a:pt x="2" y="88"/>
                  </a:lnTo>
                  <a:lnTo>
                    <a:pt x="4" y="94"/>
                  </a:lnTo>
                  <a:lnTo>
                    <a:pt x="4" y="94"/>
                  </a:lnTo>
                  <a:lnTo>
                    <a:pt x="6" y="92"/>
                  </a:lnTo>
                  <a:lnTo>
                    <a:pt x="10" y="90"/>
                  </a:lnTo>
                  <a:lnTo>
                    <a:pt x="12" y="90"/>
                  </a:lnTo>
                  <a:lnTo>
                    <a:pt x="12" y="90"/>
                  </a:lnTo>
                  <a:lnTo>
                    <a:pt x="18" y="92"/>
                  </a:lnTo>
                  <a:lnTo>
                    <a:pt x="22" y="94"/>
                  </a:lnTo>
                  <a:lnTo>
                    <a:pt x="42" y="78"/>
                  </a:lnTo>
                  <a:lnTo>
                    <a:pt x="70" y="56"/>
                  </a:lnTo>
                  <a:lnTo>
                    <a:pt x="70" y="56"/>
                  </a:lnTo>
                  <a:lnTo>
                    <a:pt x="74" y="52"/>
                  </a:lnTo>
                  <a:lnTo>
                    <a:pt x="74" y="52"/>
                  </a:lnTo>
                  <a:lnTo>
                    <a:pt x="76" y="44"/>
                  </a:lnTo>
                  <a:lnTo>
                    <a:pt x="76" y="44"/>
                  </a:lnTo>
                  <a:lnTo>
                    <a:pt x="78" y="42"/>
                  </a:lnTo>
                  <a:lnTo>
                    <a:pt x="76" y="38"/>
                  </a:lnTo>
                  <a:lnTo>
                    <a:pt x="76" y="38"/>
                  </a:lnTo>
                  <a:lnTo>
                    <a:pt x="76" y="34"/>
                  </a:lnTo>
                  <a:lnTo>
                    <a:pt x="76" y="32"/>
                  </a:lnTo>
                  <a:lnTo>
                    <a:pt x="80" y="30"/>
                  </a:lnTo>
                  <a:lnTo>
                    <a:pt x="80" y="30"/>
                  </a:lnTo>
                  <a:lnTo>
                    <a:pt x="78" y="26"/>
                  </a:lnTo>
                  <a:lnTo>
                    <a:pt x="78" y="22"/>
                  </a:lnTo>
                  <a:lnTo>
                    <a:pt x="78" y="22"/>
                  </a:lnTo>
                  <a:lnTo>
                    <a:pt x="78" y="20"/>
                  </a:lnTo>
                  <a:lnTo>
                    <a:pt x="80" y="18"/>
                  </a:lnTo>
                  <a:lnTo>
                    <a:pt x="84" y="14"/>
                  </a:lnTo>
                  <a:lnTo>
                    <a:pt x="84" y="14"/>
                  </a:lnTo>
                  <a:lnTo>
                    <a:pt x="86" y="12"/>
                  </a:lnTo>
                  <a:lnTo>
                    <a:pt x="88" y="8"/>
                  </a:lnTo>
                  <a:lnTo>
                    <a:pt x="88" y="6"/>
                  </a:lnTo>
                  <a:lnTo>
                    <a:pt x="88" y="6"/>
                  </a:lnTo>
                  <a:lnTo>
                    <a:pt x="84" y="4"/>
                  </a:lnTo>
                  <a:lnTo>
                    <a:pt x="84" y="4"/>
                  </a:lnTo>
                  <a:lnTo>
                    <a:pt x="84" y="0"/>
                  </a:lnTo>
                  <a:lnTo>
                    <a:pt x="84" y="0"/>
                  </a:lnTo>
                  <a:lnTo>
                    <a:pt x="78" y="2"/>
                  </a:lnTo>
                  <a:lnTo>
                    <a:pt x="72" y="6"/>
                  </a:lnTo>
                  <a:lnTo>
                    <a:pt x="72" y="6"/>
                  </a:lnTo>
                  <a:lnTo>
                    <a:pt x="68" y="8"/>
                  </a:lnTo>
                  <a:lnTo>
                    <a:pt x="62" y="8"/>
                  </a:lnTo>
                  <a:lnTo>
                    <a:pt x="58" y="8"/>
                  </a:lnTo>
                  <a:lnTo>
                    <a:pt x="54" y="8"/>
                  </a:lnTo>
                  <a:lnTo>
                    <a:pt x="54" y="8"/>
                  </a:lnTo>
                  <a:lnTo>
                    <a:pt x="48" y="12"/>
                  </a:lnTo>
                  <a:lnTo>
                    <a:pt x="44" y="12"/>
                  </a:lnTo>
                  <a:lnTo>
                    <a:pt x="36" y="14"/>
                  </a:lnTo>
                  <a:lnTo>
                    <a:pt x="36" y="14"/>
                  </a:lnTo>
                  <a:lnTo>
                    <a:pt x="34" y="14"/>
                  </a:lnTo>
                  <a:lnTo>
                    <a:pt x="32" y="14"/>
                  </a:lnTo>
                  <a:lnTo>
                    <a:pt x="28" y="14"/>
                  </a:lnTo>
                  <a:lnTo>
                    <a:pt x="28" y="14"/>
                  </a:lnTo>
                  <a:lnTo>
                    <a:pt x="24" y="14"/>
                  </a:lnTo>
                  <a:lnTo>
                    <a:pt x="22" y="18"/>
                  </a:lnTo>
                  <a:lnTo>
                    <a:pt x="22" y="18"/>
                  </a:lnTo>
                  <a:lnTo>
                    <a:pt x="20" y="18"/>
                  </a:lnTo>
                  <a:lnTo>
                    <a:pt x="18" y="16"/>
                  </a:lnTo>
                  <a:lnTo>
                    <a:pt x="16" y="16"/>
                  </a:lnTo>
                  <a:lnTo>
                    <a:pt x="14" y="16"/>
                  </a:lnTo>
                  <a:lnTo>
                    <a:pt x="14" y="16"/>
                  </a:lnTo>
                  <a:lnTo>
                    <a:pt x="14" y="18"/>
                  </a:lnTo>
                  <a:lnTo>
                    <a:pt x="14" y="20"/>
                  </a:lnTo>
                  <a:lnTo>
                    <a:pt x="14" y="24"/>
                  </a:lnTo>
                  <a:lnTo>
                    <a:pt x="14" y="24"/>
                  </a:lnTo>
                  <a:lnTo>
                    <a:pt x="14" y="26"/>
                  </a:lnTo>
                  <a:lnTo>
                    <a:pt x="12" y="26"/>
                  </a:lnTo>
                  <a:lnTo>
                    <a:pt x="12" y="26"/>
                  </a:lnTo>
                  <a:lnTo>
                    <a:pt x="10" y="28"/>
                  </a:lnTo>
                  <a:lnTo>
                    <a:pt x="8" y="30"/>
                  </a:lnTo>
                  <a:lnTo>
                    <a:pt x="8" y="32"/>
                  </a:lnTo>
                  <a:lnTo>
                    <a:pt x="6" y="32"/>
                  </a:lnTo>
                  <a:lnTo>
                    <a:pt x="6" y="32"/>
                  </a:lnTo>
                  <a:lnTo>
                    <a:pt x="2" y="32"/>
                  </a:lnTo>
                  <a:lnTo>
                    <a:pt x="2" y="3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5" name="Freeform 33"/>
            <p:cNvSpPr>
              <a:spLocks noChangeAspect="1"/>
            </p:cNvSpPr>
            <p:nvPr/>
          </p:nvSpPr>
          <p:spPr bwMode="gray">
            <a:xfrm>
              <a:off x="4423417" y="3045836"/>
              <a:ext cx="105407" cy="72379"/>
            </a:xfrm>
            <a:custGeom>
              <a:avLst/>
              <a:gdLst/>
              <a:ahLst/>
              <a:cxnLst>
                <a:cxn ang="0">
                  <a:pos x="60" y="20"/>
                </a:cxn>
                <a:cxn ang="0">
                  <a:pos x="62" y="18"/>
                </a:cxn>
                <a:cxn ang="0">
                  <a:pos x="60" y="18"/>
                </a:cxn>
                <a:cxn ang="0">
                  <a:pos x="60" y="18"/>
                </a:cxn>
                <a:cxn ang="0">
                  <a:pos x="56" y="12"/>
                </a:cxn>
                <a:cxn ang="0">
                  <a:pos x="46" y="2"/>
                </a:cxn>
                <a:cxn ang="0">
                  <a:pos x="42" y="0"/>
                </a:cxn>
                <a:cxn ang="0">
                  <a:pos x="40" y="0"/>
                </a:cxn>
                <a:cxn ang="0">
                  <a:pos x="36" y="2"/>
                </a:cxn>
                <a:cxn ang="0">
                  <a:pos x="30" y="6"/>
                </a:cxn>
                <a:cxn ang="0">
                  <a:pos x="28" y="6"/>
                </a:cxn>
                <a:cxn ang="0">
                  <a:pos x="24" y="6"/>
                </a:cxn>
                <a:cxn ang="0">
                  <a:pos x="24" y="6"/>
                </a:cxn>
                <a:cxn ang="0">
                  <a:pos x="22" y="10"/>
                </a:cxn>
                <a:cxn ang="0">
                  <a:pos x="22" y="10"/>
                </a:cxn>
                <a:cxn ang="0">
                  <a:pos x="18" y="12"/>
                </a:cxn>
                <a:cxn ang="0">
                  <a:pos x="14" y="16"/>
                </a:cxn>
                <a:cxn ang="0">
                  <a:pos x="10" y="22"/>
                </a:cxn>
                <a:cxn ang="0">
                  <a:pos x="2" y="32"/>
                </a:cxn>
                <a:cxn ang="0">
                  <a:pos x="0" y="38"/>
                </a:cxn>
                <a:cxn ang="0">
                  <a:pos x="4" y="38"/>
                </a:cxn>
                <a:cxn ang="0">
                  <a:pos x="8" y="36"/>
                </a:cxn>
                <a:cxn ang="0">
                  <a:pos x="10" y="38"/>
                </a:cxn>
                <a:cxn ang="0">
                  <a:pos x="12" y="40"/>
                </a:cxn>
                <a:cxn ang="0">
                  <a:pos x="16" y="42"/>
                </a:cxn>
                <a:cxn ang="0">
                  <a:pos x="18" y="44"/>
                </a:cxn>
                <a:cxn ang="0">
                  <a:pos x="22" y="44"/>
                </a:cxn>
                <a:cxn ang="0">
                  <a:pos x="24" y="42"/>
                </a:cxn>
                <a:cxn ang="0">
                  <a:pos x="28" y="40"/>
                </a:cxn>
                <a:cxn ang="0">
                  <a:pos x="30" y="38"/>
                </a:cxn>
                <a:cxn ang="0">
                  <a:pos x="30" y="32"/>
                </a:cxn>
                <a:cxn ang="0">
                  <a:pos x="32" y="34"/>
                </a:cxn>
                <a:cxn ang="0">
                  <a:pos x="38" y="38"/>
                </a:cxn>
                <a:cxn ang="0">
                  <a:pos x="42" y="40"/>
                </a:cxn>
                <a:cxn ang="0">
                  <a:pos x="44" y="40"/>
                </a:cxn>
                <a:cxn ang="0">
                  <a:pos x="44" y="36"/>
                </a:cxn>
                <a:cxn ang="0">
                  <a:pos x="46" y="34"/>
                </a:cxn>
                <a:cxn ang="0">
                  <a:pos x="50" y="32"/>
                </a:cxn>
                <a:cxn ang="0">
                  <a:pos x="50" y="30"/>
                </a:cxn>
                <a:cxn ang="0">
                  <a:pos x="54" y="26"/>
                </a:cxn>
                <a:cxn ang="0">
                  <a:pos x="56" y="28"/>
                </a:cxn>
                <a:cxn ang="0">
                  <a:pos x="60" y="26"/>
                </a:cxn>
                <a:cxn ang="0">
                  <a:pos x="62" y="26"/>
                </a:cxn>
                <a:cxn ang="0">
                  <a:pos x="58" y="24"/>
                </a:cxn>
                <a:cxn ang="0">
                  <a:pos x="60" y="20"/>
                </a:cxn>
              </a:cxnLst>
              <a:rect l="0" t="0" r="r" b="b"/>
              <a:pathLst>
                <a:path w="62" h="44">
                  <a:moveTo>
                    <a:pt x="60" y="20"/>
                  </a:moveTo>
                  <a:lnTo>
                    <a:pt x="60" y="20"/>
                  </a:lnTo>
                  <a:lnTo>
                    <a:pt x="62" y="18"/>
                  </a:lnTo>
                  <a:lnTo>
                    <a:pt x="62" y="18"/>
                  </a:lnTo>
                  <a:lnTo>
                    <a:pt x="60" y="18"/>
                  </a:lnTo>
                  <a:lnTo>
                    <a:pt x="60" y="18"/>
                  </a:lnTo>
                  <a:lnTo>
                    <a:pt x="60" y="18"/>
                  </a:lnTo>
                  <a:lnTo>
                    <a:pt x="60" y="18"/>
                  </a:lnTo>
                  <a:lnTo>
                    <a:pt x="56" y="16"/>
                  </a:lnTo>
                  <a:lnTo>
                    <a:pt x="56" y="12"/>
                  </a:lnTo>
                  <a:lnTo>
                    <a:pt x="58" y="10"/>
                  </a:lnTo>
                  <a:lnTo>
                    <a:pt x="46" y="2"/>
                  </a:lnTo>
                  <a:lnTo>
                    <a:pt x="46" y="2"/>
                  </a:lnTo>
                  <a:lnTo>
                    <a:pt x="42" y="0"/>
                  </a:lnTo>
                  <a:lnTo>
                    <a:pt x="42" y="0"/>
                  </a:lnTo>
                  <a:lnTo>
                    <a:pt x="40" y="0"/>
                  </a:lnTo>
                  <a:lnTo>
                    <a:pt x="38" y="0"/>
                  </a:lnTo>
                  <a:lnTo>
                    <a:pt x="36" y="2"/>
                  </a:lnTo>
                  <a:lnTo>
                    <a:pt x="36" y="2"/>
                  </a:lnTo>
                  <a:lnTo>
                    <a:pt x="30" y="6"/>
                  </a:lnTo>
                  <a:lnTo>
                    <a:pt x="30" y="6"/>
                  </a:lnTo>
                  <a:lnTo>
                    <a:pt x="28" y="6"/>
                  </a:lnTo>
                  <a:lnTo>
                    <a:pt x="26" y="6"/>
                  </a:lnTo>
                  <a:lnTo>
                    <a:pt x="24" y="6"/>
                  </a:lnTo>
                  <a:lnTo>
                    <a:pt x="24" y="6"/>
                  </a:lnTo>
                  <a:lnTo>
                    <a:pt x="24" y="6"/>
                  </a:lnTo>
                  <a:lnTo>
                    <a:pt x="22" y="6"/>
                  </a:lnTo>
                  <a:lnTo>
                    <a:pt x="22" y="10"/>
                  </a:lnTo>
                  <a:lnTo>
                    <a:pt x="22" y="10"/>
                  </a:lnTo>
                  <a:lnTo>
                    <a:pt x="22" y="10"/>
                  </a:lnTo>
                  <a:lnTo>
                    <a:pt x="18" y="12"/>
                  </a:lnTo>
                  <a:lnTo>
                    <a:pt x="18" y="12"/>
                  </a:lnTo>
                  <a:lnTo>
                    <a:pt x="16" y="14"/>
                  </a:lnTo>
                  <a:lnTo>
                    <a:pt x="14" y="16"/>
                  </a:lnTo>
                  <a:lnTo>
                    <a:pt x="10" y="22"/>
                  </a:lnTo>
                  <a:lnTo>
                    <a:pt x="10" y="22"/>
                  </a:lnTo>
                  <a:lnTo>
                    <a:pt x="2" y="32"/>
                  </a:lnTo>
                  <a:lnTo>
                    <a:pt x="2" y="32"/>
                  </a:lnTo>
                  <a:lnTo>
                    <a:pt x="0" y="36"/>
                  </a:lnTo>
                  <a:lnTo>
                    <a:pt x="0" y="38"/>
                  </a:lnTo>
                  <a:lnTo>
                    <a:pt x="4" y="38"/>
                  </a:lnTo>
                  <a:lnTo>
                    <a:pt x="4" y="38"/>
                  </a:lnTo>
                  <a:lnTo>
                    <a:pt x="6" y="36"/>
                  </a:lnTo>
                  <a:lnTo>
                    <a:pt x="8" y="36"/>
                  </a:lnTo>
                  <a:lnTo>
                    <a:pt x="10" y="38"/>
                  </a:lnTo>
                  <a:lnTo>
                    <a:pt x="10" y="38"/>
                  </a:lnTo>
                  <a:lnTo>
                    <a:pt x="10" y="40"/>
                  </a:lnTo>
                  <a:lnTo>
                    <a:pt x="12" y="40"/>
                  </a:lnTo>
                  <a:lnTo>
                    <a:pt x="16" y="40"/>
                  </a:lnTo>
                  <a:lnTo>
                    <a:pt x="16" y="42"/>
                  </a:lnTo>
                  <a:lnTo>
                    <a:pt x="16" y="42"/>
                  </a:lnTo>
                  <a:lnTo>
                    <a:pt x="18" y="44"/>
                  </a:lnTo>
                  <a:lnTo>
                    <a:pt x="20" y="44"/>
                  </a:lnTo>
                  <a:lnTo>
                    <a:pt x="22" y="44"/>
                  </a:lnTo>
                  <a:lnTo>
                    <a:pt x="22" y="44"/>
                  </a:lnTo>
                  <a:lnTo>
                    <a:pt x="24" y="42"/>
                  </a:lnTo>
                  <a:lnTo>
                    <a:pt x="26" y="40"/>
                  </a:lnTo>
                  <a:lnTo>
                    <a:pt x="28" y="40"/>
                  </a:lnTo>
                  <a:lnTo>
                    <a:pt x="30" y="38"/>
                  </a:lnTo>
                  <a:lnTo>
                    <a:pt x="30" y="38"/>
                  </a:lnTo>
                  <a:lnTo>
                    <a:pt x="30" y="34"/>
                  </a:lnTo>
                  <a:lnTo>
                    <a:pt x="30" y="32"/>
                  </a:lnTo>
                  <a:lnTo>
                    <a:pt x="32" y="34"/>
                  </a:lnTo>
                  <a:lnTo>
                    <a:pt x="32" y="34"/>
                  </a:lnTo>
                  <a:lnTo>
                    <a:pt x="34" y="38"/>
                  </a:lnTo>
                  <a:lnTo>
                    <a:pt x="38" y="38"/>
                  </a:lnTo>
                  <a:lnTo>
                    <a:pt x="38" y="38"/>
                  </a:lnTo>
                  <a:lnTo>
                    <a:pt x="42" y="40"/>
                  </a:lnTo>
                  <a:lnTo>
                    <a:pt x="44" y="40"/>
                  </a:lnTo>
                  <a:lnTo>
                    <a:pt x="44" y="40"/>
                  </a:lnTo>
                  <a:lnTo>
                    <a:pt x="46" y="40"/>
                  </a:lnTo>
                  <a:lnTo>
                    <a:pt x="44" y="36"/>
                  </a:lnTo>
                  <a:lnTo>
                    <a:pt x="44" y="36"/>
                  </a:lnTo>
                  <a:lnTo>
                    <a:pt x="46" y="34"/>
                  </a:lnTo>
                  <a:lnTo>
                    <a:pt x="48" y="32"/>
                  </a:lnTo>
                  <a:lnTo>
                    <a:pt x="50" y="32"/>
                  </a:lnTo>
                  <a:lnTo>
                    <a:pt x="50" y="30"/>
                  </a:lnTo>
                  <a:lnTo>
                    <a:pt x="50" y="30"/>
                  </a:lnTo>
                  <a:lnTo>
                    <a:pt x="52" y="28"/>
                  </a:lnTo>
                  <a:lnTo>
                    <a:pt x="54" y="26"/>
                  </a:lnTo>
                  <a:lnTo>
                    <a:pt x="56" y="28"/>
                  </a:lnTo>
                  <a:lnTo>
                    <a:pt x="56" y="28"/>
                  </a:lnTo>
                  <a:lnTo>
                    <a:pt x="58" y="28"/>
                  </a:lnTo>
                  <a:lnTo>
                    <a:pt x="60" y="26"/>
                  </a:lnTo>
                  <a:lnTo>
                    <a:pt x="60" y="26"/>
                  </a:lnTo>
                  <a:lnTo>
                    <a:pt x="62" y="26"/>
                  </a:lnTo>
                  <a:lnTo>
                    <a:pt x="60" y="24"/>
                  </a:lnTo>
                  <a:lnTo>
                    <a:pt x="58" y="24"/>
                  </a:lnTo>
                  <a:lnTo>
                    <a:pt x="60" y="22"/>
                  </a:lnTo>
                  <a:lnTo>
                    <a:pt x="60" y="2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6" name="Freeform 34"/>
            <p:cNvSpPr>
              <a:spLocks noChangeAspect="1"/>
            </p:cNvSpPr>
            <p:nvPr/>
          </p:nvSpPr>
          <p:spPr bwMode="gray">
            <a:xfrm>
              <a:off x="4550926" y="2279280"/>
              <a:ext cx="285619" cy="509941"/>
            </a:xfrm>
            <a:custGeom>
              <a:avLst/>
              <a:gdLst/>
              <a:ahLst/>
              <a:cxnLst>
                <a:cxn ang="0">
                  <a:pos x="164" y="52"/>
                </a:cxn>
                <a:cxn ang="0">
                  <a:pos x="162" y="36"/>
                </a:cxn>
                <a:cxn ang="0">
                  <a:pos x="160" y="24"/>
                </a:cxn>
                <a:cxn ang="0">
                  <a:pos x="144" y="12"/>
                </a:cxn>
                <a:cxn ang="0">
                  <a:pos x="134" y="2"/>
                </a:cxn>
                <a:cxn ang="0">
                  <a:pos x="120" y="12"/>
                </a:cxn>
                <a:cxn ang="0">
                  <a:pos x="106" y="18"/>
                </a:cxn>
                <a:cxn ang="0">
                  <a:pos x="102" y="24"/>
                </a:cxn>
                <a:cxn ang="0">
                  <a:pos x="98" y="26"/>
                </a:cxn>
                <a:cxn ang="0">
                  <a:pos x="84" y="30"/>
                </a:cxn>
                <a:cxn ang="0">
                  <a:pos x="76" y="46"/>
                </a:cxn>
                <a:cxn ang="0">
                  <a:pos x="68" y="52"/>
                </a:cxn>
                <a:cxn ang="0">
                  <a:pos x="62" y="70"/>
                </a:cxn>
                <a:cxn ang="0">
                  <a:pos x="48" y="86"/>
                </a:cxn>
                <a:cxn ang="0">
                  <a:pos x="46" y="108"/>
                </a:cxn>
                <a:cxn ang="0">
                  <a:pos x="36" y="102"/>
                </a:cxn>
                <a:cxn ang="0">
                  <a:pos x="22" y="116"/>
                </a:cxn>
                <a:cxn ang="0">
                  <a:pos x="12" y="128"/>
                </a:cxn>
                <a:cxn ang="0">
                  <a:pos x="12" y="146"/>
                </a:cxn>
                <a:cxn ang="0">
                  <a:pos x="10" y="168"/>
                </a:cxn>
                <a:cxn ang="0">
                  <a:pos x="16" y="178"/>
                </a:cxn>
                <a:cxn ang="0">
                  <a:pos x="10" y="188"/>
                </a:cxn>
                <a:cxn ang="0">
                  <a:pos x="10" y="204"/>
                </a:cxn>
                <a:cxn ang="0">
                  <a:pos x="8" y="214"/>
                </a:cxn>
                <a:cxn ang="0">
                  <a:pos x="4" y="220"/>
                </a:cxn>
                <a:cxn ang="0">
                  <a:pos x="4" y="236"/>
                </a:cxn>
                <a:cxn ang="0">
                  <a:pos x="4" y="244"/>
                </a:cxn>
                <a:cxn ang="0">
                  <a:pos x="4" y="260"/>
                </a:cxn>
                <a:cxn ang="0">
                  <a:pos x="12" y="266"/>
                </a:cxn>
                <a:cxn ang="0">
                  <a:pos x="20" y="278"/>
                </a:cxn>
                <a:cxn ang="0">
                  <a:pos x="24" y="286"/>
                </a:cxn>
                <a:cxn ang="0">
                  <a:pos x="18" y="294"/>
                </a:cxn>
                <a:cxn ang="0">
                  <a:pos x="24" y="310"/>
                </a:cxn>
                <a:cxn ang="0">
                  <a:pos x="42" y="296"/>
                </a:cxn>
                <a:cxn ang="0">
                  <a:pos x="50" y="290"/>
                </a:cxn>
                <a:cxn ang="0">
                  <a:pos x="68" y="288"/>
                </a:cxn>
                <a:cxn ang="0">
                  <a:pos x="74" y="278"/>
                </a:cxn>
                <a:cxn ang="0">
                  <a:pos x="70" y="284"/>
                </a:cxn>
                <a:cxn ang="0">
                  <a:pos x="70" y="270"/>
                </a:cxn>
                <a:cxn ang="0">
                  <a:pos x="74" y="260"/>
                </a:cxn>
                <a:cxn ang="0">
                  <a:pos x="78" y="240"/>
                </a:cxn>
                <a:cxn ang="0">
                  <a:pos x="90" y="236"/>
                </a:cxn>
                <a:cxn ang="0">
                  <a:pos x="98" y="232"/>
                </a:cxn>
                <a:cxn ang="0">
                  <a:pos x="104" y="226"/>
                </a:cxn>
                <a:cxn ang="0">
                  <a:pos x="106" y="218"/>
                </a:cxn>
                <a:cxn ang="0">
                  <a:pos x="100" y="206"/>
                </a:cxn>
                <a:cxn ang="0">
                  <a:pos x="92" y="194"/>
                </a:cxn>
                <a:cxn ang="0">
                  <a:pos x="82" y="194"/>
                </a:cxn>
                <a:cxn ang="0">
                  <a:pos x="80" y="170"/>
                </a:cxn>
                <a:cxn ang="0">
                  <a:pos x="84" y="158"/>
                </a:cxn>
                <a:cxn ang="0">
                  <a:pos x="82" y="148"/>
                </a:cxn>
                <a:cxn ang="0">
                  <a:pos x="92" y="146"/>
                </a:cxn>
                <a:cxn ang="0">
                  <a:pos x="98" y="138"/>
                </a:cxn>
                <a:cxn ang="0">
                  <a:pos x="104" y="126"/>
                </a:cxn>
                <a:cxn ang="0">
                  <a:pos x="116" y="122"/>
                </a:cxn>
                <a:cxn ang="0">
                  <a:pos x="126" y="116"/>
                </a:cxn>
                <a:cxn ang="0">
                  <a:pos x="136" y="106"/>
                </a:cxn>
                <a:cxn ang="0">
                  <a:pos x="134" y="100"/>
                </a:cxn>
                <a:cxn ang="0">
                  <a:pos x="136" y="84"/>
                </a:cxn>
                <a:cxn ang="0">
                  <a:pos x="138" y="80"/>
                </a:cxn>
                <a:cxn ang="0">
                  <a:pos x="146" y="78"/>
                </a:cxn>
                <a:cxn ang="0">
                  <a:pos x="152" y="70"/>
                </a:cxn>
                <a:cxn ang="0">
                  <a:pos x="160" y="68"/>
                </a:cxn>
              </a:cxnLst>
              <a:rect l="0" t="0" r="r" b="b"/>
              <a:pathLst>
                <a:path w="168" h="310">
                  <a:moveTo>
                    <a:pt x="168" y="70"/>
                  </a:moveTo>
                  <a:lnTo>
                    <a:pt x="164" y="60"/>
                  </a:lnTo>
                  <a:lnTo>
                    <a:pt x="164" y="60"/>
                  </a:lnTo>
                  <a:lnTo>
                    <a:pt x="162" y="56"/>
                  </a:lnTo>
                  <a:lnTo>
                    <a:pt x="162" y="56"/>
                  </a:lnTo>
                  <a:lnTo>
                    <a:pt x="164" y="52"/>
                  </a:lnTo>
                  <a:lnTo>
                    <a:pt x="164" y="46"/>
                  </a:lnTo>
                  <a:lnTo>
                    <a:pt x="164" y="46"/>
                  </a:lnTo>
                  <a:lnTo>
                    <a:pt x="164" y="42"/>
                  </a:lnTo>
                  <a:lnTo>
                    <a:pt x="162" y="38"/>
                  </a:lnTo>
                  <a:lnTo>
                    <a:pt x="162" y="38"/>
                  </a:lnTo>
                  <a:lnTo>
                    <a:pt x="162" y="36"/>
                  </a:lnTo>
                  <a:lnTo>
                    <a:pt x="162" y="34"/>
                  </a:lnTo>
                  <a:lnTo>
                    <a:pt x="162" y="32"/>
                  </a:lnTo>
                  <a:lnTo>
                    <a:pt x="162" y="30"/>
                  </a:lnTo>
                  <a:lnTo>
                    <a:pt x="162" y="30"/>
                  </a:lnTo>
                  <a:lnTo>
                    <a:pt x="160" y="26"/>
                  </a:lnTo>
                  <a:lnTo>
                    <a:pt x="160" y="24"/>
                  </a:lnTo>
                  <a:lnTo>
                    <a:pt x="160" y="24"/>
                  </a:lnTo>
                  <a:lnTo>
                    <a:pt x="154" y="16"/>
                  </a:lnTo>
                  <a:lnTo>
                    <a:pt x="154" y="16"/>
                  </a:lnTo>
                  <a:lnTo>
                    <a:pt x="152" y="14"/>
                  </a:lnTo>
                  <a:lnTo>
                    <a:pt x="150" y="14"/>
                  </a:lnTo>
                  <a:lnTo>
                    <a:pt x="144" y="12"/>
                  </a:lnTo>
                  <a:lnTo>
                    <a:pt x="144" y="12"/>
                  </a:lnTo>
                  <a:lnTo>
                    <a:pt x="140" y="12"/>
                  </a:lnTo>
                  <a:lnTo>
                    <a:pt x="138" y="10"/>
                  </a:lnTo>
                  <a:lnTo>
                    <a:pt x="134" y="4"/>
                  </a:lnTo>
                  <a:lnTo>
                    <a:pt x="134" y="4"/>
                  </a:lnTo>
                  <a:lnTo>
                    <a:pt x="134" y="2"/>
                  </a:lnTo>
                  <a:lnTo>
                    <a:pt x="130" y="0"/>
                  </a:lnTo>
                  <a:lnTo>
                    <a:pt x="126" y="0"/>
                  </a:lnTo>
                  <a:lnTo>
                    <a:pt x="120" y="0"/>
                  </a:lnTo>
                  <a:lnTo>
                    <a:pt x="122" y="4"/>
                  </a:lnTo>
                  <a:lnTo>
                    <a:pt x="120" y="12"/>
                  </a:lnTo>
                  <a:lnTo>
                    <a:pt x="120" y="12"/>
                  </a:lnTo>
                  <a:lnTo>
                    <a:pt x="118" y="16"/>
                  </a:lnTo>
                  <a:lnTo>
                    <a:pt x="118" y="18"/>
                  </a:lnTo>
                  <a:lnTo>
                    <a:pt x="116" y="20"/>
                  </a:lnTo>
                  <a:lnTo>
                    <a:pt x="116" y="20"/>
                  </a:lnTo>
                  <a:lnTo>
                    <a:pt x="110" y="18"/>
                  </a:lnTo>
                  <a:lnTo>
                    <a:pt x="106" y="18"/>
                  </a:lnTo>
                  <a:lnTo>
                    <a:pt x="106" y="18"/>
                  </a:lnTo>
                  <a:lnTo>
                    <a:pt x="102" y="18"/>
                  </a:lnTo>
                  <a:lnTo>
                    <a:pt x="102" y="18"/>
                  </a:lnTo>
                  <a:lnTo>
                    <a:pt x="102" y="20"/>
                  </a:lnTo>
                  <a:lnTo>
                    <a:pt x="102" y="20"/>
                  </a:lnTo>
                  <a:lnTo>
                    <a:pt x="102" y="24"/>
                  </a:lnTo>
                  <a:lnTo>
                    <a:pt x="100" y="26"/>
                  </a:lnTo>
                  <a:lnTo>
                    <a:pt x="102" y="28"/>
                  </a:lnTo>
                  <a:lnTo>
                    <a:pt x="102" y="28"/>
                  </a:lnTo>
                  <a:lnTo>
                    <a:pt x="102" y="28"/>
                  </a:lnTo>
                  <a:lnTo>
                    <a:pt x="102" y="28"/>
                  </a:lnTo>
                  <a:lnTo>
                    <a:pt x="98" y="26"/>
                  </a:lnTo>
                  <a:lnTo>
                    <a:pt x="92" y="20"/>
                  </a:lnTo>
                  <a:lnTo>
                    <a:pt x="92" y="20"/>
                  </a:lnTo>
                  <a:lnTo>
                    <a:pt x="90" y="22"/>
                  </a:lnTo>
                  <a:lnTo>
                    <a:pt x="86" y="26"/>
                  </a:lnTo>
                  <a:lnTo>
                    <a:pt x="86" y="26"/>
                  </a:lnTo>
                  <a:lnTo>
                    <a:pt x="84" y="30"/>
                  </a:lnTo>
                  <a:lnTo>
                    <a:pt x="84" y="36"/>
                  </a:lnTo>
                  <a:lnTo>
                    <a:pt x="84" y="36"/>
                  </a:lnTo>
                  <a:lnTo>
                    <a:pt x="82" y="40"/>
                  </a:lnTo>
                  <a:lnTo>
                    <a:pt x="80" y="42"/>
                  </a:lnTo>
                  <a:lnTo>
                    <a:pt x="80" y="42"/>
                  </a:lnTo>
                  <a:lnTo>
                    <a:pt x="76" y="46"/>
                  </a:lnTo>
                  <a:lnTo>
                    <a:pt x="74" y="48"/>
                  </a:lnTo>
                  <a:lnTo>
                    <a:pt x="72" y="50"/>
                  </a:lnTo>
                  <a:lnTo>
                    <a:pt x="72" y="50"/>
                  </a:lnTo>
                  <a:lnTo>
                    <a:pt x="72" y="50"/>
                  </a:lnTo>
                  <a:lnTo>
                    <a:pt x="72" y="52"/>
                  </a:lnTo>
                  <a:lnTo>
                    <a:pt x="68" y="52"/>
                  </a:lnTo>
                  <a:lnTo>
                    <a:pt x="68" y="52"/>
                  </a:lnTo>
                  <a:lnTo>
                    <a:pt x="66" y="54"/>
                  </a:lnTo>
                  <a:lnTo>
                    <a:pt x="64" y="56"/>
                  </a:lnTo>
                  <a:lnTo>
                    <a:pt x="64" y="62"/>
                  </a:lnTo>
                  <a:lnTo>
                    <a:pt x="64" y="62"/>
                  </a:lnTo>
                  <a:lnTo>
                    <a:pt x="62" y="70"/>
                  </a:lnTo>
                  <a:lnTo>
                    <a:pt x="58" y="76"/>
                  </a:lnTo>
                  <a:lnTo>
                    <a:pt x="56" y="80"/>
                  </a:lnTo>
                  <a:lnTo>
                    <a:pt x="56" y="80"/>
                  </a:lnTo>
                  <a:lnTo>
                    <a:pt x="52" y="82"/>
                  </a:lnTo>
                  <a:lnTo>
                    <a:pt x="50" y="84"/>
                  </a:lnTo>
                  <a:lnTo>
                    <a:pt x="48" y="86"/>
                  </a:lnTo>
                  <a:lnTo>
                    <a:pt x="48" y="86"/>
                  </a:lnTo>
                  <a:lnTo>
                    <a:pt x="50" y="92"/>
                  </a:lnTo>
                  <a:lnTo>
                    <a:pt x="48" y="100"/>
                  </a:lnTo>
                  <a:lnTo>
                    <a:pt x="48" y="100"/>
                  </a:lnTo>
                  <a:lnTo>
                    <a:pt x="48" y="106"/>
                  </a:lnTo>
                  <a:lnTo>
                    <a:pt x="46" y="108"/>
                  </a:lnTo>
                  <a:lnTo>
                    <a:pt x="44" y="108"/>
                  </a:lnTo>
                  <a:lnTo>
                    <a:pt x="44" y="108"/>
                  </a:lnTo>
                  <a:lnTo>
                    <a:pt x="40" y="104"/>
                  </a:lnTo>
                  <a:lnTo>
                    <a:pt x="38" y="102"/>
                  </a:lnTo>
                  <a:lnTo>
                    <a:pt x="36" y="102"/>
                  </a:lnTo>
                  <a:lnTo>
                    <a:pt x="36" y="102"/>
                  </a:lnTo>
                  <a:lnTo>
                    <a:pt x="28" y="104"/>
                  </a:lnTo>
                  <a:lnTo>
                    <a:pt x="26" y="108"/>
                  </a:lnTo>
                  <a:lnTo>
                    <a:pt x="24" y="110"/>
                  </a:lnTo>
                  <a:lnTo>
                    <a:pt x="24" y="110"/>
                  </a:lnTo>
                  <a:lnTo>
                    <a:pt x="24" y="112"/>
                  </a:lnTo>
                  <a:lnTo>
                    <a:pt x="22" y="116"/>
                  </a:lnTo>
                  <a:lnTo>
                    <a:pt x="18" y="118"/>
                  </a:lnTo>
                  <a:lnTo>
                    <a:pt x="18" y="122"/>
                  </a:lnTo>
                  <a:lnTo>
                    <a:pt x="18" y="122"/>
                  </a:lnTo>
                  <a:lnTo>
                    <a:pt x="16" y="124"/>
                  </a:lnTo>
                  <a:lnTo>
                    <a:pt x="14" y="126"/>
                  </a:lnTo>
                  <a:lnTo>
                    <a:pt x="12" y="128"/>
                  </a:lnTo>
                  <a:lnTo>
                    <a:pt x="10" y="132"/>
                  </a:lnTo>
                  <a:lnTo>
                    <a:pt x="10" y="132"/>
                  </a:lnTo>
                  <a:lnTo>
                    <a:pt x="12" y="136"/>
                  </a:lnTo>
                  <a:lnTo>
                    <a:pt x="12" y="140"/>
                  </a:lnTo>
                  <a:lnTo>
                    <a:pt x="12" y="140"/>
                  </a:lnTo>
                  <a:lnTo>
                    <a:pt x="12" y="146"/>
                  </a:lnTo>
                  <a:lnTo>
                    <a:pt x="12" y="152"/>
                  </a:lnTo>
                  <a:lnTo>
                    <a:pt x="12" y="152"/>
                  </a:lnTo>
                  <a:lnTo>
                    <a:pt x="12" y="158"/>
                  </a:lnTo>
                  <a:lnTo>
                    <a:pt x="12" y="164"/>
                  </a:lnTo>
                  <a:lnTo>
                    <a:pt x="12" y="164"/>
                  </a:lnTo>
                  <a:lnTo>
                    <a:pt x="10" y="168"/>
                  </a:lnTo>
                  <a:lnTo>
                    <a:pt x="10" y="170"/>
                  </a:lnTo>
                  <a:lnTo>
                    <a:pt x="12" y="170"/>
                  </a:lnTo>
                  <a:lnTo>
                    <a:pt x="12" y="170"/>
                  </a:lnTo>
                  <a:lnTo>
                    <a:pt x="14" y="172"/>
                  </a:lnTo>
                  <a:lnTo>
                    <a:pt x="16" y="178"/>
                  </a:lnTo>
                  <a:lnTo>
                    <a:pt x="16" y="178"/>
                  </a:lnTo>
                  <a:lnTo>
                    <a:pt x="16" y="182"/>
                  </a:lnTo>
                  <a:lnTo>
                    <a:pt x="16" y="184"/>
                  </a:lnTo>
                  <a:lnTo>
                    <a:pt x="14" y="186"/>
                  </a:lnTo>
                  <a:lnTo>
                    <a:pt x="14" y="186"/>
                  </a:lnTo>
                  <a:lnTo>
                    <a:pt x="10" y="188"/>
                  </a:lnTo>
                  <a:lnTo>
                    <a:pt x="10" y="188"/>
                  </a:lnTo>
                  <a:lnTo>
                    <a:pt x="10" y="188"/>
                  </a:lnTo>
                  <a:lnTo>
                    <a:pt x="10" y="196"/>
                  </a:lnTo>
                  <a:lnTo>
                    <a:pt x="10" y="196"/>
                  </a:lnTo>
                  <a:lnTo>
                    <a:pt x="8" y="200"/>
                  </a:lnTo>
                  <a:lnTo>
                    <a:pt x="8" y="202"/>
                  </a:lnTo>
                  <a:lnTo>
                    <a:pt x="10" y="204"/>
                  </a:lnTo>
                  <a:lnTo>
                    <a:pt x="10" y="204"/>
                  </a:lnTo>
                  <a:lnTo>
                    <a:pt x="12" y="208"/>
                  </a:lnTo>
                  <a:lnTo>
                    <a:pt x="10" y="210"/>
                  </a:lnTo>
                  <a:lnTo>
                    <a:pt x="10" y="210"/>
                  </a:lnTo>
                  <a:lnTo>
                    <a:pt x="8" y="212"/>
                  </a:lnTo>
                  <a:lnTo>
                    <a:pt x="8" y="214"/>
                  </a:lnTo>
                  <a:lnTo>
                    <a:pt x="8" y="216"/>
                  </a:lnTo>
                  <a:lnTo>
                    <a:pt x="6" y="216"/>
                  </a:lnTo>
                  <a:lnTo>
                    <a:pt x="6" y="216"/>
                  </a:lnTo>
                  <a:lnTo>
                    <a:pt x="4" y="218"/>
                  </a:lnTo>
                  <a:lnTo>
                    <a:pt x="4" y="220"/>
                  </a:lnTo>
                  <a:lnTo>
                    <a:pt x="4" y="220"/>
                  </a:lnTo>
                  <a:lnTo>
                    <a:pt x="6" y="226"/>
                  </a:lnTo>
                  <a:lnTo>
                    <a:pt x="8" y="228"/>
                  </a:lnTo>
                  <a:lnTo>
                    <a:pt x="8" y="228"/>
                  </a:lnTo>
                  <a:lnTo>
                    <a:pt x="6" y="234"/>
                  </a:lnTo>
                  <a:lnTo>
                    <a:pt x="6" y="236"/>
                  </a:lnTo>
                  <a:lnTo>
                    <a:pt x="4" y="236"/>
                  </a:lnTo>
                  <a:lnTo>
                    <a:pt x="4" y="236"/>
                  </a:lnTo>
                  <a:lnTo>
                    <a:pt x="0" y="236"/>
                  </a:lnTo>
                  <a:lnTo>
                    <a:pt x="0" y="236"/>
                  </a:lnTo>
                  <a:lnTo>
                    <a:pt x="0" y="244"/>
                  </a:lnTo>
                  <a:lnTo>
                    <a:pt x="0" y="244"/>
                  </a:lnTo>
                  <a:lnTo>
                    <a:pt x="4" y="244"/>
                  </a:lnTo>
                  <a:lnTo>
                    <a:pt x="4" y="244"/>
                  </a:lnTo>
                  <a:lnTo>
                    <a:pt x="8" y="252"/>
                  </a:lnTo>
                  <a:lnTo>
                    <a:pt x="8" y="252"/>
                  </a:lnTo>
                  <a:lnTo>
                    <a:pt x="8" y="252"/>
                  </a:lnTo>
                  <a:lnTo>
                    <a:pt x="6" y="256"/>
                  </a:lnTo>
                  <a:lnTo>
                    <a:pt x="4" y="260"/>
                  </a:lnTo>
                  <a:lnTo>
                    <a:pt x="4" y="260"/>
                  </a:lnTo>
                  <a:lnTo>
                    <a:pt x="8" y="262"/>
                  </a:lnTo>
                  <a:lnTo>
                    <a:pt x="8" y="262"/>
                  </a:lnTo>
                  <a:lnTo>
                    <a:pt x="8" y="266"/>
                  </a:lnTo>
                  <a:lnTo>
                    <a:pt x="8" y="266"/>
                  </a:lnTo>
                  <a:lnTo>
                    <a:pt x="12" y="266"/>
                  </a:lnTo>
                  <a:lnTo>
                    <a:pt x="12" y="266"/>
                  </a:lnTo>
                  <a:lnTo>
                    <a:pt x="12" y="268"/>
                  </a:lnTo>
                  <a:lnTo>
                    <a:pt x="12" y="270"/>
                  </a:lnTo>
                  <a:lnTo>
                    <a:pt x="12" y="270"/>
                  </a:lnTo>
                  <a:lnTo>
                    <a:pt x="16" y="274"/>
                  </a:lnTo>
                  <a:lnTo>
                    <a:pt x="20" y="278"/>
                  </a:lnTo>
                  <a:lnTo>
                    <a:pt x="20" y="278"/>
                  </a:lnTo>
                  <a:lnTo>
                    <a:pt x="20" y="282"/>
                  </a:lnTo>
                  <a:lnTo>
                    <a:pt x="20" y="282"/>
                  </a:lnTo>
                  <a:lnTo>
                    <a:pt x="24" y="284"/>
                  </a:lnTo>
                  <a:lnTo>
                    <a:pt x="24" y="286"/>
                  </a:lnTo>
                  <a:lnTo>
                    <a:pt x="24" y="286"/>
                  </a:lnTo>
                  <a:lnTo>
                    <a:pt x="20" y="286"/>
                  </a:lnTo>
                  <a:lnTo>
                    <a:pt x="20" y="286"/>
                  </a:lnTo>
                  <a:lnTo>
                    <a:pt x="22" y="292"/>
                  </a:lnTo>
                  <a:lnTo>
                    <a:pt x="22" y="292"/>
                  </a:lnTo>
                  <a:lnTo>
                    <a:pt x="18" y="294"/>
                  </a:lnTo>
                  <a:lnTo>
                    <a:pt x="18" y="294"/>
                  </a:lnTo>
                  <a:lnTo>
                    <a:pt x="18" y="298"/>
                  </a:lnTo>
                  <a:lnTo>
                    <a:pt x="20" y="300"/>
                  </a:lnTo>
                  <a:lnTo>
                    <a:pt x="20" y="300"/>
                  </a:lnTo>
                  <a:lnTo>
                    <a:pt x="20" y="306"/>
                  </a:lnTo>
                  <a:lnTo>
                    <a:pt x="22" y="310"/>
                  </a:lnTo>
                  <a:lnTo>
                    <a:pt x="24" y="310"/>
                  </a:lnTo>
                  <a:lnTo>
                    <a:pt x="24" y="310"/>
                  </a:lnTo>
                  <a:lnTo>
                    <a:pt x="32" y="310"/>
                  </a:lnTo>
                  <a:lnTo>
                    <a:pt x="40" y="306"/>
                  </a:lnTo>
                  <a:lnTo>
                    <a:pt x="40" y="306"/>
                  </a:lnTo>
                  <a:lnTo>
                    <a:pt x="40" y="300"/>
                  </a:lnTo>
                  <a:lnTo>
                    <a:pt x="42" y="296"/>
                  </a:lnTo>
                  <a:lnTo>
                    <a:pt x="42" y="296"/>
                  </a:lnTo>
                  <a:lnTo>
                    <a:pt x="46" y="296"/>
                  </a:lnTo>
                  <a:lnTo>
                    <a:pt x="46" y="296"/>
                  </a:lnTo>
                  <a:lnTo>
                    <a:pt x="46" y="292"/>
                  </a:lnTo>
                  <a:lnTo>
                    <a:pt x="46" y="292"/>
                  </a:lnTo>
                  <a:lnTo>
                    <a:pt x="50" y="290"/>
                  </a:lnTo>
                  <a:lnTo>
                    <a:pt x="54" y="290"/>
                  </a:lnTo>
                  <a:lnTo>
                    <a:pt x="64" y="292"/>
                  </a:lnTo>
                  <a:lnTo>
                    <a:pt x="64" y="292"/>
                  </a:lnTo>
                  <a:lnTo>
                    <a:pt x="66" y="288"/>
                  </a:lnTo>
                  <a:lnTo>
                    <a:pt x="66" y="288"/>
                  </a:lnTo>
                  <a:lnTo>
                    <a:pt x="68" y="288"/>
                  </a:lnTo>
                  <a:lnTo>
                    <a:pt x="68" y="290"/>
                  </a:lnTo>
                  <a:lnTo>
                    <a:pt x="68" y="290"/>
                  </a:lnTo>
                  <a:lnTo>
                    <a:pt x="70" y="290"/>
                  </a:lnTo>
                  <a:lnTo>
                    <a:pt x="70" y="290"/>
                  </a:lnTo>
                  <a:lnTo>
                    <a:pt x="74" y="278"/>
                  </a:lnTo>
                  <a:lnTo>
                    <a:pt x="74" y="278"/>
                  </a:lnTo>
                  <a:lnTo>
                    <a:pt x="74" y="278"/>
                  </a:lnTo>
                  <a:lnTo>
                    <a:pt x="74" y="278"/>
                  </a:lnTo>
                  <a:lnTo>
                    <a:pt x="74" y="278"/>
                  </a:lnTo>
                  <a:lnTo>
                    <a:pt x="72" y="280"/>
                  </a:lnTo>
                  <a:lnTo>
                    <a:pt x="70" y="284"/>
                  </a:lnTo>
                  <a:lnTo>
                    <a:pt x="70" y="284"/>
                  </a:lnTo>
                  <a:lnTo>
                    <a:pt x="68" y="284"/>
                  </a:lnTo>
                  <a:lnTo>
                    <a:pt x="68" y="284"/>
                  </a:lnTo>
                  <a:lnTo>
                    <a:pt x="68" y="280"/>
                  </a:lnTo>
                  <a:lnTo>
                    <a:pt x="68" y="280"/>
                  </a:lnTo>
                  <a:lnTo>
                    <a:pt x="70" y="270"/>
                  </a:lnTo>
                  <a:lnTo>
                    <a:pt x="70" y="270"/>
                  </a:lnTo>
                  <a:lnTo>
                    <a:pt x="74" y="266"/>
                  </a:lnTo>
                  <a:lnTo>
                    <a:pt x="74" y="266"/>
                  </a:lnTo>
                  <a:lnTo>
                    <a:pt x="72" y="262"/>
                  </a:lnTo>
                  <a:lnTo>
                    <a:pt x="72" y="260"/>
                  </a:lnTo>
                  <a:lnTo>
                    <a:pt x="74" y="260"/>
                  </a:lnTo>
                  <a:lnTo>
                    <a:pt x="74" y="260"/>
                  </a:lnTo>
                  <a:lnTo>
                    <a:pt x="76" y="254"/>
                  </a:lnTo>
                  <a:lnTo>
                    <a:pt x="74" y="250"/>
                  </a:lnTo>
                  <a:lnTo>
                    <a:pt x="74" y="242"/>
                  </a:lnTo>
                  <a:lnTo>
                    <a:pt x="74" y="242"/>
                  </a:lnTo>
                  <a:lnTo>
                    <a:pt x="78" y="240"/>
                  </a:lnTo>
                  <a:lnTo>
                    <a:pt x="78" y="240"/>
                  </a:lnTo>
                  <a:lnTo>
                    <a:pt x="70" y="236"/>
                  </a:lnTo>
                  <a:lnTo>
                    <a:pt x="70" y="236"/>
                  </a:lnTo>
                  <a:lnTo>
                    <a:pt x="78" y="236"/>
                  </a:lnTo>
                  <a:lnTo>
                    <a:pt x="88" y="234"/>
                  </a:lnTo>
                  <a:lnTo>
                    <a:pt x="88" y="236"/>
                  </a:lnTo>
                  <a:lnTo>
                    <a:pt x="90" y="236"/>
                  </a:lnTo>
                  <a:lnTo>
                    <a:pt x="90" y="236"/>
                  </a:lnTo>
                  <a:lnTo>
                    <a:pt x="90" y="234"/>
                  </a:lnTo>
                  <a:lnTo>
                    <a:pt x="92" y="232"/>
                  </a:lnTo>
                  <a:lnTo>
                    <a:pt x="92" y="232"/>
                  </a:lnTo>
                  <a:lnTo>
                    <a:pt x="94" y="232"/>
                  </a:lnTo>
                  <a:lnTo>
                    <a:pt x="98" y="232"/>
                  </a:lnTo>
                  <a:lnTo>
                    <a:pt x="98" y="232"/>
                  </a:lnTo>
                  <a:lnTo>
                    <a:pt x="98" y="230"/>
                  </a:lnTo>
                  <a:lnTo>
                    <a:pt x="98" y="228"/>
                  </a:lnTo>
                  <a:lnTo>
                    <a:pt x="98" y="228"/>
                  </a:lnTo>
                  <a:lnTo>
                    <a:pt x="100" y="226"/>
                  </a:lnTo>
                  <a:lnTo>
                    <a:pt x="104" y="226"/>
                  </a:lnTo>
                  <a:lnTo>
                    <a:pt x="102" y="224"/>
                  </a:lnTo>
                  <a:lnTo>
                    <a:pt x="102" y="224"/>
                  </a:lnTo>
                  <a:lnTo>
                    <a:pt x="96" y="222"/>
                  </a:lnTo>
                  <a:lnTo>
                    <a:pt x="96" y="222"/>
                  </a:lnTo>
                  <a:lnTo>
                    <a:pt x="106" y="218"/>
                  </a:lnTo>
                  <a:lnTo>
                    <a:pt x="106" y="218"/>
                  </a:lnTo>
                  <a:lnTo>
                    <a:pt x="106" y="212"/>
                  </a:lnTo>
                  <a:lnTo>
                    <a:pt x="104" y="206"/>
                  </a:lnTo>
                  <a:lnTo>
                    <a:pt x="104" y="206"/>
                  </a:lnTo>
                  <a:lnTo>
                    <a:pt x="102" y="206"/>
                  </a:lnTo>
                  <a:lnTo>
                    <a:pt x="100" y="206"/>
                  </a:lnTo>
                  <a:lnTo>
                    <a:pt x="100" y="206"/>
                  </a:lnTo>
                  <a:lnTo>
                    <a:pt x="98" y="204"/>
                  </a:lnTo>
                  <a:lnTo>
                    <a:pt x="98" y="200"/>
                  </a:lnTo>
                  <a:lnTo>
                    <a:pt x="98" y="200"/>
                  </a:lnTo>
                  <a:lnTo>
                    <a:pt x="94" y="200"/>
                  </a:lnTo>
                  <a:lnTo>
                    <a:pt x="92" y="194"/>
                  </a:lnTo>
                  <a:lnTo>
                    <a:pt x="92" y="194"/>
                  </a:lnTo>
                  <a:lnTo>
                    <a:pt x="88" y="198"/>
                  </a:lnTo>
                  <a:lnTo>
                    <a:pt x="88" y="198"/>
                  </a:lnTo>
                  <a:lnTo>
                    <a:pt x="86" y="198"/>
                  </a:lnTo>
                  <a:lnTo>
                    <a:pt x="84" y="196"/>
                  </a:lnTo>
                  <a:lnTo>
                    <a:pt x="84" y="196"/>
                  </a:lnTo>
                  <a:lnTo>
                    <a:pt x="82" y="194"/>
                  </a:lnTo>
                  <a:lnTo>
                    <a:pt x="82" y="194"/>
                  </a:lnTo>
                  <a:lnTo>
                    <a:pt x="82" y="188"/>
                  </a:lnTo>
                  <a:lnTo>
                    <a:pt x="82" y="184"/>
                  </a:lnTo>
                  <a:lnTo>
                    <a:pt x="80" y="174"/>
                  </a:lnTo>
                  <a:lnTo>
                    <a:pt x="80" y="174"/>
                  </a:lnTo>
                  <a:lnTo>
                    <a:pt x="80" y="170"/>
                  </a:lnTo>
                  <a:lnTo>
                    <a:pt x="80" y="170"/>
                  </a:lnTo>
                  <a:lnTo>
                    <a:pt x="84" y="170"/>
                  </a:lnTo>
                  <a:lnTo>
                    <a:pt x="84" y="170"/>
                  </a:lnTo>
                  <a:lnTo>
                    <a:pt x="82" y="166"/>
                  </a:lnTo>
                  <a:lnTo>
                    <a:pt x="82" y="162"/>
                  </a:lnTo>
                  <a:lnTo>
                    <a:pt x="84" y="158"/>
                  </a:lnTo>
                  <a:lnTo>
                    <a:pt x="84" y="152"/>
                  </a:lnTo>
                  <a:lnTo>
                    <a:pt x="84" y="152"/>
                  </a:lnTo>
                  <a:lnTo>
                    <a:pt x="82" y="152"/>
                  </a:lnTo>
                  <a:lnTo>
                    <a:pt x="82" y="152"/>
                  </a:lnTo>
                  <a:lnTo>
                    <a:pt x="82" y="148"/>
                  </a:lnTo>
                  <a:lnTo>
                    <a:pt x="82" y="148"/>
                  </a:lnTo>
                  <a:lnTo>
                    <a:pt x="84" y="148"/>
                  </a:lnTo>
                  <a:lnTo>
                    <a:pt x="86" y="150"/>
                  </a:lnTo>
                  <a:lnTo>
                    <a:pt x="86" y="150"/>
                  </a:lnTo>
                  <a:lnTo>
                    <a:pt x="88" y="148"/>
                  </a:lnTo>
                  <a:lnTo>
                    <a:pt x="88" y="148"/>
                  </a:lnTo>
                  <a:lnTo>
                    <a:pt x="92" y="146"/>
                  </a:lnTo>
                  <a:lnTo>
                    <a:pt x="92" y="146"/>
                  </a:lnTo>
                  <a:lnTo>
                    <a:pt x="94" y="140"/>
                  </a:lnTo>
                  <a:lnTo>
                    <a:pt x="92" y="140"/>
                  </a:lnTo>
                  <a:lnTo>
                    <a:pt x="92" y="138"/>
                  </a:lnTo>
                  <a:lnTo>
                    <a:pt x="92" y="138"/>
                  </a:lnTo>
                  <a:lnTo>
                    <a:pt x="98" y="138"/>
                  </a:lnTo>
                  <a:lnTo>
                    <a:pt x="100" y="136"/>
                  </a:lnTo>
                  <a:lnTo>
                    <a:pt x="102" y="134"/>
                  </a:lnTo>
                  <a:lnTo>
                    <a:pt x="102" y="134"/>
                  </a:lnTo>
                  <a:lnTo>
                    <a:pt x="100" y="134"/>
                  </a:lnTo>
                  <a:lnTo>
                    <a:pt x="98" y="132"/>
                  </a:lnTo>
                  <a:lnTo>
                    <a:pt x="104" y="126"/>
                  </a:lnTo>
                  <a:lnTo>
                    <a:pt x="104" y="126"/>
                  </a:lnTo>
                  <a:lnTo>
                    <a:pt x="106" y="126"/>
                  </a:lnTo>
                  <a:lnTo>
                    <a:pt x="108" y="128"/>
                  </a:lnTo>
                  <a:lnTo>
                    <a:pt x="108" y="128"/>
                  </a:lnTo>
                  <a:lnTo>
                    <a:pt x="112" y="124"/>
                  </a:lnTo>
                  <a:lnTo>
                    <a:pt x="116" y="122"/>
                  </a:lnTo>
                  <a:lnTo>
                    <a:pt x="116" y="122"/>
                  </a:lnTo>
                  <a:lnTo>
                    <a:pt x="120" y="120"/>
                  </a:lnTo>
                  <a:lnTo>
                    <a:pt x="122" y="122"/>
                  </a:lnTo>
                  <a:lnTo>
                    <a:pt x="122" y="122"/>
                  </a:lnTo>
                  <a:lnTo>
                    <a:pt x="126" y="120"/>
                  </a:lnTo>
                  <a:lnTo>
                    <a:pt x="126" y="116"/>
                  </a:lnTo>
                  <a:lnTo>
                    <a:pt x="130" y="110"/>
                  </a:lnTo>
                  <a:lnTo>
                    <a:pt x="130" y="110"/>
                  </a:lnTo>
                  <a:lnTo>
                    <a:pt x="132" y="110"/>
                  </a:lnTo>
                  <a:lnTo>
                    <a:pt x="136" y="108"/>
                  </a:lnTo>
                  <a:lnTo>
                    <a:pt x="136" y="108"/>
                  </a:lnTo>
                  <a:lnTo>
                    <a:pt x="136" y="106"/>
                  </a:lnTo>
                  <a:lnTo>
                    <a:pt x="136" y="104"/>
                  </a:lnTo>
                  <a:lnTo>
                    <a:pt x="136" y="104"/>
                  </a:lnTo>
                  <a:lnTo>
                    <a:pt x="132" y="104"/>
                  </a:lnTo>
                  <a:lnTo>
                    <a:pt x="132" y="104"/>
                  </a:lnTo>
                  <a:lnTo>
                    <a:pt x="134" y="100"/>
                  </a:lnTo>
                  <a:lnTo>
                    <a:pt x="134" y="100"/>
                  </a:lnTo>
                  <a:lnTo>
                    <a:pt x="132" y="96"/>
                  </a:lnTo>
                  <a:lnTo>
                    <a:pt x="132" y="92"/>
                  </a:lnTo>
                  <a:lnTo>
                    <a:pt x="138" y="88"/>
                  </a:lnTo>
                  <a:lnTo>
                    <a:pt x="138" y="88"/>
                  </a:lnTo>
                  <a:lnTo>
                    <a:pt x="138" y="86"/>
                  </a:lnTo>
                  <a:lnTo>
                    <a:pt x="136" y="84"/>
                  </a:lnTo>
                  <a:lnTo>
                    <a:pt x="136" y="84"/>
                  </a:lnTo>
                  <a:lnTo>
                    <a:pt x="138" y="84"/>
                  </a:lnTo>
                  <a:lnTo>
                    <a:pt x="140" y="82"/>
                  </a:lnTo>
                  <a:lnTo>
                    <a:pt x="140" y="82"/>
                  </a:lnTo>
                  <a:lnTo>
                    <a:pt x="138" y="80"/>
                  </a:lnTo>
                  <a:lnTo>
                    <a:pt x="138" y="80"/>
                  </a:lnTo>
                  <a:lnTo>
                    <a:pt x="138" y="80"/>
                  </a:lnTo>
                  <a:lnTo>
                    <a:pt x="138" y="80"/>
                  </a:lnTo>
                  <a:lnTo>
                    <a:pt x="140" y="78"/>
                  </a:lnTo>
                  <a:lnTo>
                    <a:pt x="144" y="80"/>
                  </a:lnTo>
                  <a:lnTo>
                    <a:pt x="144" y="80"/>
                  </a:lnTo>
                  <a:lnTo>
                    <a:pt x="146" y="78"/>
                  </a:lnTo>
                  <a:lnTo>
                    <a:pt x="148" y="74"/>
                  </a:lnTo>
                  <a:lnTo>
                    <a:pt x="150" y="66"/>
                  </a:lnTo>
                  <a:lnTo>
                    <a:pt x="150" y="66"/>
                  </a:lnTo>
                  <a:lnTo>
                    <a:pt x="150" y="68"/>
                  </a:lnTo>
                  <a:lnTo>
                    <a:pt x="152" y="70"/>
                  </a:lnTo>
                  <a:lnTo>
                    <a:pt x="152" y="70"/>
                  </a:lnTo>
                  <a:lnTo>
                    <a:pt x="156" y="68"/>
                  </a:lnTo>
                  <a:lnTo>
                    <a:pt x="156" y="68"/>
                  </a:lnTo>
                  <a:lnTo>
                    <a:pt x="158" y="72"/>
                  </a:lnTo>
                  <a:lnTo>
                    <a:pt x="158" y="72"/>
                  </a:lnTo>
                  <a:lnTo>
                    <a:pt x="160" y="70"/>
                  </a:lnTo>
                  <a:lnTo>
                    <a:pt x="160" y="68"/>
                  </a:lnTo>
                  <a:lnTo>
                    <a:pt x="160" y="68"/>
                  </a:lnTo>
                  <a:lnTo>
                    <a:pt x="168" y="70"/>
                  </a:lnTo>
                  <a:lnTo>
                    <a:pt x="168" y="7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7" name="Freeform 36"/>
            <p:cNvSpPr>
              <a:spLocks noChangeAspect="1"/>
            </p:cNvSpPr>
            <p:nvPr/>
          </p:nvSpPr>
          <p:spPr bwMode="gray">
            <a:xfrm>
              <a:off x="2964718" y="4249953"/>
              <a:ext cx="91806" cy="141467"/>
            </a:xfrm>
            <a:custGeom>
              <a:avLst/>
              <a:gdLst/>
              <a:ahLst/>
              <a:cxnLst>
                <a:cxn ang="0">
                  <a:pos x="52" y="2"/>
                </a:cxn>
                <a:cxn ang="0">
                  <a:pos x="48" y="2"/>
                </a:cxn>
                <a:cxn ang="0">
                  <a:pos x="46" y="0"/>
                </a:cxn>
                <a:cxn ang="0">
                  <a:pos x="40" y="0"/>
                </a:cxn>
                <a:cxn ang="0">
                  <a:pos x="40" y="2"/>
                </a:cxn>
                <a:cxn ang="0">
                  <a:pos x="34" y="4"/>
                </a:cxn>
                <a:cxn ang="0">
                  <a:pos x="22" y="2"/>
                </a:cxn>
                <a:cxn ang="0">
                  <a:pos x="16" y="8"/>
                </a:cxn>
                <a:cxn ang="0">
                  <a:pos x="16" y="6"/>
                </a:cxn>
                <a:cxn ang="0">
                  <a:pos x="8" y="18"/>
                </a:cxn>
                <a:cxn ang="0">
                  <a:pos x="8" y="26"/>
                </a:cxn>
                <a:cxn ang="0">
                  <a:pos x="0" y="32"/>
                </a:cxn>
                <a:cxn ang="0">
                  <a:pos x="0" y="34"/>
                </a:cxn>
                <a:cxn ang="0">
                  <a:pos x="2" y="42"/>
                </a:cxn>
                <a:cxn ang="0">
                  <a:pos x="2" y="52"/>
                </a:cxn>
                <a:cxn ang="0">
                  <a:pos x="4" y="56"/>
                </a:cxn>
                <a:cxn ang="0">
                  <a:pos x="6" y="58"/>
                </a:cxn>
                <a:cxn ang="0">
                  <a:pos x="4" y="64"/>
                </a:cxn>
                <a:cxn ang="0">
                  <a:pos x="8" y="84"/>
                </a:cxn>
                <a:cxn ang="0">
                  <a:pos x="24" y="86"/>
                </a:cxn>
                <a:cxn ang="0">
                  <a:pos x="22" y="76"/>
                </a:cxn>
                <a:cxn ang="0">
                  <a:pos x="34" y="72"/>
                </a:cxn>
                <a:cxn ang="0">
                  <a:pos x="40" y="72"/>
                </a:cxn>
                <a:cxn ang="0">
                  <a:pos x="46" y="72"/>
                </a:cxn>
                <a:cxn ang="0">
                  <a:pos x="50" y="62"/>
                </a:cxn>
                <a:cxn ang="0">
                  <a:pos x="54" y="52"/>
                </a:cxn>
                <a:cxn ang="0">
                  <a:pos x="50" y="48"/>
                </a:cxn>
                <a:cxn ang="0">
                  <a:pos x="46" y="40"/>
                </a:cxn>
                <a:cxn ang="0">
                  <a:pos x="46" y="22"/>
                </a:cxn>
                <a:cxn ang="0">
                  <a:pos x="52" y="12"/>
                </a:cxn>
                <a:cxn ang="0">
                  <a:pos x="52" y="6"/>
                </a:cxn>
                <a:cxn ang="0">
                  <a:pos x="52" y="8"/>
                </a:cxn>
                <a:cxn ang="0">
                  <a:pos x="52" y="4"/>
                </a:cxn>
                <a:cxn ang="0">
                  <a:pos x="52" y="2"/>
                </a:cxn>
              </a:cxnLst>
              <a:rect l="0" t="0" r="r" b="b"/>
              <a:pathLst>
                <a:path w="54" h="86">
                  <a:moveTo>
                    <a:pt x="52" y="2"/>
                  </a:moveTo>
                  <a:lnTo>
                    <a:pt x="52" y="2"/>
                  </a:lnTo>
                  <a:lnTo>
                    <a:pt x="50" y="2"/>
                  </a:lnTo>
                  <a:lnTo>
                    <a:pt x="48" y="2"/>
                  </a:lnTo>
                  <a:lnTo>
                    <a:pt x="48" y="2"/>
                  </a:lnTo>
                  <a:lnTo>
                    <a:pt x="46" y="0"/>
                  </a:lnTo>
                  <a:lnTo>
                    <a:pt x="46" y="0"/>
                  </a:lnTo>
                  <a:lnTo>
                    <a:pt x="40" y="0"/>
                  </a:lnTo>
                  <a:lnTo>
                    <a:pt x="40" y="2"/>
                  </a:lnTo>
                  <a:lnTo>
                    <a:pt x="40" y="2"/>
                  </a:lnTo>
                  <a:lnTo>
                    <a:pt x="34" y="4"/>
                  </a:lnTo>
                  <a:lnTo>
                    <a:pt x="34" y="4"/>
                  </a:lnTo>
                  <a:lnTo>
                    <a:pt x="28" y="4"/>
                  </a:lnTo>
                  <a:lnTo>
                    <a:pt x="22" y="2"/>
                  </a:lnTo>
                  <a:lnTo>
                    <a:pt x="20" y="2"/>
                  </a:lnTo>
                  <a:lnTo>
                    <a:pt x="16" y="8"/>
                  </a:lnTo>
                  <a:lnTo>
                    <a:pt x="16" y="6"/>
                  </a:lnTo>
                  <a:lnTo>
                    <a:pt x="16" y="6"/>
                  </a:lnTo>
                  <a:lnTo>
                    <a:pt x="8" y="18"/>
                  </a:lnTo>
                  <a:lnTo>
                    <a:pt x="8" y="18"/>
                  </a:lnTo>
                  <a:lnTo>
                    <a:pt x="8" y="26"/>
                  </a:lnTo>
                  <a:lnTo>
                    <a:pt x="8" y="26"/>
                  </a:lnTo>
                  <a:lnTo>
                    <a:pt x="4" y="30"/>
                  </a:lnTo>
                  <a:lnTo>
                    <a:pt x="0" y="32"/>
                  </a:lnTo>
                  <a:lnTo>
                    <a:pt x="0" y="32"/>
                  </a:lnTo>
                  <a:lnTo>
                    <a:pt x="0" y="34"/>
                  </a:lnTo>
                  <a:lnTo>
                    <a:pt x="0" y="36"/>
                  </a:lnTo>
                  <a:lnTo>
                    <a:pt x="2" y="42"/>
                  </a:lnTo>
                  <a:lnTo>
                    <a:pt x="2" y="42"/>
                  </a:lnTo>
                  <a:lnTo>
                    <a:pt x="2" y="52"/>
                  </a:lnTo>
                  <a:lnTo>
                    <a:pt x="2" y="52"/>
                  </a:lnTo>
                  <a:lnTo>
                    <a:pt x="4" y="56"/>
                  </a:lnTo>
                  <a:lnTo>
                    <a:pt x="4" y="56"/>
                  </a:lnTo>
                  <a:lnTo>
                    <a:pt x="6" y="58"/>
                  </a:lnTo>
                  <a:lnTo>
                    <a:pt x="6" y="60"/>
                  </a:lnTo>
                  <a:lnTo>
                    <a:pt x="4" y="64"/>
                  </a:lnTo>
                  <a:lnTo>
                    <a:pt x="6" y="76"/>
                  </a:lnTo>
                  <a:lnTo>
                    <a:pt x="8" y="84"/>
                  </a:lnTo>
                  <a:lnTo>
                    <a:pt x="14" y="82"/>
                  </a:lnTo>
                  <a:lnTo>
                    <a:pt x="24" y="86"/>
                  </a:lnTo>
                  <a:lnTo>
                    <a:pt x="26" y="80"/>
                  </a:lnTo>
                  <a:lnTo>
                    <a:pt x="22" y="76"/>
                  </a:lnTo>
                  <a:lnTo>
                    <a:pt x="24" y="68"/>
                  </a:lnTo>
                  <a:lnTo>
                    <a:pt x="34" y="72"/>
                  </a:lnTo>
                  <a:lnTo>
                    <a:pt x="38" y="70"/>
                  </a:lnTo>
                  <a:lnTo>
                    <a:pt x="40" y="72"/>
                  </a:lnTo>
                  <a:lnTo>
                    <a:pt x="46" y="72"/>
                  </a:lnTo>
                  <a:lnTo>
                    <a:pt x="46" y="72"/>
                  </a:lnTo>
                  <a:lnTo>
                    <a:pt x="50" y="62"/>
                  </a:lnTo>
                  <a:lnTo>
                    <a:pt x="50" y="62"/>
                  </a:lnTo>
                  <a:lnTo>
                    <a:pt x="54" y="56"/>
                  </a:lnTo>
                  <a:lnTo>
                    <a:pt x="54" y="52"/>
                  </a:lnTo>
                  <a:lnTo>
                    <a:pt x="54" y="52"/>
                  </a:lnTo>
                  <a:lnTo>
                    <a:pt x="50" y="48"/>
                  </a:lnTo>
                  <a:lnTo>
                    <a:pt x="48" y="44"/>
                  </a:lnTo>
                  <a:lnTo>
                    <a:pt x="46" y="40"/>
                  </a:lnTo>
                  <a:lnTo>
                    <a:pt x="46" y="40"/>
                  </a:lnTo>
                  <a:lnTo>
                    <a:pt x="46" y="22"/>
                  </a:lnTo>
                  <a:lnTo>
                    <a:pt x="52" y="12"/>
                  </a:lnTo>
                  <a:lnTo>
                    <a:pt x="52" y="12"/>
                  </a:lnTo>
                  <a:lnTo>
                    <a:pt x="52" y="6"/>
                  </a:lnTo>
                  <a:lnTo>
                    <a:pt x="52" y="6"/>
                  </a:lnTo>
                  <a:lnTo>
                    <a:pt x="52" y="8"/>
                  </a:lnTo>
                  <a:lnTo>
                    <a:pt x="52" y="8"/>
                  </a:lnTo>
                  <a:lnTo>
                    <a:pt x="52" y="6"/>
                  </a:lnTo>
                  <a:lnTo>
                    <a:pt x="52" y="4"/>
                  </a:lnTo>
                  <a:lnTo>
                    <a:pt x="52" y="4"/>
                  </a:lnTo>
                  <a:lnTo>
                    <a:pt x="52"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8" name="Freeform 38"/>
            <p:cNvSpPr>
              <a:spLocks noChangeAspect="1"/>
            </p:cNvSpPr>
            <p:nvPr/>
          </p:nvSpPr>
          <p:spPr bwMode="gray">
            <a:xfrm>
              <a:off x="6091229" y="4164416"/>
              <a:ext cx="51004" cy="105278"/>
            </a:xfrm>
            <a:custGeom>
              <a:avLst/>
              <a:gdLst/>
              <a:ahLst/>
              <a:cxnLst>
                <a:cxn ang="0">
                  <a:pos x="4" y="0"/>
                </a:cxn>
                <a:cxn ang="0">
                  <a:pos x="4" y="0"/>
                </a:cxn>
                <a:cxn ang="0">
                  <a:pos x="4" y="2"/>
                </a:cxn>
                <a:cxn ang="0">
                  <a:pos x="4" y="2"/>
                </a:cxn>
                <a:cxn ang="0">
                  <a:pos x="4" y="6"/>
                </a:cxn>
                <a:cxn ang="0">
                  <a:pos x="6" y="8"/>
                </a:cxn>
                <a:cxn ang="0">
                  <a:pos x="6" y="10"/>
                </a:cxn>
                <a:cxn ang="0">
                  <a:pos x="6" y="10"/>
                </a:cxn>
                <a:cxn ang="0">
                  <a:pos x="4" y="12"/>
                </a:cxn>
                <a:cxn ang="0">
                  <a:pos x="4" y="12"/>
                </a:cxn>
                <a:cxn ang="0">
                  <a:pos x="4" y="18"/>
                </a:cxn>
                <a:cxn ang="0">
                  <a:pos x="4" y="18"/>
                </a:cxn>
                <a:cxn ang="0">
                  <a:pos x="0" y="28"/>
                </a:cxn>
                <a:cxn ang="0">
                  <a:pos x="0" y="28"/>
                </a:cxn>
                <a:cxn ang="0">
                  <a:pos x="0" y="28"/>
                </a:cxn>
                <a:cxn ang="0">
                  <a:pos x="0" y="28"/>
                </a:cxn>
                <a:cxn ang="0">
                  <a:pos x="0" y="36"/>
                </a:cxn>
                <a:cxn ang="0">
                  <a:pos x="2" y="44"/>
                </a:cxn>
                <a:cxn ang="0">
                  <a:pos x="2" y="44"/>
                </a:cxn>
                <a:cxn ang="0">
                  <a:pos x="2" y="50"/>
                </a:cxn>
                <a:cxn ang="0">
                  <a:pos x="4" y="56"/>
                </a:cxn>
                <a:cxn ang="0">
                  <a:pos x="6" y="58"/>
                </a:cxn>
                <a:cxn ang="0">
                  <a:pos x="6" y="58"/>
                </a:cxn>
                <a:cxn ang="0">
                  <a:pos x="8" y="62"/>
                </a:cxn>
                <a:cxn ang="0">
                  <a:pos x="8" y="62"/>
                </a:cxn>
                <a:cxn ang="0">
                  <a:pos x="14" y="64"/>
                </a:cxn>
                <a:cxn ang="0">
                  <a:pos x="14" y="64"/>
                </a:cxn>
                <a:cxn ang="0">
                  <a:pos x="20" y="60"/>
                </a:cxn>
                <a:cxn ang="0">
                  <a:pos x="26" y="56"/>
                </a:cxn>
                <a:cxn ang="0">
                  <a:pos x="26" y="56"/>
                </a:cxn>
                <a:cxn ang="0">
                  <a:pos x="28" y="52"/>
                </a:cxn>
                <a:cxn ang="0">
                  <a:pos x="30" y="48"/>
                </a:cxn>
                <a:cxn ang="0">
                  <a:pos x="30" y="38"/>
                </a:cxn>
                <a:cxn ang="0">
                  <a:pos x="30" y="38"/>
                </a:cxn>
                <a:cxn ang="0">
                  <a:pos x="28" y="38"/>
                </a:cxn>
                <a:cxn ang="0">
                  <a:pos x="28" y="38"/>
                </a:cxn>
                <a:cxn ang="0">
                  <a:pos x="28" y="30"/>
                </a:cxn>
                <a:cxn ang="0">
                  <a:pos x="28" y="30"/>
                </a:cxn>
                <a:cxn ang="0">
                  <a:pos x="24" y="26"/>
                </a:cxn>
                <a:cxn ang="0">
                  <a:pos x="24" y="26"/>
                </a:cxn>
                <a:cxn ang="0">
                  <a:pos x="22" y="20"/>
                </a:cxn>
                <a:cxn ang="0">
                  <a:pos x="22" y="20"/>
                </a:cxn>
                <a:cxn ang="0">
                  <a:pos x="20" y="20"/>
                </a:cxn>
                <a:cxn ang="0">
                  <a:pos x="16" y="16"/>
                </a:cxn>
                <a:cxn ang="0">
                  <a:pos x="16" y="16"/>
                </a:cxn>
                <a:cxn ang="0">
                  <a:pos x="16" y="14"/>
                </a:cxn>
                <a:cxn ang="0">
                  <a:pos x="16" y="14"/>
                </a:cxn>
                <a:cxn ang="0">
                  <a:pos x="12" y="12"/>
                </a:cxn>
                <a:cxn ang="0">
                  <a:pos x="12" y="12"/>
                </a:cxn>
                <a:cxn ang="0">
                  <a:pos x="10" y="6"/>
                </a:cxn>
                <a:cxn ang="0">
                  <a:pos x="8" y="0"/>
                </a:cxn>
                <a:cxn ang="0">
                  <a:pos x="8" y="0"/>
                </a:cxn>
                <a:cxn ang="0">
                  <a:pos x="4" y="0"/>
                </a:cxn>
                <a:cxn ang="0">
                  <a:pos x="4" y="0"/>
                </a:cxn>
              </a:cxnLst>
              <a:rect l="0" t="0" r="r" b="b"/>
              <a:pathLst>
                <a:path w="30" h="64">
                  <a:moveTo>
                    <a:pt x="4" y="0"/>
                  </a:moveTo>
                  <a:lnTo>
                    <a:pt x="4" y="0"/>
                  </a:lnTo>
                  <a:lnTo>
                    <a:pt x="4" y="2"/>
                  </a:lnTo>
                  <a:lnTo>
                    <a:pt x="4" y="2"/>
                  </a:lnTo>
                  <a:lnTo>
                    <a:pt x="4" y="6"/>
                  </a:lnTo>
                  <a:lnTo>
                    <a:pt x="6" y="8"/>
                  </a:lnTo>
                  <a:lnTo>
                    <a:pt x="6" y="10"/>
                  </a:lnTo>
                  <a:lnTo>
                    <a:pt x="6" y="10"/>
                  </a:lnTo>
                  <a:lnTo>
                    <a:pt x="4" y="12"/>
                  </a:lnTo>
                  <a:lnTo>
                    <a:pt x="4" y="12"/>
                  </a:lnTo>
                  <a:lnTo>
                    <a:pt x="4" y="18"/>
                  </a:lnTo>
                  <a:lnTo>
                    <a:pt x="4" y="18"/>
                  </a:lnTo>
                  <a:lnTo>
                    <a:pt x="0" y="28"/>
                  </a:lnTo>
                  <a:lnTo>
                    <a:pt x="0" y="28"/>
                  </a:lnTo>
                  <a:lnTo>
                    <a:pt x="0" y="28"/>
                  </a:lnTo>
                  <a:lnTo>
                    <a:pt x="0" y="28"/>
                  </a:lnTo>
                  <a:lnTo>
                    <a:pt x="0" y="36"/>
                  </a:lnTo>
                  <a:lnTo>
                    <a:pt x="2" y="44"/>
                  </a:lnTo>
                  <a:lnTo>
                    <a:pt x="2" y="44"/>
                  </a:lnTo>
                  <a:lnTo>
                    <a:pt x="2" y="50"/>
                  </a:lnTo>
                  <a:lnTo>
                    <a:pt x="4" y="56"/>
                  </a:lnTo>
                  <a:lnTo>
                    <a:pt x="6" y="58"/>
                  </a:lnTo>
                  <a:lnTo>
                    <a:pt x="6" y="58"/>
                  </a:lnTo>
                  <a:lnTo>
                    <a:pt x="8" y="62"/>
                  </a:lnTo>
                  <a:lnTo>
                    <a:pt x="8" y="62"/>
                  </a:lnTo>
                  <a:lnTo>
                    <a:pt x="14" y="64"/>
                  </a:lnTo>
                  <a:lnTo>
                    <a:pt x="14" y="64"/>
                  </a:lnTo>
                  <a:lnTo>
                    <a:pt x="20" y="60"/>
                  </a:lnTo>
                  <a:lnTo>
                    <a:pt x="26" y="56"/>
                  </a:lnTo>
                  <a:lnTo>
                    <a:pt x="26" y="56"/>
                  </a:lnTo>
                  <a:lnTo>
                    <a:pt x="28" y="52"/>
                  </a:lnTo>
                  <a:lnTo>
                    <a:pt x="30" y="48"/>
                  </a:lnTo>
                  <a:lnTo>
                    <a:pt x="30" y="38"/>
                  </a:lnTo>
                  <a:lnTo>
                    <a:pt x="30" y="38"/>
                  </a:lnTo>
                  <a:lnTo>
                    <a:pt x="28" y="38"/>
                  </a:lnTo>
                  <a:lnTo>
                    <a:pt x="28" y="38"/>
                  </a:lnTo>
                  <a:lnTo>
                    <a:pt x="28" y="30"/>
                  </a:lnTo>
                  <a:lnTo>
                    <a:pt x="28" y="30"/>
                  </a:lnTo>
                  <a:lnTo>
                    <a:pt x="24" y="26"/>
                  </a:lnTo>
                  <a:lnTo>
                    <a:pt x="24" y="26"/>
                  </a:lnTo>
                  <a:lnTo>
                    <a:pt x="22" y="20"/>
                  </a:lnTo>
                  <a:lnTo>
                    <a:pt x="22" y="20"/>
                  </a:lnTo>
                  <a:lnTo>
                    <a:pt x="20" y="20"/>
                  </a:lnTo>
                  <a:lnTo>
                    <a:pt x="16" y="16"/>
                  </a:lnTo>
                  <a:lnTo>
                    <a:pt x="16" y="16"/>
                  </a:lnTo>
                  <a:lnTo>
                    <a:pt x="16" y="14"/>
                  </a:lnTo>
                  <a:lnTo>
                    <a:pt x="16" y="14"/>
                  </a:lnTo>
                  <a:lnTo>
                    <a:pt x="12" y="12"/>
                  </a:lnTo>
                  <a:lnTo>
                    <a:pt x="12" y="12"/>
                  </a:lnTo>
                  <a:lnTo>
                    <a:pt x="10" y="6"/>
                  </a:lnTo>
                  <a:lnTo>
                    <a:pt x="8" y="0"/>
                  </a:lnTo>
                  <a:lnTo>
                    <a:pt x="8" y="0"/>
                  </a:lnTo>
                  <a:lnTo>
                    <a:pt x="4" y="0"/>
                  </a:lnTo>
                  <a:lnTo>
                    <a:pt x="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19" name="Freeform 39"/>
            <p:cNvSpPr>
              <a:spLocks noChangeAspect="1" noEditPoints="1"/>
            </p:cNvSpPr>
            <p:nvPr/>
          </p:nvSpPr>
          <p:spPr bwMode="gray">
            <a:xfrm>
              <a:off x="4076594" y="3174144"/>
              <a:ext cx="333223" cy="230295"/>
            </a:xfrm>
            <a:custGeom>
              <a:avLst/>
              <a:gdLst/>
              <a:ahLst/>
              <a:cxnLst>
                <a:cxn ang="0">
                  <a:pos x="170" y="34"/>
                </a:cxn>
                <a:cxn ang="0">
                  <a:pos x="156" y="42"/>
                </a:cxn>
                <a:cxn ang="0">
                  <a:pos x="150" y="48"/>
                </a:cxn>
                <a:cxn ang="0">
                  <a:pos x="142" y="56"/>
                </a:cxn>
                <a:cxn ang="0">
                  <a:pos x="136" y="62"/>
                </a:cxn>
                <a:cxn ang="0">
                  <a:pos x="128" y="72"/>
                </a:cxn>
                <a:cxn ang="0">
                  <a:pos x="124" y="82"/>
                </a:cxn>
                <a:cxn ang="0">
                  <a:pos x="128" y="88"/>
                </a:cxn>
                <a:cxn ang="0">
                  <a:pos x="120" y="100"/>
                </a:cxn>
                <a:cxn ang="0">
                  <a:pos x="114" y="108"/>
                </a:cxn>
                <a:cxn ang="0">
                  <a:pos x="108" y="114"/>
                </a:cxn>
                <a:cxn ang="0">
                  <a:pos x="94" y="128"/>
                </a:cxn>
                <a:cxn ang="0">
                  <a:pos x="88" y="132"/>
                </a:cxn>
                <a:cxn ang="0">
                  <a:pos x="66" y="130"/>
                </a:cxn>
                <a:cxn ang="0">
                  <a:pos x="62" y="136"/>
                </a:cxn>
                <a:cxn ang="0">
                  <a:pos x="52" y="140"/>
                </a:cxn>
                <a:cxn ang="0">
                  <a:pos x="40" y="128"/>
                </a:cxn>
                <a:cxn ang="0">
                  <a:pos x="28" y="120"/>
                </a:cxn>
                <a:cxn ang="0">
                  <a:pos x="30" y="112"/>
                </a:cxn>
                <a:cxn ang="0">
                  <a:pos x="26" y="106"/>
                </a:cxn>
                <a:cxn ang="0">
                  <a:pos x="30" y="96"/>
                </a:cxn>
                <a:cxn ang="0">
                  <a:pos x="26" y="88"/>
                </a:cxn>
                <a:cxn ang="0">
                  <a:pos x="30" y="74"/>
                </a:cxn>
                <a:cxn ang="0">
                  <a:pos x="32" y="66"/>
                </a:cxn>
                <a:cxn ang="0">
                  <a:pos x="30" y="52"/>
                </a:cxn>
                <a:cxn ang="0">
                  <a:pos x="34" y="44"/>
                </a:cxn>
                <a:cxn ang="0">
                  <a:pos x="32" y="36"/>
                </a:cxn>
                <a:cxn ang="0">
                  <a:pos x="18" y="36"/>
                </a:cxn>
                <a:cxn ang="0">
                  <a:pos x="16" y="34"/>
                </a:cxn>
                <a:cxn ang="0">
                  <a:pos x="8" y="36"/>
                </a:cxn>
                <a:cxn ang="0">
                  <a:pos x="6" y="32"/>
                </a:cxn>
                <a:cxn ang="0">
                  <a:pos x="6" y="26"/>
                </a:cxn>
                <a:cxn ang="0">
                  <a:pos x="4" y="20"/>
                </a:cxn>
                <a:cxn ang="0">
                  <a:pos x="0" y="14"/>
                </a:cxn>
                <a:cxn ang="0">
                  <a:pos x="8" y="6"/>
                </a:cxn>
                <a:cxn ang="0">
                  <a:pos x="16" y="4"/>
                </a:cxn>
                <a:cxn ang="0">
                  <a:pos x="26" y="0"/>
                </a:cxn>
                <a:cxn ang="0">
                  <a:pos x="36" y="4"/>
                </a:cxn>
                <a:cxn ang="0">
                  <a:pos x="66" y="6"/>
                </a:cxn>
                <a:cxn ang="0">
                  <a:pos x="90" y="6"/>
                </a:cxn>
                <a:cxn ang="0">
                  <a:pos x="98" y="10"/>
                </a:cxn>
                <a:cxn ang="0">
                  <a:pos x="106" y="16"/>
                </a:cxn>
                <a:cxn ang="0">
                  <a:pos x="112" y="18"/>
                </a:cxn>
                <a:cxn ang="0">
                  <a:pos x="120" y="20"/>
                </a:cxn>
                <a:cxn ang="0">
                  <a:pos x="132" y="22"/>
                </a:cxn>
                <a:cxn ang="0">
                  <a:pos x="146" y="26"/>
                </a:cxn>
                <a:cxn ang="0">
                  <a:pos x="156" y="28"/>
                </a:cxn>
                <a:cxn ang="0">
                  <a:pos x="162" y="26"/>
                </a:cxn>
                <a:cxn ang="0">
                  <a:pos x="146" y="82"/>
                </a:cxn>
                <a:cxn ang="0">
                  <a:pos x="144" y="88"/>
                </a:cxn>
                <a:cxn ang="0">
                  <a:pos x="144" y="88"/>
                </a:cxn>
                <a:cxn ang="0">
                  <a:pos x="146" y="82"/>
                </a:cxn>
                <a:cxn ang="0">
                  <a:pos x="190" y="74"/>
                </a:cxn>
                <a:cxn ang="0">
                  <a:pos x="196" y="70"/>
                </a:cxn>
                <a:cxn ang="0">
                  <a:pos x="170" y="70"/>
                </a:cxn>
                <a:cxn ang="0">
                  <a:pos x="168" y="76"/>
                </a:cxn>
                <a:cxn ang="0">
                  <a:pos x="168" y="86"/>
                </a:cxn>
                <a:cxn ang="0">
                  <a:pos x="174" y="82"/>
                </a:cxn>
                <a:cxn ang="0">
                  <a:pos x="170" y="70"/>
                </a:cxn>
              </a:cxnLst>
              <a:rect l="0" t="0" r="r" b="b"/>
              <a:pathLst>
                <a:path w="196" h="140">
                  <a:moveTo>
                    <a:pt x="168" y="24"/>
                  </a:moveTo>
                  <a:lnTo>
                    <a:pt x="168" y="24"/>
                  </a:lnTo>
                  <a:lnTo>
                    <a:pt x="170" y="34"/>
                  </a:lnTo>
                  <a:lnTo>
                    <a:pt x="170" y="34"/>
                  </a:lnTo>
                  <a:lnTo>
                    <a:pt x="162" y="42"/>
                  </a:lnTo>
                  <a:lnTo>
                    <a:pt x="162" y="42"/>
                  </a:lnTo>
                  <a:lnTo>
                    <a:pt x="158" y="42"/>
                  </a:lnTo>
                  <a:lnTo>
                    <a:pt x="156" y="42"/>
                  </a:lnTo>
                  <a:lnTo>
                    <a:pt x="156" y="42"/>
                  </a:lnTo>
                  <a:lnTo>
                    <a:pt x="156" y="46"/>
                  </a:lnTo>
                  <a:lnTo>
                    <a:pt x="156" y="46"/>
                  </a:lnTo>
                  <a:lnTo>
                    <a:pt x="150" y="48"/>
                  </a:lnTo>
                  <a:lnTo>
                    <a:pt x="150" y="48"/>
                  </a:lnTo>
                  <a:lnTo>
                    <a:pt x="144" y="52"/>
                  </a:lnTo>
                  <a:lnTo>
                    <a:pt x="142" y="56"/>
                  </a:lnTo>
                  <a:lnTo>
                    <a:pt x="142" y="56"/>
                  </a:lnTo>
                  <a:lnTo>
                    <a:pt x="136" y="58"/>
                  </a:lnTo>
                  <a:lnTo>
                    <a:pt x="136" y="58"/>
                  </a:lnTo>
                  <a:lnTo>
                    <a:pt x="136" y="62"/>
                  </a:lnTo>
                  <a:lnTo>
                    <a:pt x="136" y="62"/>
                  </a:lnTo>
                  <a:lnTo>
                    <a:pt x="132" y="64"/>
                  </a:lnTo>
                  <a:lnTo>
                    <a:pt x="132" y="64"/>
                  </a:lnTo>
                  <a:lnTo>
                    <a:pt x="130" y="68"/>
                  </a:lnTo>
                  <a:lnTo>
                    <a:pt x="128" y="72"/>
                  </a:lnTo>
                  <a:lnTo>
                    <a:pt x="128" y="72"/>
                  </a:lnTo>
                  <a:lnTo>
                    <a:pt x="124" y="76"/>
                  </a:lnTo>
                  <a:lnTo>
                    <a:pt x="122" y="80"/>
                  </a:lnTo>
                  <a:lnTo>
                    <a:pt x="124" y="82"/>
                  </a:lnTo>
                  <a:lnTo>
                    <a:pt x="124" y="82"/>
                  </a:lnTo>
                  <a:lnTo>
                    <a:pt x="124" y="86"/>
                  </a:lnTo>
                  <a:lnTo>
                    <a:pt x="124" y="86"/>
                  </a:lnTo>
                  <a:lnTo>
                    <a:pt x="128" y="88"/>
                  </a:lnTo>
                  <a:lnTo>
                    <a:pt x="128" y="88"/>
                  </a:lnTo>
                  <a:lnTo>
                    <a:pt x="128" y="90"/>
                  </a:lnTo>
                  <a:lnTo>
                    <a:pt x="128" y="90"/>
                  </a:lnTo>
                  <a:lnTo>
                    <a:pt x="120" y="100"/>
                  </a:lnTo>
                  <a:lnTo>
                    <a:pt x="120" y="100"/>
                  </a:lnTo>
                  <a:lnTo>
                    <a:pt x="116" y="104"/>
                  </a:lnTo>
                  <a:lnTo>
                    <a:pt x="116" y="104"/>
                  </a:lnTo>
                  <a:lnTo>
                    <a:pt x="114" y="108"/>
                  </a:lnTo>
                  <a:lnTo>
                    <a:pt x="114" y="112"/>
                  </a:lnTo>
                  <a:lnTo>
                    <a:pt x="114" y="112"/>
                  </a:lnTo>
                  <a:lnTo>
                    <a:pt x="112" y="114"/>
                  </a:lnTo>
                  <a:lnTo>
                    <a:pt x="108" y="114"/>
                  </a:lnTo>
                  <a:lnTo>
                    <a:pt x="108" y="114"/>
                  </a:lnTo>
                  <a:lnTo>
                    <a:pt x="96" y="124"/>
                  </a:lnTo>
                  <a:lnTo>
                    <a:pt x="96" y="124"/>
                  </a:lnTo>
                  <a:lnTo>
                    <a:pt x="94" y="128"/>
                  </a:lnTo>
                  <a:lnTo>
                    <a:pt x="94" y="130"/>
                  </a:lnTo>
                  <a:lnTo>
                    <a:pt x="92" y="132"/>
                  </a:lnTo>
                  <a:lnTo>
                    <a:pt x="92" y="132"/>
                  </a:lnTo>
                  <a:lnTo>
                    <a:pt x="88" y="132"/>
                  </a:lnTo>
                  <a:lnTo>
                    <a:pt x="84" y="132"/>
                  </a:lnTo>
                  <a:lnTo>
                    <a:pt x="82" y="134"/>
                  </a:lnTo>
                  <a:lnTo>
                    <a:pt x="82" y="134"/>
                  </a:lnTo>
                  <a:lnTo>
                    <a:pt x="66" y="130"/>
                  </a:lnTo>
                  <a:lnTo>
                    <a:pt x="66" y="130"/>
                  </a:lnTo>
                  <a:lnTo>
                    <a:pt x="64" y="134"/>
                  </a:lnTo>
                  <a:lnTo>
                    <a:pt x="64" y="134"/>
                  </a:lnTo>
                  <a:lnTo>
                    <a:pt x="62" y="136"/>
                  </a:lnTo>
                  <a:lnTo>
                    <a:pt x="58" y="136"/>
                  </a:lnTo>
                  <a:lnTo>
                    <a:pt x="58" y="136"/>
                  </a:lnTo>
                  <a:lnTo>
                    <a:pt x="52" y="140"/>
                  </a:lnTo>
                  <a:lnTo>
                    <a:pt x="52" y="140"/>
                  </a:lnTo>
                  <a:lnTo>
                    <a:pt x="52" y="140"/>
                  </a:lnTo>
                  <a:lnTo>
                    <a:pt x="46" y="140"/>
                  </a:lnTo>
                  <a:lnTo>
                    <a:pt x="46" y="140"/>
                  </a:lnTo>
                  <a:lnTo>
                    <a:pt x="40" y="128"/>
                  </a:lnTo>
                  <a:lnTo>
                    <a:pt x="34" y="124"/>
                  </a:lnTo>
                  <a:lnTo>
                    <a:pt x="28" y="122"/>
                  </a:lnTo>
                  <a:lnTo>
                    <a:pt x="28" y="122"/>
                  </a:lnTo>
                  <a:lnTo>
                    <a:pt x="28" y="120"/>
                  </a:lnTo>
                  <a:lnTo>
                    <a:pt x="30" y="114"/>
                  </a:lnTo>
                  <a:lnTo>
                    <a:pt x="30" y="114"/>
                  </a:lnTo>
                  <a:lnTo>
                    <a:pt x="32" y="112"/>
                  </a:lnTo>
                  <a:lnTo>
                    <a:pt x="30" y="112"/>
                  </a:lnTo>
                  <a:lnTo>
                    <a:pt x="28" y="112"/>
                  </a:lnTo>
                  <a:lnTo>
                    <a:pt x="26" y="110"/>
                  </a:lnTo>
                  <a:lnTo>
                    <a:pt x="26" y="110"/>
                  </a:lnTo>
                  <a:lnTo>
                    <a:pt x="26" y="106"/>
                  </a:lnTo>
                  <a:lnTo>
                    <a:pt x="26" y="104"/>
                  </a:lnTo>
                  <a:lnTo>
                    <a:pt x="28" y="100"/>
                  </a:lnTo>
                  <a:lnTo>
                    <a:pt x="28" y="100"/>
                  </a:lnTo>
                  <a:lnTo>
                    <a:pt x="30" y="96"/>
                  </a:lnTo>
                  <a:lnTo>
                    <a:pt x="28" y="94"/>
                  </a:lnTo>
                  <a:lnTo>
                    <a:pt x="28" y="94"/>
                  </a:lnTo>
                  <a:lnTo>
                    <a:pt x="26" y="90"/>
                  </a:lnTo>
                  <a:lnTo>
                    <a:pt x="26" y="88"/>
                  </a:lnTo>
                  <a:lnTo>
                    <a:pt x="30" y="84"/>
                  </a:lnTo>
                  <a:lnTo>
                    <a:pt x="30" y="84"/>
                  </a:lnTo>
                  <a:lnTo>
                    <a:pt x="30" y="80"/>
                  </a:lnTo>
                  <a:lnTo>
                    <a:pt x="30" y="74"/>
                  </a:lnTo>
                  <a:lnTo>
                    <a:pt x="30" y="74"/>
                  </a:lnTo>
                  <a:lnTo>
                    <a:pt x="28" y="70"/>
                  </a:lnTo>
                  <a:lnTo>
                    <a:pt x="32" y="66"/>
                  </a:lnTo>
                  <a:lnTo>
                    <a:pt x="32" y="66"/>
                  </a:lnTo>
                  <a:lnTo>
                    <a:pt x="34" y="64"/>
                  </a:lnTo>
                  <a:lnTo>
                    <a:pt x="34" y="60"/>
                  </a:lnTo>
                  <a:lnTo>
                    <a:pt x="30" y="52"/>
                  </a:lnTo>
                  <a:lnTo>
                    <a:pt x="30" y="52"/>
                  </a:lnTo>
                  <a:lnTo>
                    <a:pt x="28" y="50"/>
                  </a:lnTo>
                  <a:lnTo>
                    <a:pt x="30" y="48"/>
                  </a:lnTo>
                  <a:lnTo>
                    <a:pt x="34" y="44"/>
                  </a:lnTo>
                  <a:lnTo>
                    <a:pt x="34" y="44"/>
                  </a:lnTo>
                  <a:lnTo>
                    <a:pt x="36" y="38"/>
                  </a:lnTo>
                  <a:lnTo>
                    <a:pt x="32" y="38"/>
                  </a:lnTo>
                  <a:lnTo>
                    <a:pt x="32" y="38"/>
                  </a:lnTo>
                  <a:lnTo>
                    <a:pt x="32" y="36"/>
                  </a:lnTo>
                  <a:lnTo>
                    <a:pt x="28" y="36"/>
                  </a:lnTo>
                  <a:lnTo>
                    <a:pt x="28" y="36"/>
                  </a:lnTo>
                  <a:lnTo>
                    <a:pt x="18" y="36"/>
                  </a:lnTo>
                  <a:lnTo>
                    <a:pt x="18" y="36"/>
                  </a:lnTo>
                  <a:lnTo>
                    <a:pt x="16" y="36"/>
                  </a:lnTo>
                  <a:lnTo>
                    <a:pt x="16" y="36"/>
                  </a:lnTo>
                  <a:lnTo>
                    <a:pt x="16" y="34"/>
                  </a:lnTo>
                  <a:lnTo>
                    <a:pt x="16" y="34"/>
                  </a:lnTo>
                  <a:lnTo>
                    <a:pt x="14" y="32"/>
                  </a:lnTo>
                  <a:lnTo>
                    <a:pt x="10" y="34"/>
                  </a:lnTo>
                  <a:lnTo>
                    <a:pt x="8" y="36"/>
                  </a:lnTo>
                  <a:lnTo>
                    <a:pt x="8" y="36"/>
                  </a:lnTo>
                  <a:lnTo>
                    <a:pt x="6" y="34"/>
                  </a:lnTo>
                  <a:lnTo>
                    <a:pt x="4" y="34"/>
                  </a:lnTo>
                  <a:lnTo>
                    <a:pt x="6" y="32"/>
                  </a:lnTo>
                  <a:lnTo>
                    <a:pt x="6" y="32"/>
                  </a:lnTo>
                  <a:lnTo>
                    <a:pt x="10" y="28"/>
                  </a:lnTo>
                  <a:lnTo>
                    <a:pt x="10" y="28"/>
                  </a:lnTo>
                  <a:lnTo>
                    <a:pt x="6" y="26"/>
                  </a:lnTo>
                  <a:lnTo>
                    <a:pt x="6" y="26"/>
                  </a:lnTo>
                  <a:lnTo>
                    <a:pt x="6" y="24"/>
                  </a:lnTo>
                  <a:lnTo>
                    <a:pt x="4" y="22"/>
                  </a:lnTo>
                  <a:lnTo>
                    <a:pt x="4" y="22"/>
                  </a:lnTo>
                  <a:lnTo>
                    <a:pt x="4" y="20"/>
                  </a:lnTo>
                  <a:lnTo>
                    <a:pt x="4" y="18"/>
                  </a:lnTo>
                  <a:lnTo>
                    <a:pt x="0" y="16"/>
                  </a:lnTo>
                  <a:lnTo>
                    <a:pt x="0" y="16"/>
                  </a:lnTo>
                  <a:lnTo>
                    <a:pt x="0" y="14"/>
                  </a:lnTo>
                  <a:lnTo>
                    <a:pt x="2" y="10"/>
                  </a:lnTo>
                  <a:lnTo>
                    <a:pt x="2" y="10"/>
                  </a:lnTo>
                  <a:lnTo>
                    <a:pt x="8" y="6"/>
                  </a:lnTo>
                  <a:lnTo>
                    <a:pt x="8" y="6"/>
                  </a:lnTo>
                  <a:lnTo>
                    <a:pt x="12" y="8"/>
                  </a:lnTo>
                  <a:lnTo>
                    <a:pt x="16" y="6"/>
                  </a:lnTo>
                  <a:lnTo>
                    <a:pt x="16" y="6"/>
                  </a:lnTo>
                  <a:lnTo>
                    <a:pt x="16" y="4"/>
                  </a:lnTo>
                  <a:lnTo>
                    <a:pt x="16" y="4"/>
                  </a:lnTo>
                  <a:lnTo>
                    <a:pt x="22" y="2"/>
                  </a:lnTo>
                  <a:lnTo>
                    <a:pt x="26" y="0"/>
                  </a:lnTo>
                  <a:lnTo>
                    <a:pt x="26" y="0"/>
                  </a:lnTo>
                  <a:lnTo>
                    <a:pt x="30" y="0"/>
                  </a:lnTo>
                  <a:lnTo>
                    <a:pt x="32" y="2"/>
                  </a:lnTo>
                  <a:lnTo>
                    <a:pt x="36" y="4"/>
                  </a:lnTo>
                  <a:lnTo>
                    <a:pt x="36" y="4"/>
                  </a:lnTo>
                  <a:lnTo>
                    <a:pt x="48" y="2"/>
                  </a:lnTo>
                  <a:lnTo>
                    <a:pt x="48" y="2"/>
                  </a:lnTo>
                  <a:lnTo>
                    <a:pt x="58" y="4"/>
                  </a:lnTo>
                  <a:lnTo>
                    <a:pt x="66" y="6"/>
                  </a:lnTo>
                  <a:lnTo>
                    <a:pt x="66" y="6"/>
                  </a:lnTo>
                  <a:lnTo>
                    <a:pt x="82" y="4"/>
                  </a:lnTo>
                  <a:lnTo>
                    <a:pt x="82" y="4"/>
                  </a:lnTo>
                  <a:lnTo>
                    <a:pt x="90" y="6"/>
                  </a:lnTo>
                  <a:lnTo>
                    <a:pt x="90" y="6"/>
                  </a:lnTo>
                  <a:lnTo>
                    <a:pt x="92" y="10"/>
                  </a:lnTo>
                  <a:lnTo>
                    <a:pt x="92" y="10"/>
                  </a:lnTo>
                  <a:lnTo>
                    <a:pt x="98" y="10"/>
                  </a:lnTo>
                  <a:lnTo>
                    <a:pt x="102" y="10"/>
                  </a:lnTo>
                  <a:lnTo>
                    <a:pt x="102" y="10"/>
                  </a:lnTo>
                  <a:lnTo>
                    <a:pt x="104" y="12"/>
                  </a:lnTo>
                  <a:lnTo>
                    <a:pt x="106" y="16"/>
                  </a:lnTo>
                  <a:lnTo>
                    <a:pt x="106" y="16"/>
                  </a:lnTo>
                  <a:lnTo>
                    <a:pt x="106" y="16"/>
                  </a:lnTo>
                  <a:lnTo>
                    <a:pt x="108" y="18"/>
                  </a:lnTo>
                  <a:lnTo>
                    <a:pt x="112" y="18"/>
                  </a:lnTo>
                  <a:lnTo>
                    <a:pt x="112" y="18"/>
                  </a:lnTo>
                  <a:lnTo>
                    <a:pt x="116" y="20"/>
                  </a:lnTo>
                  <a:lnTo>
                    <a:pt x="120" y="20"/>
                  </a:lnTo>
                  <a:lnTo>
                    <a:pt x="120" y="20"/>
                  </a:lnTo>
                  <a:lnTo>
                    <a:pt x="124" y="22"/>
                  </a:lnTo>
                  <a:lnTo>
                    <a:pt x="128" y="24"/>
                  </a:lnTo>
                  <a:lnTo>
                    <a:pt x="128" y="24"/>
                  </a:lnTo>
                  <a:lnTo>
                    <a:pt x="132" y="22"/>
                  </a:lnTo>
                  <a:lnTo>
                    <a:pt x="134" y="22"/>
                  </a:lnTo>
                  <a:lnTo>
                    <a:pt x="136" y="24"/>
                  </a:lnTo>
                  <a:lnTo>
                    <a:pt x="136" y="24"/>
                  </a:lnTo>
                  <a:lnTo>
                    <a:pt x="146" y="26"/>
                  </a:lnTo>
                  <a:lnTo>
                    <a:pt x="148" y="30"/>
                  </a:lnTo>
                  <a:lnTo>
                    <a:pt x="152" y="28"/>
                  </a:lnTo>
                  <a:lnTo>
                    <a:pt x="152" y="28"/>
                  </a:lnTo>
                  <a:lnTo>
                    <a:pt x="156" y="28"/>
                  </a:lnTo>
                  <a:lnTo>
                    <a:pt x="160" y="28"/>
                  </a:lnTo>
                  <a:lnTo>
                    <a:pt x="160" y="28"/>
                  </a:lnTo>
                  <a:lnTo>
                    <a:pt x="162" y="26"/>
                  </a:lnTo>
                  <a:lnTo>
                    <a:pt x="162" y="26"/>
                  </a:lnTo>
                  <a:lnTo>
                    <a:pt x="164" y="24"/>
                  </a:lnTo>
                  <a:lnTo>
                    <a:pt x="168" y="24"/>
                  </a:lnTo>
                  <a:lnTo>
                    <a:pt x="168" y="24"/>
                  </a:lnTo>
                  <a:close/>
                  <a:moveTo>
                    <a:pt x="146" y="82"/>
                  </a:moveTo>
                  <a:lnTo>
                    <a:pt x="146" y="82"/>
                  </a:lnTo>
                  <a:lnTo>
                    <a:pt x="144" y="86"/>
                  </a:lnTo>
                  <a:lnTo>
                    <a:pt x="142" y="88"/>
                  </a:lnTo>
                  <a:lnTo>
                    <a:pt x="144" y="88"/>
                  </a:lnTo>
                  <a:lnTo>
                    <a:pt x="144" y="88"/>
                  </a:lnTo>
                  <a:lnTo>
                    <a:pt x="144" y="88"/>
                  </a:lnTo>
                  <a:lnTo>
                    <a:pt x="144" y="88"/>
                  </a:lnTo>
                  <a:lnTo>
                    <a:pt x="144" y="88"/>
                  </a:lnTo>
                  <a:lnTo>
                    <a:pt x="148" y="84"/>
                  </a:lnTo>
                  <a:lnTo>
                    <a:pt x="148" y="84"/>
                  </a:lnTo>
                  <a:lnTo>
                    <a:pt x="148" y="82"/>
                  </a:lnTo>
                  <a:lnTo>
                    <a:pt x="146" y="82"/>
                  </a:lnTo>
                  <a:lnTo>
                    <a:pt x="146" y="82"/>
                  </a:lnTo>
                  <a:close/>
                  <a:moveTo>
                    <a:pt x="190" y="70"/>
                  </a:moveTo>
                  <a:lnTo>
                    <a:pt x="190" y="74"/>
                  </a:lnTo>
                  <a:lnTo>
                    <a:pt x="190" y="74"/>
                  </a:lnTo>
                  <a:lnTo>
                    <a:pt x="194" y="74"/>
                  </a:lnTo>
                  <a:lnTo>
                    <a:pt x="196" y="74"/>
                  </a:lnTo>
                  <a:lnTo>
                    <a:pt x="196" y="72"/>
                  </a:lnTo>
                  <a:lnTo>
                    <a:pt x="196" y="70"/>
                  </a:lnTo>
                  <a:lnTo>
                    <a:pt x="196" y="70"/>
                  </a:lnTo>
                  <a:lnTo>
                    <a:pt x="190" y="70"/>
                  </a:lnTo>
                  <a:lnTo>
                    <a:pt x="190" y="70"/>
                  </a:lnTo>
                  <a:close/>
                  <a:moveTo>
                    <a:pt x="170" y="70"/>
                  </a:moveTo>
                  <a:lnTo>
                    <a:pt x="170" y="70"/>
                  </a:lnTo>
                  <a:lnTo>
                    <a:pt x="166" y="72"/>
                  </a:lnTo>
                  <a:lnTo>
                    <a:pt x="166" y="72"/>
                  </a:lnTo>
                  <a:lnTo>
                    <a:pt x="168" y="76"/>
                  </a:lnTo>
                  <a:lnTo>
                    <a:pt x="168" y="78"/>
                  </a:lnTo>
                  <a:lnTo>
                    <a:pt x="168" y="82"/>
                  </a:lnTo>
                  <a:lnTo>
                    <a:pt x="168" y="82"/>
                  </a:lnTo>
                  <a:lnTo>
                    <a:pt x="168" y="86"/>
                  </a:lnTo>
                  <a:lnTo>
                    <a:pt x="168" y="86"/>
                  </a:lnTo>
                  <a:lnTo>
                    <a:pt x="170" y="86"/>
                  </a:lnTo>
                  <a:lnTo>
                    <a:pt x="170" y="86"/>
                  </a:lnTo>
                  <a:lnTo>
                    <a:pt x="174" y="82"/>
                  </a:lnTo>
                  <a:lnTo>
                    <a:pt x="174" y="82"/>
                  </a:lnTo>
                  <a:lnTo>
                    <a:pt x="176" y="78"/>
                  </a:lnTo>
                  <a:lnTo>
                    <a:pt x="176" y="76"/>
                  </a:lnTo>
                  <a:lnTo>
                    <a:pt x="170" y="70"/>
                  </a:lnTo>
                  <a:lnTo>
                    <a:pt x="170" y="7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0" name="Freeform 40"/>
            <p:cNvSpPr>
              <a:spLocks noChangeAspect="1"/>
            </p:cNvSpPr>
            <p:nvPr/>
          </p:nvSpPr>
          <p:spPr bwMode="gray">
            <a:xfrm>
              <a:off x="7158902" y="3348510"/>
              <a:ext cx="68005" cy="121728"/>
            </a:xfrm>
            <a:custGeom>
              <a:avLst/>
              <a:gdLst/>
              <a:ahLst/>
              <a:cxnLst>
                <a:cxn ang="0">
                  <a:pos x="6" y="10"/>
                </a:cxn>
                <a:cxn ang="0">
                  <a:pos x="10" y="20"/>
                </a:cxn>
                <a:cxn ang="0">
                  <a:pos x="10" y="22"/>
                </a:cxn>
                <a:cxn ang="0">
                  <a:pos x="10" y="24"/>
                </a:cxn>
                <a:cxn ang="0">
                  <a:pos x="4" y="24"/>
                </a:cxn>
                <a:cxn ang="0">
                  <a:pos x="4" y="28"/>
                </a:cxn>
                <a:cxn ang="0">
                  <a:pos x="10" y="32"/>
                </a:cxn>
                <a:cxn ang="0">
                  <a:pos x="6" y="36"/>
                </a:cxn>
                <a:cxn ang="0">
                  <a:pos x="6" y="38"/>
                </a:cxn>
                <a:cxn ang="0">
                  <a:pos x="10" y="44"/>
                </a:cxn>
                <a:cxn ang="0">
                  <a:pos x="4" y="52"/>
                </a:cxn>
                <a:cxn ang="0">
                  <a:pos x="4" y="56"/>
                </a:cxn>
                <a:cxn ang="0">
                  <a:pos x="4" y="60"/>
                </a:cxn>
                <a:cxn ang="0">
                  <a:pos x="2" y="64"/>
                </a:cxn>
                <a:cxn ang="0">
                  <a:pos x="2" y="70"/>
                </a:cxn>
                <a:cxn ang="0">
                  <a:pos x="2" y="70"/>
                </a:cxn>
                <a:cxn ang="0">
                  <a:pos x="0" y="72"/>
                </a:cxn>
                <a:cxn ang="0">
                  <a:pos x="6" y="74"/>
                </a:cxn>
                <a:cxn ang="0">
                  <a:pos x="6" y="74"/>
                </a:cxn>
                <a:cxn ang="0">
                  <a:pos x="14" y="70"/>
                </a:cxn>
                <a:cxn ang="0">
                  <a:pos x="14" y="66"/>
                </a:cxn>
                <a:cxn ang="0">
                  <a:pos x="30" y="64"/>
                </a:cxn>
                <a:cxn ang="0">
                  <a:pos x="30" y="60"/>
                </a:cxn>
                <a:cxn ang="0">
                  <a:pos x="30" y="58"/>
                </a:cxn>
                <a:cxn ang="0">
                  <a:pos x="38" y="56"/>
                </a:cxn>
                <a:cxn ang="0">
                  <a:pos x="40" y="52"/>
                </a:cxn>
                <a:cxn ang="0">
                  <a:pos x="40" y="24"/>
                </a:cxn>
                <a:cxn ang="0">
                  <a:pos x="38" y="20"/>
                </a:cxn>
                <a:cxn ang="0">
                  <a:pos x="34" y="16"/>
                </a:cxn>
                <a:cxn ang="0">
                  <a:pos x="34" y="12"/>
                </a:cxn>
                <a:cxn ang="0">
                  <a:pos x="30" y="10"/>
                </a:cxn>
                <a:cxn ang="0">
                  <a:pos x="30" y="6"/>
                </a:cxn>
                <a:cxn ang="0">
                  <a:pos x="30" y="4"/>
                </a:cxn>
                <a:cxn ang="0">
                  <a:pos x="30" y="2"/>
                </a:cxn>
                <a:cxn ang="0">
                  <a:pos x="22" y="4"/>
                </a:cxn>
                <a:cxn ang="0">
                  <a:pos x="12" y="2"/>
                </a:cxn>
                <a:cxn ang="0">
                  <a:pos x="6" y="10"/>
                </a:cxn>
              </a:cxnLst>
              <a:rect l="0" t="0" r="r" b="b"/>
              <a:pathLst>
                <a:path w="40" h="74">
                  <a:moveTo>
                    <a:pt x="6" y="10"/>
                  </a:moveTo>
                  <a:lnTo>
                    <a:pt x="6" y="10"/>
                  </a:lnTo>
                  <a:lnTo>
                    <a:pt x="8" y="20"/>
                  </a:lnTo>
                  <a:lnTo>
                    <a:pt x="10" y="20"/>
                  </a:lnTo>
                  <a:lnTo>
                    <a:pt x="10" y="20"/>
                  </a:lnTo>
                  <a:lnTo>
                    <a:pt x="10" y="22"/>
                  </a:lnTo>
                  <a:lnTo>
                    <a:pt x="10" y="24"/>
                  </a:lnTo>
                  <a:lnTo>
                    <a:pt x="10" y="24"/>
                  </a:lnTo>
                  <a:lnTo>
                    <a:pt x="4" y="24"/>
                  </a:lnTo>
                  <a:lnTo>
                    <a:pt x="4" y="24"/>
                  </a:lnTo>
                  <a:lnTo>
                    <a:pt x="4" y="28"/>
                  </a:lnTo>
                  <a:lnTo>
                    <a:pt x="4" y="28"/>
                  </a:lnTo>
                  <a:lnTo>
                    <a:pt x="10" y="32"/>
                  </a:lnTo>
                  <a:lnTo>
                    <a:pt x="10" y="32"/>
                  </a:lnTo>
                  <a:lnTo>
                    <a:pt x="6" y="34"/>
                  </a:lnTo>
                  <a:lnTo>
                    <a:pt x="6" y="36"/>
                  </a:lnTo>
                  <a:lnTo>
                    <a:pt x="6" y="38"/>
                  </a:lnTo>
                  <a:lnTo>
                    <a:pt x="6" y="38"/>
                  </a:lnTo>
                  <a:lnTo>
                    <a:pt x="10" y="44"/>
                  </a:lnTo>
                  <a:lnTo>
                    <a:pt x="10" y="44"/>
                  </a:lnTo>
                  <a:lnTo>
                    <a:pt x="8" y="48"/>
                  </a:lnTo>
                  <a:lnTo>
                    <a:pt x="4" y="52"/>
                  </a:lnTo>
                  <a:lnTo>
                    <a:pt x="4" y="52"/>
                  </a:lnTo>
                  <a:lnTo>
                    <a:pt x="4" y="56"/>
                  </a:lnTo>
                  <a:lnTo>
                    <a:pt x="4" y="60"/>
                  </a:lnTo>
                  <a:lnTo>
                    <a:pt x="4" y="60"/>
                  </a:lnTo>
                  <a:lnTo>
                    <a:pt x="2" y="64"/>
                  </a:lnTo>
                  <a:lnTo>
                    <a:pt x="2" y="64"/>
                  </a:lnTo>
                  <a:lnTo>
                    <a:pt x="2" y="68"/>
                  </a:lnTo>
                  <a:lnTo>
                    <a:pt x="2" y="70"/>
                  </a:lnTo>
                  <a:lnTo>
                    <a:pt x="2" y="70"/>
                  </a:lnTo>
                  <a:lnTo>
                    <a:pt x="2" y="70"/>
                  </a:lnTo>
                  <a:lnTo>
                    <a:pt x="0" y="72"/>
                  </a:lnTo>
                  <a:lnTo>
                    <a:pt x="0" y="72"/>
                  </a:lnTo>
                  <a:lnTo>
                    <a:pt x="4" y="74"/>
                  </a:lnTo>
                  <a:lnTo>
                    <a:pt x="6" y="74"/>
                  </a:lnTo>
                  <a:lnTo>
                    <a:pt x="6" y="74"/>
                  </a:lnTo>
                  <a:lnTo>
                    <a:pt x="6" y="74"/>
                  </a:lnTo>
                  <a:lnTo>
                    <a:pt x="14" y="70"/>
                  </a:lnTo>
                  <a:lnTo>
                    <a:pt x="14" y="70"/>
                  </a:lnTo>
                  <a:lnTo>
                    <a:pt x="14" y="66"/>
                  </a:lnTo>
                  <a:lnTo>
                    <a:pt x="14" y="66"/>
                  </a:lnTo>
                  <a:lnTo>
                    <a:pt x="22" y="64"/>
                  </a:lnTo>
                  <a:lnTo>
                    <a:pt x="30" y="64"/>
                  </a:lnTo>
                  <a:lnTo>
                    <a:pt x="30" y="64"/>
                  </a:lnTo>
                  <a:lnTo>
                    <a:pt x="30" y="60"/>
                  </a:lnTo>
                  <a:lnTo>
                    <a:pt x="30" y="58"/>
                  </a:lnTo>
                  <a:lnTo>
                    <a:pt x="30" y="58"/>
                  </a:lnTo>
                  <a:lnTo>
                    <a:pt x="36" y="58"/>
                  </a:lnTo>
                  <a:lnTo>
                    <a:pt x="38" y="56"/>
                  </a:lnTo>
                  <a:lnTo>
                    <a:pt x="38" y="56"/>
                  </a:lnTo>
                  <a:lnTo>
                    <a:pt x="40" y="52"/>
                  </a:lnTo>
                  <a:lnTo>
                    <a:pt x="40" y="40"/>
                  </a:lnTo>
                  <a:lnTo>
                    <a:pt x="40" y="24"/>
                  </a:lnTo>
                  <a:lnTo>
                    <a:pt x="40" y="24"/>
                  </a:lnTo>
                  <a:lnTo>
                    <a:pt x="38" y="20"/>
                  </a:lnTo>
                  <a:lnTo>
                    <a:pt x="34" y="16"/>
                  </a:lnTo>
                  <a:lnTo>
                    <a:pt x="34" y="16"/>
                  </a:lnTo>
                  <a:lnTo>
                    <a:pt x="34" y="12"/>
                  </a:lnTo>
                  <a:lnTo>
                    <a:pt x="34" y="12"/>
                  </a:lnTo>
                  <a:lnTo>
                    <a:pt x="32" y="10"/>
                  </a:lnTo>
                  <a:lnTo>
                    <a:pt x="30" y="10"/>
                  </a:lnTo>
                  <a:lnTo>
                    <a:pt x="30" y="10"/>
                  </a:lnTo>
                  <a:lnTo>
                    <a:pt x="30" y="6"/>
                  </a:lnTo>
                  <a:lnTo>
                    <a:pt x="30" y="4"/>
                  </a:lnTo>
                  <a:lnTo>
                    <a:pt x="30" y="4"/>
                  </a:lnTo>
                  <a:lnTo>
                    <a:pt x="30" y="2"/>
                  </a:lnTo>
                  <a:lnTo>
                    <a:pt x="30" y="2"/>
                  </a:lnTo>
                  <a:lnTo>
                    <a:pt x="22" y="4"/>
                  </a:lnTo>
                  <a:lnTo>
                    <a:pt x="22" y="4"/>
                  </a:lnTo>
                  <a:lnTo>
                    <a:pt x="16" y="0"/>
                  </a:lnTo>
                  <a:lnTo>
                    <a:pt x="12" y="2"/>
                  </a:lnTo>
                  <a:lnTo>
                    <a:pt x="4" y="10"/>
                  </a:lnTo>
                  <a:lnTo>
                    <a:pt x="6"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1" name="Freeform 44"/>
            <p:cNvSpPr>
              <a:spLocks noChangeAspect="1" noEditPoints="1"/>
            </p:cNvSpPr>
            <p:nvPr/>
          </p:nvSpPr>
          <p:spPr bwMode="gray">
            <a:xfrm>
              <a:off x="7832148" y="4625007"/>
              <a:ext cx="132609" cy="115148"/>
            </a:xfrm>
            <a:custGeom>
              <a:avLst/>
              <a:gdLst/>
              <a:ahLst/>
              <a:cxnLst>
                <a:cxn ang="0">
                  <a:pos x="66" y="60"/>
                </a:cxn>
                <a:cxn ang="0">
                  <a:pos x="66" y="64"/>
                </a:cxn>
                <a:cxn ang="0">
                  <a:pos x="70" y="66"/>
                </a:cxn>
                <a:cxn ang="0">
                  <a:pos x="78" y="70"/>
                </a:cxn>
                <a:cxn ang="0">
                  <a:pos x="78" y="68"/>
                </a:cxn>
                <a:cxn ang="0">
                  <a:pos x="76" y="68"/>
                </a:cxn>
                <a:cxn ang="0">
                  <a:pos x="66" y="60"/>
                </a:cxn>
                <a:cxn ang="0">
                  <a:pos x="42" y="44"/>
                </a:cxn>
                <a:cxn ang="0">
                  <a:pos x="42" y="46"/>
                </a:cxn>
                <a:cxn ang="0">
                  <a:pos x="42" y="50"/>
                </a:cxn>
                <a:cxn ang="0">
                  <a:pos x="50" y="52"/>
                </a:cxn>
                <a:cxn ang="0">
                  <a:pos x="58" y="52"/>
                </a:cxn>
                <a:cxn ang="0">
                  <a:pos x="56" y="48"/>
                </a:cxn>
                <a:cxn ang="0">
                  <a:pos x="42" y="44"/>
                </a:cxn>
                <a:cxn ang="0">
                  <a:pos x="54" y="30"/>
                </a:cxn>
                <a:cxn ang="0">
                  <a:pos x="58" y="40"/>
                </a:cxn>
                <a:cxn ang="0">
                  <a:pos x="62" y="44"/>
                </a:cxn>
                <a:cxn ang="0">
                  <a:pos x="62" y="46"/>
                </a:cxn>
                <a:cxn ang="0">
                  <a:pos x="66" y="46"/>
                </a:cxn>
                <a:cxn ang="0">
                  <a:pos x="56" y="30"/>
                </a:cxn>
                <a:cxn ang="0">
                  <a:pos x="12" y="20"/>
                </a:cxn>
                <a:cxn ang="0">
                  <a:pos x="10" y="26"/>
                </a:cxn>
                <a:cxn ang="0">
                  <a:pos x="14" y="30"/>
                </a:cxn>
                <a:cxn ang="0">
                  <a:pos x="16" y="30"/>
                </a:cxn>
                <a:cxn ang="0">
                  <a:pos x="18" y="30"/>
                </a:cxn>
                <a:cxn ang="0">
                  <a:pos x="16" y="22"/>
                </a:cxn>
                <a:cxn ang="0">
                  <a:pos x="12" y="20"/>
                </a:cxn>
                <a:cxn ang="0">
                  <a:pos x="28" y="12"/>
                </a:cxn>
                <a:cxn ang="0">
                  <a:pos x="26" y="16"/>
                </a:cxn>
                <a:cxn ang="0">
                  <a:pos x="42" y="28"/>
                </a:cxn>
                <a:cxn ang="0">
                  <a:pos x="42" y="26"/>
                </a:cxn>
                <a:cxn ang="0">
                  <a:pos x="38" y="22"/>
                </a:cxn>
                <a:cxn ang="0">
                  <a:pos x="36" y="16"/>
                </a:cxn>
                <a:cxn ang="0">
                  <a:pos x="28" y="12"/>
                </a:cxn>
                <a:cxn ang="0">
                  <a:pos x="0" y="0"/>
                </a:cxn>
                <a:cxn ang="0">
                  <a:pos x="2" y="4"/>
                </a:cxn>
                <a:cxn ang="0">
                  <a:pos x="6" y="10"/>
                </a:cxn>
                <a:cxn ang="0">
                  <a:pos x="12" y="10"/>
                </a:cxn>
                <a:cxn ang="0">
                  <a:pos x="10" y="8"/>
                </a:cxn>
                <a:cxn ang="0">
                  <a:pos x="0" y="0"/>
                </a:cxn>
              </a:cxnLst>
              <a:rect l="0" t="0" r="r" b="b"/>
              <a:pathLst>
                <a:path w="78" h="70">
                  <a:moveTo>
                    <a:pt x="66" y="60"/>
                  </a:moveTo>
                  <a:lnTo>
                    <a:pt x="66" y="60"/>
                  </a:lnTo>
                  <a:lnTo>
                    <a:pt x="66" y="62"/>
                  </a:lnTo>
                  <a:lnTo>
                    <a:pt x="66" y="64"/>
                  </a:lnTo>
                  <a:lnTo>
                    <a:pt x="66" y="64"/>
                  </a:lnTo>
                  <a:lnTo>
                    <a:pt x="70" y="66"/>
                  </a:lnTo>
                  <a:lnTo>
                    <a:pt x="74" y="68"/>
                  </a:lnTo>
                  <a:lnTo>
                    <a:pt x="78" y="70"/>
                  </a:lnTo>
                  <a:lnTo>
                    <a:pt x="78" y="68"/>
                  </a:lnTo>
                  <a:lnTo>
                    <a:pt x="78" y="68"/>
                  </a:lnTo>
                  <a:lnTo>
                    <a:pt x="76" y="68"/>
                  </a:lnTo>
                  <a:lnTo>
                    <a:pt x="76" y="68"/>
                  </a:lnTo>
                  <a:lnTo>
                    <a:pt x="72" y="64"/>
                  </a:lnTo>
                  <a:lnTo>
                    <a:pt x="66" y="60"/>
                  </a:lnTo>
                  <a:lnTo>
                    <a:pt x="66" y="60"/>
                  </a:lnTo>
                  <a:close/>
                  <a:moveTo>
                    <a:pt x="42" y="44"/>
                  </a:moveTo>
                  <a:lnTo>
                    <a:pt x="42" y="44"/>
                  </a:lnTo>
                  <a:lnTo>
                    <a:pt x="42" y="46"/>
                  </a:lnTo>
                  <a:lnTo>
                    <a:pt x="42" y="50"/>
                  </a:lnTo>
                  <a:lnTo>
                    <a:pt x="42" y="50"/>
                  </a:lnTo>
                  <a:lnTo>
                    <a:pt x="46" y="52"/>
                  </a:lnTo>
                  <a:lnTo>
                    <a:pt x="50" y="52"/>
                  </a:lnTo>
                  <a:lnTo>
                    <a:pt x="58" y="52"/>
                  </a:lnTo>
                  <a:lnTo>
                    <a:pt x="58" y="52"/>
                  </a:lnTo>
                  <a:lnTo>
                    <a:pt x="56" y="48"/>
                  </a:lnTo>
                  <a:lnTo>
                    <a:pt x="56" y="48"/>
                  </a:lnTo>
                  <a:lnTo>
                    <a:pt x="42" y="44"/>
                  </a:lnTo>
                  <a:lnTo>
                    <a:pt x="42" y="44"/>
                  </a:lnTo>
                  <a:close/>
                  <a:moveTo>
                    <a:pt x="54" y="30"/>
                  </a:moveTo>
                  <a:lnTo>
                    <a:pt x="54" y="30"/>
                  </a:lnTo>
                  <a:lnTo>
                    <a:pt x="56" y="36"/>
                  </a:lnTo>
                  <a:lnTo>
                    <a:pt x="58" y="40"/>
                  </a:lnTo>
                  <a:lnTo>
                    <a:pt x="58" y="40"/>
                  </a:lnTo>
                  <a:lnTo>
                    <a:pt x="62" y="44"/>
                  </a:lnTo>
                  <a:lnTo>
                    <a:pt x="62" y="46"/>
                  </a:lnTo>
                  <a:lnTo>
                    <a:pt x="62" y="46"/>
                  </a:lnTo>
                  <a:lnTo>
                    <a:pt x="66" y="46"/>
                  </a:lnTo>
                  <a:lnTo>
                    <a:pt x="66" y="46"/>
                  </a:lnTo>
                  <a:lnTo>
                    <a:pt x="62" y="38"/>
                  </a:lnTo>
                  <a:lnTo>
                    <a:pt x="56" y="30"/>
                  </a:lnTo>
                  <a:lnTo>
                    <a:pt x="54" y="30"/>
                  </a:lnTo>
                  <a:close/>
                  <a:moveTo>
                    <a:pt x="12" y="20"/>
                  </a:moveTo>
                  <a:lnTo>
                    <a:pt x="12" y="20"/>
                  </a:lnTo>
                  <a:lnTo>
                    <a:pt x="10" y="26"/>
                  </a:lnTo>
                  <a:lnTo>
                    <a:pt x="14" y="30"/>
                  </a:lnTo>
                  <a:lnTo>
                    <a:pt x="14" y="30"/>
                  </a:lnTo>
                  <a:lnTo>
                    <a:pt x="14" y="30"/>
                  </a:lnTo>
                  <a:lnTo>
                    <a:pt x="16" y="30"/>
                  </a:lnTo>
                  <a:lnTo>
                    <a:pt x="18" y="30"/>
                  </a:lnTo>
                  <a:lnTo>
                    <a:pt x="18" y="30"/>
                  </a:lnTo>
                  <a:lnTo>
                    <a:pt x="18" y="26"/>
                  </a:lnTo>
                  <a:lnTo>
                    <a:pt x="16" y="22"/>
                  </a:lnTo>
                  <a:lnTo>
                    <a:pt x="16" y="22"/>
                  </a:lnTo>
                  <a:lnTo>
                    <a:pt x="12" y="20"/>
                  </a:lnTo>
                  <a:lnTo>
                    <a:pt x="12" y="20"/>
                  </a:lnTo>
                  <a:close/>
                  <a:moveTo>
                    <a:pt x="28" y="12"/>
                  </a:moveTo>
                  <a:lnTo>
                    <a:pt x="28" y="12"/>
                  </a:lnTo>
                  <a:lnTo>
                    <a:pt x="26" y="16"/>
                  </a:lnTo>
                  <a:lnTo>
                    <a:pt x="26" y="16"/>
                  </a:lnTo>
                  <a:lnTo>
                    <a:pt x="42" y="28"/>
                  </a:lnTo>
                  <a:lnTo>
                    <a:pt x="42" y="28"/>
                  </a:lnTo>
                  <a:lnTo>
                    <a:pt x="42" y="26"/>
                  </a:lnTo>
                  <a:lnTo>
                    <a:pt x="42" y="26"/>
                  </a:lnTo>
                  <a:lnTo>
                    <a:pt x="38" y="22"/>
                  </a:lnTo>
                  <a:lnTo>
                    <a:pt x="38" y="22"/>
                  </a:lnTo>
                  <a:lnTo>
                    <a:pt x="36" y="16"/>
                  </a:lnTo>
                  <a:lnTo>
                    <a:pt x="36" y="16"/>
                  </a:lnTo>
                  <a:lnTo>
                    <a:pt x="28" y="12"/>
                  </a:lnTo>
                  <a:lnTo>
                    <a:pt x="28" y="12"/>
                  </a:lnTo>
                  <a:close/>
                  <a:moveTo>
                    <a:pt x="0" y="0"/>
                  </a:moveTo>
                  <a:lnTo>
                    <a:pt x="0" y="0"/>
                  </a:lnTo>
                  <a:lnTo>
                    <a:pt x="2" y="4"/>
                  </a:lnTo>
                  <a:lnTo>
                    <a:pt x="4" y="8"/>
                  </a:lnTo>
                  <a:lnTo>
                    <a:pt x="6" y="10"/>
                  </a:lnTo>
                  <a:lnTo>
                    <a:pt x="12" y="10"/>
                  </a:lnTo>
                  <a:lnTo>
                    <a:pt x="12" y="10"/>
                  </a:lnTo>
                  <a:lnTo>
                    <a:pt x="10" y="8"/>
                  </a:lnTo>
                  <a:lnTo>
                    <a:pt x="10" y="8"/>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2" name="Freeform 45"/>
            <p:cNvSpPr>
              <a:spLocks noChangeAspect="1"/>
            </p:cNvSpPr>
            <p:nvPr/>
          </p:nvSpPr>
          <p:spPr bwMode="gray">
            <a:xfrm>
              <a:off x="4588328" y="3062286"/>
              <a:ext cx="78205" cy="72379"/>
            </a:xfrm>
            <a:custGeom>
              <a:avLst/>
              <a:gdLst/>
              <a:ahLst/>
              <a:cxnLst>
                <a:cxn ang="0">
                  <a:pos x="6" y="34"/>
                </a:cxn>
                <a:cxn ang="0">
                  <a:pos x="6" y="38"/>
                </a:cxn>
                <a:cxn ang="0">
                  <a:pos x="4" y="38"/>
                </a:cxn>
                <a:cxn ang="0">
                  <a:pos x="2" y="42"/>
                </a:cxn>
                <a:cxn ang="0">
                  <a:pos x="4" y="44"/>
                </a:cxn>
                <a:cxn ang="0">
                  <a:pos x="12" y="42"/>
                </a:cxn>
                <a:cxn ang="0">
                  <a:pos x="20" y="38"/>
                </a:cxn>
                <a:cxn ang="0">
                  <a:pos x="22" y="34"/>
                </a:cxn>
                <a:cxn ang="0">
                  <a:pos x="20" y="30"/>
                </a:cxn>
                <a:cxn ang="0">
                  <a:pos x="22" y="30"/>
                </a:cxn>
                <a:cxn ang="0">
                  <a:pos x="26" y="32"/>
                </a:cxn>
                <a:cxn ang="0">
                  <a:pos x="28" y="32"/>
                </a:cxn>
                <a:cxn ang="0">
                  <a:pos x="32" y="20"/>
                </a:cxn>
                <a:cxn ang="0">
                  <a:pos x="34" y="18"/>
                </a:cxn>
                <a:cxn ang="0">
                  <a:pos x="36" y="18"/>
                </a:cxn>
                <a:cxn ang="0">
                  <a:pos x="42" y="14"/>
                </a:cxn>
                <a:cxn ang="0">
                  <a:pos x="44" y="12"/>
                </a:cxn>
                <a:cxn ang="0">
                  <a:pos x="46" y="10"/>
                </a:cxn>
                <a:cxn ang="0">
                  <a:pos x="46" y="6"/>
                </a:cxn>
                <a:cxn ang="0">
                  <a:pos x="44" y="2"/>
                </a:cxn>
                <a:cxn ang="0">
                  <a:pos x="44" y="0"/>
                </a:cxn>
                <a:cxn ang="0">
                  <a:pos x="38" y="4"/>
                </a:cxn>
                <a:cxn ang="0">
                  <a:pos x="30" y="2"/>
                </a:cxn>
                <a:cxn ang="0">
                  <a:pos x="26" y="4"/>
                </a:cxn>
                <a:cxn ang="0">
                  <a:pos x="22" y="6"/>
                </a:cxn>
                <a:cxn ang="0">
                  <a:pos x="14" y="8"/>
                </a:cxn>
                <a:cxn ang="0">
                  <a:pos x="8" y="8"/>
                </a:cxn>
                <a:cxn ang="0">
                  <a:pos x="8" y="10"/>
                </a:cxn>
                <a:cxn ang="0">
                  <a:pos x="6" y="12"/>
                </a:cxn>
                <a:cxn ang="0">
                  <a:pos x="2" y="12"/>
                </a:cxn>
                <a:cxn ang="0">
                  <a:pos x="0" y="20"/>
                </a:cxn>
                <a:cxn ang="0">
                  <a:pos x="2" y="22"/>
                </a:cxn>
                <a:cxn ang="0">
                  <a:pos x="4" y="22"/>
                </a:cxn>
                <a:cxn ang="0">
                  <a:pos x="6" y="26"/>
                </a:cxn>
                <a:cxn ang="0">
                  <a:pos x="4" y="32"/>
                </a:cxn>
                <a:cxn ang="0">
                  <a:pos x="6" y="34"/>
                </a:cxn>
              </a:cxnLst>
              <a:rect l="0" t="0" r="r" b="b"/>
              <a:pathLst>
                <a:path w="46" h="44">
                  <a:moveTo>
                    <a:pt x="6" y="34"/>
                  </a:moveTo>
                  <a:lnTo>
                    <a:pt x="6" y="34"/>
                  </a:lnTo>
                  <a:lnTo>
                    <a:pt x="6" y="36"/>
                  </a:lnTo>
                  <a:lnTo>
                    <a:pt x="6" y="38"/>
                  </a:lnTo>
                  <a:lnTo>
                    <a:pt x="4" y="38"/>
                  </a:lnTo>
                  <a:lnTo>
                    <a:pt x="4" y="38"/>
                  </a:lnTo>
                  <a:lnTo>
                    <a:pt x="4" y="42"/>
                  </a:lnTo>
                  <a:lnTo>
                    <a:pt x="2" y="42"/>
                  </a:lnTo>
                  <a:lnTo>
                    <a:pt x="2" y="42"/>
                  </a:lnTo>
                  <a:lnTo>
                    <a:pt x="4" y="44"/>
                  </a:lnTo>
                  <a:lnTo>
                    <a:pt x="4" y="44"/>
                  </a:lnTo>
                  <a:lnTo>
                    <a:pt x="12" y="42"/>
                  </a:lnTo>
                  <a:lnTo>
                    <a:pt x="16" y="40"/>
                  </a:lnTo>
                  <a:lnTo>
                    <a:pt x="20" y="38"/>
                  </a:lnTo>
                  <a:lnTo>
                    <a:pt x="20" y="38"/>
                  </a:lnTo>
                  <a:lnTo>
                    <a:pt x="22" y="34"/>
                  </a:lnTo>
                  <a:lnTo>
                    <a:pt x="20" y="30"/>
                  </a:lnTo>
                  <a:lnTo>
                    <a:pt x="20" y="30"/>
                  </a:lnTo>
                  <a:lnTo>
                    <a:pt x="22" y="28"/>
                  </a:lnTo>
                  <a:lnTo>
                    <a:pt x="22" y="30"/>
                  </a:lnTo>
                  <a:lnTo>
                    <a:pt x="24" y="32"/>
                  </a:lnTo>
                  <a:lnTo>
                    <a:pt x="26" y="32"/>
                  </a:lnTo>
                  <a:lnTo>
                    <a:pt x="26" y="32"/>
                  </a:lnTo>
                  <a:lnTo>
                    <a:pt x="28" y="32"/>
                  </a:lnTo>
                  <a:lnTo>
                    <a:pt x="30" y="28"/>
                  </a:lnTo>
                  <a:lnTo>
                    <a:pt x="32" y="20"/>
                  </a:lnTo>
                  <a:lnTo>
                    <a:pt x="32" y="20"/>
                  </a:lnTo>
                  <a:lnTo>
                    <a:pt x="34" y="18"/>
                  </a:lnTo>
                  <a:lnTo>
                    <a:pt x="36" y="18"/>
                  </a:lnTo>
                  <a:lnTo>
                    <a:pt x="36" y="18"/>
                  </a:lnTo>
                  <a:lnTo>
                    <a:pt x="40" y="18"/>
                  </a:lnTo>
                  <a:lnTo>
                    <a:pt x="42" y="14"/>
                  </a:lnTo>
                  <a:lnTo>
                    <a:pt x="42" y="14"/>
                  </a:lnTo>
                  <a:lnTo>
                    <a:pt x="44" y="12"/>
                  </a:lnTo>
                  <a:lnTo>
                    <a:pt x="46" y="10"/>
                  </a:lnTo>
                  <a:lnTo>
                    <a:pt x="46" y="10"/>
                  </a:lnTo>
                  <a:lnTo>
                    <a:pt x="46" y="10"/>
                  </a:lnTo>
                  <a:lnTo>
                    <a:pt x="46" y="6"/>
                  </a:lnTo>
                  <a:lnTo>
                    <a:pt x="46" y="6"/>
                  </a:lnTo>
                  <a:lnTo>
                    <a:pt x="44" y="2"/>
                  </a:lnTo>
                  <a:lnTo>
                    <a:pt x="44" y="0"/>
                  </a:lnTo>
                  <a:lnTo>
                    <a:pt x="44" y="0"/>
                  </a:lnTo>
                  <a:lnTo>
                    <a:pt x="38" y="4"/>
                  </a:lnTo>
                  <a:lnTo>
                    <a:pt x="38" y="4"/>
                  </a:lnTo>
                  <a:lnTo>
                    <a:pt x="34" y="4"/>
                  </a:lnTo>
                  <a:lnTo>
                    <a:pt x="30" y="2"/>
                  </a:lnTo>
                  <a:lnTo>
                    <a:pt x="30" y="2"/>
                  </a:lnTo>
                  <a:lnTo>
                    <a:pt x="26" y="4"/>
                  </a:lnTo>
                  <a:lnTo>
                    <a:pt x="22" y="6"/>
                  </a:lnTo>
                  <a:lnTo>
                    <a:pt x="22" y="6"/>
                  </a:lnTo>
                  <a:lnTo>
                    <a:pt x="20" y="10"/>
                  </a:lnTo>
                  <a:lnTo>
                    <a:pt x="14" y="8"/>
                  </a:lnTo>
                  <a:lnTo>
                    <a:pt x="14" y="8"/>
                  </a:lnTo>
                  <a:lnTo>
                    <a:pt x="8" y="8"/>
                  </a:lnTo>
                  <a:lnTo>
                    <a:pt x="8" y="10"/>
                  </a:lnTo>
                  <a:lnTo>
                    <a:pt x="8" y="10"/>
                  </a:lnTo>
                  <a:lnTo>
                    <a:pt x="6" y="12"/>
                  </a:lnTo>
                  <a:lnTo>
                    <a:pt x="6" y="12"/>
                  </a:lnTo>
                  <a:lnTo>
                    <a:pt x="2" y="12"/>
                  </a:lnTo>
                  <a:lnTo>
                    <a:pt x="2" y="12"/>
                  </a:lnTo>
                  <a:lnTo>
                    <a:pt x="0" y="16"/>
                  </a:lnTo>
                  <a:lnTo>
                    <a:pt x="0" y="20"/>
                  </a:lnTo>
                  <a:lnTo>
                    <a:pt x="2" y="22"/>
                  </a:lnTo>
                  <a:lnTo>
                    <a:pt x="2" y="22"/>
                  </a:lnTo>
                  <a:lnTo>
                    <a:pt x="4" y="22"/>
                  </a:lnTo>
                  <a:lnTo>
                    <a:pt x="4" y="22"/>
                  </a:lnTo>
                  <a:lnTo>
                    <a:pt x="6" y="26"/>
                  </a:lnTo>
                  <a:lnTo>
                    <a:pt x="6" y="26"/>
                  </a:lnTo>
                  <a:lnTo>
                    <a:pt x="4" y="30"/>
                  </a:lnTo>
                  <a:lnTo>
                    <a:pt x="4" y="32"/>
                  </a:lnTo>
                  <a:lnTo>
                    <a:pt x="6" y="32"/>
                  </a:lnTo>
                  <a:lnTo>
                    <a:pt x="6" y="3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3" name="Freeform 46"/>
            <p:cNvSpPr>
              <a:spLocks noChangeAspect="1"/>
            </p:cNvSpPr>
            <p:nvPr/>
          </p:nvSpPr>
          <p:spPr bwMode="gray">
            <a:xfrm>
              <a:off x="4669933" y="2976747"/>
              <a:ext cx="163211" cy="65799"/>
            </a:xfrm>
            <a:custGeom>
              <a:avLst/>
              <a:gdLst/>
              <a:ahLst/>
              <a:cxnLst>
                <a:cxn ang="0">
                  <a:pos x="92" y="26"/>
                </a:cxn>
                <a:cxn ang="0">
                  <a:pos x="90" y="32"/>
                </a:cxn>
                <a:cxn ang="0">
                  <a:pos x="84" y="30"/>
                </a:cxn>
                <a:cxn ang="0">
                  <a:pos x="82" y="28"/>
                </a:cxn>
                <a:cxn ang="0">
                  <a:pos x="74" y="30"/>
                </a:cxn>
                <a:cxn ang="0">
                  <a:pos x="68" y="30"/>
                </a:cxn>
                <a:cxn ang="0">
                  <a:pos x="62" y="30"/>
                </a:cxn>
                <a:cxn ang="0">
                  <a:pos x="56" y="34"/>
                </a:cxn>
                <a:cxn ang="0">
                  <a:pos x="54" y="36"/>
                </a:cxn>
                <a:cxn ang="0">
                  <a:pos x="50" y="34"/>
                </a:cxn>
                <a:cxn ang="0">
                  <a:pos x="50" y="32"/>
                </a:cxn>
                <a:cxn ang="0">
                  <a:pos x="40" y="34"/>
                </a:cxn>
                <a:cxn ang="0">
                  <a:pos x="34" y="36"/>
                </a:cxn>
                <a:cxn ang="0">
                  <a:pos x="34" y="40"/>
                </a:cxn>
                <a:cxn ang="0">
                  <a:pos x="34" y="40"/>
                </a:cxn>
                <a:cxn ang="0">
                  <a:pos x="28" y="40"/>
                </a:cxn>
                <a:cxn ang="0">
                  <a:pos x="16" y="38"/>
                </a:cxn>
                <a:cxn ang="0">
                  <a:pos x="10" y="36"/>
                </a:cxn>
                <a:cxn ang="0">
                  <a:pos x="4" y="28"/>
                </a:cxn>
                <a:cxn ang="0">
                  <a:pos x="0" y="26"/>
                </a:cxn>
                <a:cxn ang="0">
                  <a:pos x="4" y="20"/>
                </a:cxn>
                <a:cxn ang="0">
                  <a:pos x="4" y="18"/>
                </a:cxn>
                <a:cxn ang="0">
                  <a:pos x="10" y="14"/>
                </a:cxn>
                <a:cxn ang="0">
                  <a:pos x="10" y="14"/>
                </a:cxn>
                <a:cxn ang="0">
                  <a:pos x="12" y="10"/>
                </a:cxn>
                <a:cxn ang="0">
                  <a:pos x="12" y="8"/>
                </a:cxn>
                <a:cxn ang="0">
                  <a:pos x="20" y="6"/>
                </a:cxn>
                <a:cxn ang="0">
                  <a:pos x="26" y="6"/>
                </a:cxn>
                <a:cxn ang="0">
                  <a:pos x="34" y="6"/>
                </a:cxn>
                <a:cxn ang="0">
                  <a:pos x="40" y="10"/>
                </a:cxn>
                <a:cxn ang="0">
                  <a:pos x="46" y="12"/>
                </a:cxn>
                <a:cxn ang="0">
                  <a:pos x="50" y="10"/>
                </a:cxn>
                <a:cxn ang="0">
                  <a:pos x="52" y="8"/>
                </a:cxn>
                <a:cxn ang="0">
                  <a:pos x="58" y="6"/>
                </a:cxn>
                <a:cxn ang="0">
                  <a:pos x="62" y="4"/>
                </a:cxn>
                <a:cxn ang="0">
                  <a:pos x="68" y="0"/>
                </a:cxn>
                <a:cxn ang="0">
                  <a:pos x="72" y="0"/>
                </a:cxn>
                <a:cxn ang="0">
                  <a:pos x="80" y="6"/>
                </a:cxn>
                <a:cxn ang="0">
                  <a:pos x="82" y="6"/>
                </a:cxn>
                <a:cxn ang="0">
                  <a:pos x="88" y="12"/>
                </a:cxn>
                <a:cxn ang="0">
                  <a:pos x="90" y="14"/>
                </a:cxn>
                <a:cxn ang="0">
                  <a:pos x="90" y="18"/>
                </a:cxn>
                <a:cxn ang="0">
                  <a:pos x="96" y="24"/>
                </a:cxn>
              </a:cxnLst>
              <a:rect l="0" t="0" r="r" b="b"/>
              <a:pathLst>
                <a:path w="96" h="40">
                  <a:moveTo>
                    <a:pt x="96" y="24"/>
                  </a:moveTo>
                  <a:lnTo>
                    <a:pt x="92" y="26"/>
                  </a:lnTo>
                  <a:lnTo>
                    <a:pt x="90" y="32"/>
                  </a:lnTo>
                  <a:lnTo>
                    <a:pt x="90" y="32"/>
                  </a:lnTo>
                  <a:lnTo>
                    <a:pt x="88" y="32"/>
                  </a:lnTo>
                  <a:lnTo>
                    <a:pt x="84" y="30"/>
                  </a:lnTo>
                  <a:lnTo>
                    <a:pt x="84" y="30"/>
                  </a:lnTo>
                  <a:lnTo>
                    <a:pt x="82" y="28"/>
                  </a:lnTo>
                  <a:lnTo>
                    <a:pt x="80" y="28"/>
                  </a:lnTo>
                  <a:lnTo>
                    <a:pt x="74" y="30"/>
                  </a:lnTo>
                  <a:lnTo>
                    <a:pt x="74" y="30"/>
                  </a:lnTo>
                  <a:lnTo>
                    <a:pt x="68" y="30"/>
                  </a:lnTo>
                  <a:lnTo>
                    <a:pt x="62" y="30"/>
                  </a:lnTo>
                  <a:lnTo>
                    <a:pt x="62" y="30"/>
                  </a:lnTo>
                  <a:lnTo>
                    <a:pt x="58" y="34"/>
                  </a:lnTo>
                  <a:lnTo>
                    <a:pt x="56" y="34"/>
                  </a:lnTo>
                  <a:lnTo>
                    <a:pt x="56" y="34"/>
                  </a:lnTo>
                  <a:lnTo>
                    <a:pt x="54" y="36"/>
                  </a:lnTo>
                  <a:lnTo>
                    <a:pt x="52" y="34"/>
                  </a:lnTo>
                  <a:lnTo>
                    <a:pt x="50" y="34"/>
                  </a:lnTo>
                  <a:lnTo>
                    <a:pt x="50" y="34"/>
                  </a:lnTo>
                  <a:lnTo>
                    <a:pt x="50" y="32"/>
                  </a:lnTo>
                  <a:lnTo>
                    <a:pt x="48" y="32"/>
                  </a:lnTo>
                  <a:lnTo>
                    <a:pt x="40" y="34"/>
                  </a:lnTo>
                  <a:lnTo>
                    <a:pt x="40" y="34"/>
                  </a:lnTo>
                  <a:lnTo>
                    <a:pt x="34" y="36"/>
                  </a:lnTo>
                  <a:lnTo>
                    <a:pt x="34" y="36"/>
                  </a:lnTo>
                  <a:lnTo>
                    <a:pt x="34" y="40"/>
                  </a:lnTo>
                  <a:lnTo>
                    <a:pt x="34" y="40"/>
                  </a:lnTo>
                  <a:lnTo>
                    <a:pt x="34" y="40"/>
                  </a:lnTo>
                  <a:lnTo>
                    <a:pt x="28" y="40"/>
                  </a:lnTo>
                  <a:lnTo>
                    <a:pt x="28" y="40"/>
                  </a:lnTo>
                  <a:lnTo>
                    <a:pt x="20" y="38"/>
                  </a:lnTo>
                  <a:lnTo>
                    <a:pt x="16" y="38"/>
                  </a:lnTo>
                  <a:lnTo>
                    <a:pt x="16" y="38"/>
                  </a:lnTo>
                  <a:lnTo>
                    <a:pt x="10" y="36"/>
                  </a:lnTo>
                  <a:lnTo>
                    <a:pt x="6" y="34"/>
                  </a:lnTo>
                  <a:lnTo>
                    <a:pt x="4" y="28"/>
                  </a:lnTo>
                  <a:lnTo>
                    <a:pt x="4" y="28"/>
                  </a:lnTo>
                  <a:lnTo>
                    <a:pt x="0" y="26"/>
                  </a:lnTo>
                  <a:lnTo>
                    <a:pt x="0" y="24"/>
                  </a:lnTo>
                  <a:lnTo>
                    <a:pt x="4" y="20"/>
                  </a:lnTo>
                  <a:lnTo>
                    <a:pt x="4" y="20"/>
                  </a:lnTo>
                  <a:lnTo>
                    <a:pt x="4" y="18"/>
                  </a:lnTo>
                  <a:lnTo>
                    <a:pt x="6" y="16"/>
                  </a:lnTo>
                  <a:lnTo>
                    <a:pt x="10" y="14"/>
                  </a:lnTo>
                  <a:lnTo>
                    <a:pt x="10" y="14"/>
                  </a:lnTo>
                  <a:lnTo>
                    <a:pt x="10" y="14"/>
                  </a:lnTo>
                  <a:lnTo>
                    <a:pt x="12" y="12"/>
                  </a:lnTo>
                  <a:lnTo>
                    <a:pt x="12" y="10"/>
                  </a:lnTo>
                  <a:lnTo>
                    <a:pt x="12" y="8"/>
                  </a:lnTo>
                  <a:lnTo>
                    <a:pt x="12" y="8"/>
                  </a:lnTo>
                  <a:lnTo>
                    <a:pt x="20" y="6"/>
                  </a:lnTo>
                  <a:lnTo>
                    <a:pt x="20" y="6"/>
                  </a:lnTo>
                  <a:lnTo>
                    <a:pt x="26" y="6"/>
                  </a:lnTo>
                  <a:lnTo>
                    <a:pt x="26" y="6"/>
                  </a:lnTo>
                  <a:lnTo>
                    <a:pt x="30" y="4"/>
                  </a:lnTo>
                  <a:lnTo>
                    <a:pt x="34" y="6"/>
                  </a:lnTo>
                  <a:lnTo>
                    <a:pt x="34" y="6"/>
                  </a:lnTo>
                  <a:lnTo>
                    <a:pt x="40" y="10"/>
                  </a:lnTo>
                  <a:lnTo>
                    <a:pt x="40" y="10"/>
                  </a:lnTo>
                  <a:lnTo>
                    <a:pt x="46" y="12"/>
                  </a:lnTo>
                  <a:lnTo>
                    <a:pt x="48" y="12"/>
                  </a:lnTo>
                  <a:lnTo>
                    <a:pt x="50" y="10"/>
                  </a:lnTo>
                  <a:lnTo>
                    <a:pt x="50" y="10"/>
                  </a:lnTo>
                  <a:lnTo>
                    <a:pt x="52" y="8"/>
                  </a:lnTo>
                  <a:lnTo>
                    <a:pt x="54" y="8"/>
                  </a:lnTo>
                  <a:lnTo>
                    <a:pt x="58" y="6"/>
                  </a:lnTo>
                  <a:lnTo>
                    <a:pt x="58" y="6"/>
                  </a:lnTo>
                  <a:lnTo>
                    <a:pt x="62" y="4"/>
                  </a:lnTo>
                  <a:lnTo>
                    <a:pt x="66" y="2"/>
                  </a:lnTo>
                  <a:lnTo>
                    <a:pt x="68" y="0"/>
                  </a:lnTo>
                  <a:lnTo>
                    <a:pt x="72" y="0"/>
                  </a:lnTo>
                  <a:lnTo>
                    <a:pt x="72" y="0"/>
                  </a:lnTo>
                  <a:lnTo>
                    <a:pt x="76" y="4"/>
                  </a:lnTo>
                  <a:lnTo>
                    <a:pt x="80" y="6"/>
                  </a:lnTo>
                  <a:lnTo>
                    <a:pt x="80" y="6"/>
                  </a:lnTo>
                  <a:lnTo>
                    <a:pt x="82" y="6"/>
                  </a:lnTo>
                  <a:lnTo>
                    <a:pt x="84" y="8"/>
                  </a:lnTo>
                  <a:lnTo>
                    <a:pt x="88" y="12"/>
                  </a:lnTo>
                  <a:lnTo>
                    <a:pt x="88" y="12"/>
                  </a:lnTo>
                  <a:lnTo>
                    <a:pt x="90" y="14"/>
                  </a:lnTo>
                  <a:lnTo>
                    <a:pt x="90" y="18"/>
                  </a:lnTo>
                  <a:lnTo>
                    <a:pt x="90" y="18"/>
                  </a:lnTo>
                  <a:lnTo>
                    <a:pt x="94" y="22"/>
                  </a:lnTo>
                  <a:lnTo>
                    <a:pt x="96" y="24"/>
                  </a:lnTo>
                  <a:lnTo>
                    <a:pt x="96" y="2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4" name="Freeform 49"/>
            <p:cNvSpPr>
              <a:spLocks noChangeAspect="1"/>
            </p:cNvSpPr>
            <p:nvPr/>
          </p:nvSpPr>
          <p:spPr bwMode="gray">
            <a:xfrm>
              <a:off x="5081361" y="3539327"/>
              <a:ext cx="479432" cy="447432"/>
            </a:xfrm>
            <a:custGeom>
              <a:avLst/>
              <a:gdLst/>
              <a:ahLst/>
              <a:cxnLst>
                <a:cxn ang="0">
                  <a:pos x="108" y="258"/>
                </a:cxn>
                <a:cxn ang="0">
                  <a:pos x="110" y="254"/>
                </a:cxn>
                <a:cxn ang="0">
                  <a:pos x="112" y="250"/>
                </a:cxn>
                <a:cxn ang="0">
                  <a:pos x="114" y="246"/>
                </a:cxn>
                <a:cxn ang="0">
                  <a:pos x="118" y="244"/>
                </a:cxn>
                <a:cxn ang="0">
                  <a:pos x="122" y="244"/>
                </a:cxn>
                <a:cxn ang="0">
                  <a:pos x="122" y="248"/>
                </a:cxn>
                <a:cxn ang="0">
                  <a:pos x="130" y="248"/>
                </a:cxn>
                <a:cxn ang="0">
                  <a:pos x="156" y="272"/>
                </a:cxn>
                <a:cxn ang="0">
                  <a:pos x="182" y="240"/>
                </a:cxn>
                <a:cxn ang="0">
                  <a:pos x="272" y="204"/>
                </a:cxn>
                <a:cxn ang="0">
                  <a:pos x="278" y="184"/>
                </a:cxn>
                <a:cxn ang="0">
                  <a:pos x="272" y="154"/>
                </a:cxn>
                <a:cxn ang="0">
                  <a:pos x="268" y="154"/>
                </a:cxn>
                <a:cxn ang="0">
                  <a:pos x="216" y="124"/>
                </a:cxn>
                <a:cxn ang="0">
                  <a:pos x="210" y="114"/>
                </a:cxn>
                <a:cxn ang="0">
                  <a:pos x="206" y="112"/>
                </a:cxn>
                <a:cxn ang="0">
                  <a:pos x="206" y="100"/>
                </a:cxn>
                <a:cxn ang="0">
                  <a:pos x="206" y="90"/>
                </a:cxn>
                <a:cxn ang="0">
                  <a:pos x="200" y="88"/>
                </a:cxn>
                <a:cxn ang="0">
                  <a:pos x="196" y="84"/>
                </a:cxn>
                <a:cxn ang="0">
                  <a:pos x="194" y="78"/>
                </a:cxn>
                <a:cxn ang="0">
                  <a:pos x="190" y="74"/>
                </a:cxn>
                <a:cxn ang="0">
                  <a:pos x="190" y="70"/>
                </a:cxn>
                <a:cxn ang="0">
                  <a:pos x="186" y="66"/>
                </a:cxn>
                <a:cxn ang="0">
                  <a:pos x="182" y="56"/>
                </a:cxn>
                <a:cxn ang="0">
                  <a:pos x="168" y="52"/>
                </a:cxn>
                <a:cxn ang="0">
                  <a:pos x="124" y="40"/>
                </a:cxn>
                <a:cxn ang="0">
                  <a:pos x="102" y="26"/>
                </a:cxn>
                <a:cxn ang="0">
                  <a:pos x="64" y="2"/>
                </a:cxn>
                <a:cxn ang="0">
                  <a:pos x="46" y="24"/>
                </a:cxn>
                <a:cxn ang="0">
                  <a:pos x="38" y="30"/>
                </a:cxn>
                <a:cxn ang="0">
                  <a:pos x="32" y="36"/>
                </a:cxn>
                <a:cxn ang="0">
                  <a:pos x="28" y="40"/>
                </a:cxn>
                <a:cxn ang="0">
                  <a:pos x="4" y="48"/>
                </a:cxn>
                <a:cxn ang="0">
                  <a:pos x="2" y="56"/>
                </a:cxn>
                <a:cxn ang="0">
                  <a:pos x="0" y="60"/>
                </a:cxn>
                <a:cxn ang="0">
                  <a:pos x="0" y="64"/>
                </a:cxn>
                <a:cxn ang="0">
                  <a:pos x="8" y="66"/>
                </a:cxn>
                <a:cxn ang="0">
                  <a:pos x="12" y="72"/>
                </a:cxn>
                <a:cxn ang="0">
                  <a:pos x="20" y="86"/>
                </a:cxn>
                <a:cxn ang="0">
                  <a:pos x="22" y="92"/>
                </a:cxn>
                <a:cxn ang="0">
                  <a:pos x="26" y="94"/>
                </a:cxn>
                <a:cxn ang="0">
                  <a:pos x="30" y="100"/>
                </a:cxn>
                <a:cxn ang="0">
                  <a:pos x="34" y="104"/>
                </a:cxn>
                <a:cxn ang="0">
                  <a:pos x="36" y="114"/>
                </a:cxn>
                <a:cxn ang="0">
                  <a:pos x="42" y="124"/>
                </a:cxn>
                <a:cxn ang="0">
                  <a:pos x="54" y="140"/>
                </a:cxn>
                <a:cxn ang="0">
                  <a:pos x="58" y="164"/>
                </a:cxn>
                <a:cxn ang="0">
                  <a:pos x="54" y="168"/>
                </a:cxn>
                <a:cxn ang="0">
                  <a:pos x="54" y="174"/>
                </a:cxn>
                <a:cxn ang="0">
                  <a:pos x="58" y="182"/>
                </a:cxn>
                <a:cxn ang="0">
                  <a:pos x="64" y="196"/>
                </a:cxn>
                <a:cxn ang="0">
                  <a:pos x="64" y="200"/>
                </a:cxn>
                <a:cxn ang="0">
                  <a:pos x="68" y="204"/>
                </a:cxn>
                <a:cxn ang="0">
                  <a:pos x="72" y="208"/>
                </a:cxn>
                <a:cxn ang="0">
                  <a:pos x="82" y="214"/>
                </a:cxn>
                <a:cxn ang="0">
                  <a:pos x="86" y="220"/>
                </a:cxn>
                <a:cxn ang="0">
                  <a:pos x="88" y="228"/>
                </a:cxn>
                <a:cxn ang="0">
                  <a:pos x="90" y="236"/>
                </a:cxn>
                <a:cxn ang="0">
                  <a:pos x="98" y="244"/>
                </a:cxn>
                <a:cxn ang="0">
                  <a:pos x="100" y="252"/>
                </a:cxn>
              </a:cxnLst>
              <a:rect l="0" t="0" r="r" b="b"/>
              <a:pathLst>
                <a:path w="282" h="272">
                  <a:moveTo>
                    <a:pt x="106" y="258"/>
                  </a:moveTo>
                  <a:lnTo>
                    <a:pt x="106" y="258"/>
                  </a:lnTo>
                  <a:lnTo>
                    <a:pt x="108" y="258"/>
                  </a:lnTo>
                  <a:lnTo>
                    <a:pt x="110" y="254"/>
                  </a:lnTo>
                  <a:lnTo>
                    <a:pt x="110" y="254"/>
                  </a:lnTo>
                  <a:lnTo>
                    <a:pt x="110" y="254"/>
                  </a:lnTo>
                  <a:lnTo>
                    <a:pt x="112" y="252"/>
                  </a:lnTo>
                  <a:lnTo>
                    <a:pt x="112" y="252"/>
                  </a:lnTo>
                  <a:lnTo>
                    <a:pt x="112" y="250"/>
                  </a:lnTo>
                  <a:lnTo>
                    <a:pt x="112" y="250"/>
                  </a:lnTo>
                  <a:lnTo>
                    <a:pt x="114" y="248"/>
                  </a:lnTo>
                  <a:lnTo>
                    <a:pt x="114" y="246"/>
                  </a:lnTo>
                  <a:lnTo>
                    <a:pt x="114" y="246"/>
                  </a:lnTo>
                  <a:lnTo>
                    <a:pt x="116" y="244"/>
                  </a:lnTo>
                  <a:lnTo>
                    <a:pt x="118" y="244"/>
                  </a:lnTo>
                  <a:lnTo>
                    <a:pt x="118" y="244"/>
                  </a:lnTo>
                  <a:lnTo>
                    <a:pt x="120" y="244"/>
                  </a:lnTo>
                  <a:lnTo>
                    <a:pt x="122" y="244"/>
                  </a:lnTo>
                  <a:lnTo>
                    <a:pt x="122" y="246"/>
                  </a:lnTo>
                  <a:lnTo>
                    <a:pt x="122" y="248"/>
                  </a:lnTo>
                  <a:lnTo>
                    <a:pt x="122" y="248"/>
                  </a:lnTo>
                  <a:lnTo>
                    <a:pt x="126" y="248"/>
                  </a:lnTo>
                  <a:lnTo>
                    <a:pt x="130" y="248"/>
                  </a:lnTo>
                  <a:lnTo>
                    <a:pt x="130" y="248"/>
                  </a:lnTo>
                  <a:lnTo>
                    <a:pt x="144" y="250"/>
                  </a:lnTo>
                  <a:lnTo>
                    <a:pt x="154" y="254"/>
                  </a:lnTo>
                  <a:lnTo>
                    <a:pt x="156" y="272"/>
                  </a:lnTo>
                  <a:lnTo>
                    <a:pt x="156" y="272"/>
                  </a:lnTo>
                  <a:lnTo>
                    <a:pt x="164" y="262"/>
                  </a:lnTo>
                  <a:lnTo>
                    <a:pt x="182" y="240"/>
                  </a:lnTo>
                  <a:lnTo>
                    <a:pt x="228" y="224"/>
                  </a:lnTo>
                  <a:lnTo>
                    <a:pt x="228" y="224"/>
                  </a:lnTo>
                  <a:lnTo>
                    <a:pt x="272" y="204"/>
                  </a:lnTo>
                  <a:lnTo>
                    <a:pt x="272" y="204"/>
                  </a:lnTo>
                  <a:lnTo>
                    <a:pt x="276" y="198"/>
                  </a:lnTo>
                  <a:lnTo>
                    <a:pt x="278" y="184"/>
                  </a:lnTo>
                  <a:lnTo>
                    <a:pt x="282" y="164"/>
                  </a:lnTo>
                  <a:lnTo>
                    <a:pt x="272" y="154"/>
                  </a:lnTo>
                  <a:lnTo>
                    <a:pt x="272" y="154"/>
                  </a:lnTo>
                  <a:lnTo>
                    <a:pt x="272" y="154"/>
                  </a:lnTo>
                  <a:lnTo>
                    <a:pt x="268" y="154"/>
                  </a:lnTo>
                  <a:lnTo>
                    <a:pt x="268" y="154"/>
                  </a:lnTo>
                  <a:lnTo>
                    <a:pt x="224" y="146"/>
                  </a:lnTo>
                  <a:lnTo>
                    <a:pt x="224" y="132"/>
                  </a:lnTo>
                  <a:lnTo>
                    <a:pt x="216" y="124"/>
                  </a:lnTo>
                  <a:lnTo>
                    <a:pt x="216" y="118"/>
                  </a:lnTo>
                  <a:lnTo>
                    <a:pt x="210" y="114"/>
                  </a:lnTo>
                  <a:lnTo>
                    <a:pt x="210" y="114"/>
                  </a:lnTo>
                  <a:lnTo>
                    <a:pt x="208" y="114"/>
                  </a:lnTo>
                  <a:lnTo>
                    <a:pt x="208" y="114"/>
                  </a:lnTo>
                  <a:lnTo>
                    <a:pt x="206" y="112"/>
                  </a:lnTo>
                  <a:lnTo>
                    <a:pt x="206" y="110"/>
                  </a:lnTo>
                  <a:lnTo>
                    <a:pt x="206" y="110"/>
                  </a:lnTo>
                  <a:lnTo>
                    <a:pt x="206" y="100"/>
                  </a:lnTo>
                  <a:lnTo>
                    <a:pt x="206" y="100"/>
                  </a:lnTo>
                  <a:lnTo>
                    <a:pt x="206" y="96"/>
                  </a:lnTo>
                  <a:lnTo>
                    <a:pt x="206" y="90"/>
                  </a:lnTo>
                  <a:lnTo>
                    <a:pt x="204" y="90"/>
                  </a:lnTo>
                  <a:lnTo>
                    <a:pt x="204" y="90"/>
                  </a:lnTo>
                  <a:lnTo>
                    <a:pt x="200" y="88"/>
                  </a:lnTo>
                  <a:lnTo>
                    <a:pt x="198" y="84"/>
                  </a:lnTo>
                  <a:lnTo>
                    <a:pt x="198" y="84"/>
                  </a:lnTo>
                  <a:lnTo>
                    <a:pt x="196" y="84"/>
                  </a:lnTo>
                  <a:lnTo>
                    <a:pt x="194" y="82"/>
                  </a:lnTo>
                  <a:lnTo>
                    <a:pt x="194" y="82"/>
                  </a:lnTo>
                  <a:lnTo>
                    <a:pt x="194" y="78"/>
                  </a:lnTo>
                  <a:lnTo>
                    <a:pt x="194" y="74"/>
                  </a:lnTo>
                  <a:lnTo>
                    <a:pt x="194" y="74"/>
                  </a:lnTo>
                  <a:lnTo>
                    <a:pt x="190" y="74"/>
                  </a:lnTo>
                  <a:lnTo>
                    <a:pt x="190" y="74"/>
                  </a:lnTo>
                  <a:lnTo>
                    <a:pt x="190" y="70"/>
                  </a:lnTo>
                  <a:lnTo>
                    <a:pt x="190" y="70"/>
                  </a:lnTo>
                  <a:lnTo>
                    <a:pt x="186" y="70"/>
                  </a:lnTo>
                  <a:lnTo>
                    <a:pt x="186" y="70"/>
                  </a:lnTo>
                  <a:lnTo>
                    <a:pt x="186" y="66"/>
                  </a:lnTo>
                  <a:lnTo>
                    <a:pt x="186" y="66"/>
                  </a:lnTo>
                  <a:lnTo>
                    <a:pt x="182" y="56"/>
                  </a:lnTo>
                  <a:lnTo>
                    <a:pt x="182" y="56"/>
                  </a:lnTo>
                  <a:lnTo>
                    <a:pt x="182" y="52"/>
                  </a:lnTo>
                  <a:lnTo>
                    <a:pt x="180" y="52"/>
                  </a:lnTo>
                  <a:lnTo>
                    <a:pt x="168" y="52"/>
                  </a:lnTo>
                  <a:lnTo>
                    <a:pt x="166" y="46"/>
                  </a:lnTo>
                  <a:lnTo>
                    <a:pt x="148" y="42"/>
                  </a:lnTo>
                  <a:lnTo>
                    <a:pt x="124" y="40"/>
                  </a:lnTo>
                  <a:lnTo>
                    <a:pt x="114" y="34"/>
                  </a:lnTo>
                  <a:lnTo>
                    <a:pt x="112" y="26"/>
                  </a:lnTo>
                  <a:lnTo>
                    <a:pt x="102" y="26"/>
                  </a:lnTo>
                  <a:lnTo>
                    <a:pt x="102" y="20"/>
                  </a:lnTo>
                  <a:lnTo>
                    <a:pt x="64" y="0"/>
                  </a:lnTo>
                  <a:lnTo>
                    <a:pt x="64" y="2"/>
                  </a:lnTo>
                  <a:lnTo>
                    <a:pt x="36" y="10"/>
                  </a:lnTo>
                  <a:lnTo>
                    <a:pt x="46" y="24"/>
                  </a:lnTo>
                  <a:lnTo>
                    <a:pt x="46" y="24"/>
                  </a:lnTo>
                  <a:lnTo>
                    <a:pt x="42" y="26"/>
                  </a:lnTo>
                  <a:lnTo>
                    <a:pt x="40" y="28"/>
                  </a:lnTo>
                  <a:lnTo>
                    <a:pt x="38" y="30"/>
                  </a:lnTo>
                  <a:lnTo>
                    <a:pt x="38" y="30"/>
                  </a:lnTo>
                  <a:lnTo>
                    <a:pt x="36" y="32"/>
                  </a:lnTo>
                  <a:lnTo>
                    <a:pt x="32" y="36"/>
                  </a:lnTo>
                  <a:lnTo>
                    <a:pt x="32" y="36"/>
                  </a:lnTo>
                  <a:lnTo>
                    <a:pt x="30" y="40"/>
                  </a:lnTo>
                  <a:lnTo>
                    <a:pt x="28" y="40"/>
                  </a:lnTo>
                  <a:lnTo>
                    <a:pt x="18" y="48"/>
                  </a:lnTo>
                  <a:lnTo>
                    <a:pt x="4" y="48"/>
                  </a:lnTo>
                  <a:lnTo>
                    <a:pt x="4" y="48"/>
                  </a:lnTo>
                  <a:lnTo>
                    <a:pt x="0" y="56"/>
                  </a:lnTo>
                  <a:lnTo>
                    <a:pt x="2" y="56"/>
                  </a:lnTo>
                  <a:lnTo>
                    <a:pt x="2" y="56"/>
                  </a:lnTo>
                  <a:lnTo>
                    <a:pt x="2" y="60"/>
                  </a:lnTo>
                  <a:lnTo>
                    <a:pt x="2" y="60"/>
                  </a:lnTo>
                  <a:lnTo>
                    <a:pt x="0" y="60"/>
                  </a:lnTo>
                  <a:lnTo>
                    <a:pt x="0" y="62"/>
                  </a:lnTo>
                  <a:lnTo>
                    <a:pt x="0" y="64"/>
                  </a:lnTo>
                  <a:lnTo>
                    <a:pt x="0" y="64"/>
                  </a:lnTo>
                  <a:lnTo>
                    <a:pt x="6" y="66"/>
                  </a:lnTo>
                  <a:lnTo>
                    <a:pt x="6" y="66"/>
                  </a:lnTo>
                  <a:lnTo>
                    <a:pt x="8" y="66"/>
                  </a:lnTo>
                  <a:lnTo>
                    <a:pt x="10" y="68"/>
                  </a:lnTo>
                  <a:lnTo>
                    <a:pt x="12" y="72"/>
                  </a:lnTo>
                  <a:lnTo>
                    <a:pt x="12" y="72"/>
                  </a:lnTo>
                  <a:lnTo>
                    <a:pt x="16" y="84"/>
                  </a:lnTo>
                  <a:lnTo>
                    <a:pt x="16" y="84"/>
                  </a:lnTo>
                  <a:lnTo>
                    <a:pt x="20" y="86"/>
                  </a:lnTo>
                  <a:lnTo>
                    <a:pt x="22" y="88"/>
                  </a:lnTo>
                  <a:lnTo>
                    <a:pt x="22" y="88"/>
                  </a:lnTo>
                  <a:lnTo>
                    <a:pt x="22" y="92"/>
                  </a:lnTo>
                  <a:lnTo>
                    <a:pt x="22" y="92"/>
                  </a:lnTo>
                  <a:lnTo>
                    <a:pt x="26" y="94"/>
                  </a:lnTo>
                  <a:lnTo>
                    <a:pt x="26" y="94"/>
                  </a:lnTo>
                  <a:lnTo>
                    <a:pt x="26" y="98"/>
                  </a:lnTo>
                  <a:lnTo>
                    <a:pt x="26" y="98"/>
                  </a:lnTo>
                  <a:lnTo>
                    <a:pt x="30" y="100"/>
                  </a:lnTo>
                  <a:lnTo>
                    <a:pt x="32" y="102"/>
                  </a:lnTo>
                  <a:lnTo>
                    <a:pt x="32" y="104"/>
                  </a:lnTo>
                  <a:lnTo>
                    <a:pt x="34" y="104"/>
                  </a:lnTo>
                  <a:lnTo>
                    <a:pt x="34" y="104"/>
                  </a:lnTo>
                  <a:lnTo>
                    <a:pt x="36" y="108"/>
                  </a:lnTo>
                  <a:lnTo>
                    <a:pt x="36" y="114"/>
                  </a:lnTo>
                  <a:lnTo>
                    <a:pt x="38" y="120"/>
                  </a:lnTo>
                  <a:lnTo>
                    <a:pt x="40" y="124"/>
                  </a:lnTo>
                  <a:lnTo>
                    <a:pt x="42" y="124"/>
                  </a:lnTo>
                  <a:lnTo>
                    <a:pt x="42" y="124"/>
                  </a:lnTo>
                  <a:lnTo>
                    <a:pt x="48" y="132"/>
                  </a:lnTo>
                  <a:lnTo>
                    <a:pt x="54" y="140"/>
                  </a:lnTo>
                  <a:lnTo>
                    <a:pt x="54" y="140"/>
                  </a:lnTo>
                  <a:lnTo>
                    <a:pt x="56" y="152"/>
                  </a:lnTo>
                  <a:lnTo>
                    <a:pt x="58" y="164"/>
                  </a:lnTo>
                  <a:lnTo>
                    <a:pt x="58" y="164"/>
                  </a:lnTo>
                  <a:lnTo>
                    <a:pt x="54" y="168"/>
                  </a:lnTo>
                  <a:lnTo>
                    <a:pt x="54" y="168"/>
                  </a:lnTo>
                  <a:lnTo>
                    <a:pt x="54" y="170"/>
                  </a:lnTo>
                  <a:lnTo>
                    <a:pt x="54" y="174"/>
                  </a:lnTo>
                  <a:lnTo>
                    <a:pt x="54" y="174"/>
                  </a:lnTo>
                  <a:lnTo>
                    <a:pt x="58" y="174"/>
                  </a:lnTo>
                  <a:lnTo>
                    <a:pt x="58" y="174"/>
                  </a:lnTo>
                  <a:lnTo>
                    <a:pt x="58" y="182"/>
                  </a:lnTo>
                  <a:lnTo>
                    <a:pt x="60" y="192"/>
                  </a:lnTo>
                  <a:lnTo>
                    <a:pt x="60" y="192"/>
                  </a:lnTo>
                  <a:lnTo>
                    <a:pt x="64" y="196"/>
                  </a:lnTo>
                  <a:lnTo>
                    <a:pt x="64" y="196"/>
                  </a:lnTo>
                  <a:lnTo>
                    <a:pt x="64" y="200"/>
                  </a:lnTo>
                  <a:lnTo>
                    <a:pt x="64" y="200"/>
                  </a:lnTo>
                  <a:lnTo>
                    <a:pt x="66" y="202"/>
                  </a:lnTo>
                  <a:lnTo>
                    <a:pt x="66" y="202"/>
                  </a:lnTo>
                  <a:lnTo>
                    <a:pt x="68" y="204"/>
                  </a:lnTo>
                  <a:lnTo>
                    <a:pt x="70" y="208"/>
                  </a:lnTo>
                  <a:lnTo>
                    <a:pt x="70" y="208"/>
                  </a:lnTo>
                  <a:lnTo>
                    <a:pt x="72" y="208"/>
                  </a:lnTo>
                  <a:lnTo>
                    <a:pt x="74" y="206"/>
                  </a:lnTo>
                  <a:lnTo>
                    <a:pt x="74" y="206"/>
                  </a:lnTo>
                  <a:lnTo>
                    <a:pt x="82" y="214"/>
                  </a:lnTo>
                  <a:lnTo>
                    <a:pt x="82" y="214"/>
                  </a:lnTo>
                  <a:lnTo>
                    <a:pt x="86" y="220"/>
                  </a:lnTo>
                  <a:lnTo>
                    <a:pt x="86" y="220"/>
                  </a:lnTo>
                  <a:lnTo>
                    <a:pt x="86" y="224"/>
                  </a:lnTo>
                  <a:lnTo>
                    <a:pt x="86" y="224"/>
                  </a:lnTo>
                  <a:lnTo>
                    <a:pt x="88" y="228"/>
                  </a:lnTo>
                  <a:lnTo>
                    <a:pt x="90" y="232"/>
                  </a:lnTo>
                  <a:lnTo>
                    <a:pt x="90" y="232"/>
                  </a:lnTo>
                  <a:lnTo>
                    <a:pt x="90" y="236"/>
                  </a:lnTo>
                  <a:lnTo>
                    <a:pt x="90" y="240"/>
                  </a:lnTo>
                  <a:lnTo>
                    <a:pt x="90" y="240"/>
                  </a:lnTo>
                  <a:lnTo>
                    <a:pt x="98" y="244"/>
                  </a:lnTo>
                  <a:lnTo>
                    <a:pt x="98" y="244"/>
                  </a:lnTo>
                  <a:lnTo>
                    <a:pt x="100" y="252"/>
                  </a:lnTo>
                  <a:lnTo>
                    <a:pt x="100" y="252"/>
                  </a:lnTo>
                  <a:lnTo>
                    <a:pt x="106" y="258"/>
                  </a:lnTo>
                  <a:lnTo>
                    <a:pt x="106" y="25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5" name="Line 51"/>
            <p:cNvSpPr>
              <a:spLocks noChangeAspect="1" noChangeShapeType="1"/>
            </p:cNvSpPr>
            <p:nvPr/>
          </p:nvSpPr>
          <p:spPr bwMode="gray">
            <a:xfrm>
              <a:off x="7192905" y="215097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6" name="Line 52"/>
            <p:cNvSpPr>
              <a:spLocks noChangeAspect="1" noChangeShapeType="1"/>
            </p:cNvSpPr>
            <p:nvPr/>
          </p:nvSpPr>
          <p:spPr bwMode="gray">
            <a:xfrm>
              <a:off x="7192905" y="215097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7" name="Line 53"/>
            <p:cNvSpPr>
              <a:spLocks noChangeAspect="1" noChangeShapeType="1"/>
            </p:cNvSpPr>
            <p:nvPr/>
          </p:nvSpPr>
          <p:spPr bwMode="gray">
            <a:xfrm>
              <a:off x="7203105" y="215097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8" name="Line 54"/>
            <p:cNvSpPr>
              <a:spLocks noChangeAspect="1" noChangeShapeType="1"/>
            </p:cNvSpPr>
            <p:nvPr/>
          </p:nvSpPr>
          <p:spPr bwMode="gray">
            <a:xfrm>
              <a:off x="7203105" y="215097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29" name="Line 55"/>
            <p:cNvSpPr>
              <a:spLocks noChangeAspect="1" noChangeShapeType="1"/>
            </p:cNvSpPr>
            <p:nvPr/>
          </p:nvSpPr>
          <p:spPr bwMode="gray">
            <a:xfrm>
              <a:off x="7196304" y="2154262"/>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0" name="Line 56"/>
            <p:cNvSpPr>
              <a:spLocks noChangeAspect="1" noChangeShapeType="1"/>
            </p:cNvSpPr>
            <p:nvPr/>
          </p:nvSpPr>
          <p:spPr bwMode="gray">
            <a:xfrm>
              <a:off x="7196304" y="2154262"/>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1" name="Line 57"/>
            <p:cNvSpPr>
              <a:spLocks noChangeAspect="1" noChangeShapeType="1"/>
            </p:cNvSpPr>
            <p:nvPr/>
          </p:nvSpPr>
          <p:spPr bwMode="gray">
            <a:xfrm>
              <a:off x="7189504"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2" name="Line 58"/>
            <p:cNvSpPr>
              <a:spLocks noChangeAspect="1" noChangeShapeType="1"/>
            </p:cNvSpPr>
            <p:nvPr/>
          </p:nvSpPr>
          <p:spPr bwMode="gray">
            <a:xfrm>
              <a:off x="7189504"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3" name="Line 59"/>
            <p:cNvSpPr>
              <a:spLocks noChangeAspect="1" noChangeShapeType="1"/>
            </p:cNvSpPr>
            <p:nvPr/>
          </p:nvSpPr>
          <p:spPr bwMode="gray">
            <a:xfrm>
              <a:off x="7196304" y="213123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4" name="Line 60"/>
            <p:cNvSpPr>
              <a:spLocks noChangeAspect="1" noChangeShapeType="1"/>
            </p:cNvSpPr>
            <p:nvPr/>
          </p:nvSpPr>
          <p:spPr bwMode="gray">
            <a:xfrm>
              <a:off x="7196304" y="213123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5" name="Line 61"/>
            <p:cNvSpPr>
              <a:spLocks noChangeAspect="1" noChangeShapeType="1"/>
            </p:cNvSpPr>
            <p:nvPr/>
          </p:nvSpPr>
          <p:spPr bwMode="gray">
            <a:xfrm>
              <a:off x="7199705" y="213452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6" name="Line 62"/>
            <p:cNvSpPr>
              <a:spLocks noChangeAspect="1" noChangeShapeType="1"/>
            </p:cNvSpPr>
            <p:nvPr/>
          </p:nvSpPr>
          <p:spPr bwMode="gray">
            <a:xfrm>
              <a:off x="7199705" y="213452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7" name="Line 63"/>
            <p:cNvSpPr>
              <a:spLocks noChangeAspect="1" noChangeShapeType="1"/>
            </p:cNvSpPr>
            <p:nvPr/>
          </p:nvSpPr>
          <p:spPr bwMode="gray">
            <a:xfrm>
              <a:off x="7186104" y="2108204"/>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8" name="Line 64"/>
            <p:cNvSpPr>
              <a:spLocks noChangeAspect="1" noChangeShapeType="1"/>
            </p:cNvSpPr>
            <p:nvPr/>
          </p:nvSpPr>
          <p:spPr bwMode="gray">
            <a:xfrm>
              <a:off x="7186104" y="2108204"/>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39" name="Line 65"/>
            <p:cNvSpPr>
              <a:spLocks noChangeAspect="1" noChangeShapeType="1"/>
            </p:cNvSpPr>
            <p:nvPr/>
          </p:nvSpPr>
          <p:spPr bwMode="gray">
            <a:xfrm>
              <a:off x="7175903" y="2098334"/>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0" name="Line 66"/>
            <p:cNvSpPr>
              <a:spLocks noChangeAspect="1" noChangeShapeType="1"/>
            </p:cNvSpPr>
            <p:nvPr/>
          </p:nvSpPr>
          <p:spPr bwMode="gray">
            <a:xfrm>
              <a:off x="7175903" y="2098334"/>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1" name="Line 67"/>
            <p:cNvSpPr>
              <a:spLocks noChangeAspect="1" noChangeShapeType="1"/>
            </p:cNvSpPr>
            <p:nvPr/>
          </p:nvSpPr>
          <p:spPr bwMode="gray">
            <a:xfrm>
              <a:off x="7182704" y="210491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2" name="Line 68"/>
            <p:cNvSpPr>
              <a:spLocks noChangeAspect="1" noChangeShapeType="1"/>
            </p:cNvSpPr>
            <p:nvPr/>
          </p:nvSpPr>
          <p:spPr bwMode="gray">
            <a:xfrm>
              <a:off x="7182704" y="210491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3" name="Line 69"/>
            <p:cNvSpPr>
              <a:spLocks noChangeAspect="1" noChangeShapeType="1"/>
            </p:cNvSpPr>
            <p:nvPr/>
          </p:nvSpPr>
          <p:spPr bwMode="gray">
            <a:xfrm>
              <a:off x="7158902" y="214110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4" name="Line 70"/>
            <p:cNvSpPr>
              <a:spLocks noChangeAspect="1" noChangeShapeType="1"/>
            </p:cNvSpPr>
            <p:nvPr/>
          </p:nvSpPr>
          <p:spPr bwMode="gray">
            <a:xfrm>
              <a:off x="7158902" y="214110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5" name="Line 71"/>
            <p:cNvSpPr>
              <a:spLocks noChangeAspect="1" noChangeShapeType="1"/>
            </p:cNvSpPr>
            <p:nvPr/>
          </p:nvSpPr>
          <p:spPr bwMode="gray">
            <a:xfrm>
              <a:off x="7158902" y="213123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6" name="Line 72"/>
            <p:cNvSpPr>
              <a:spLocks noChangeAspect="1" noChangeShapeType="1"/>
            </p:cNvSpPr>
            <p:nvPr/>
          </p:nvSpPr>
          <p:spPr bwMode="gray">
            <a:xfrm>
              <a:off x="7158902" y="213123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7" name="Line 73"/>
            <p:cNvSpPr>
              <a:spLocks noChangeAspect="1" noChangeShapeType="1"/>
            </p:cNvSpPr>
            <p:nvPr/>
          </p:nvSpPr>
          <p:spPr bwMode="gray">
            <a:xfrm>
              <a:off x="7165703"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8" name="Line 74"/>
            <p:cNvSpPr>
              <a:spLocks noChangeAspect="1" noChangeShapeType="1"/>
            </p:cNvSpPr>
            <p:nvPr/>
          </p:nvSpPr>
          <p:spPr bwMode="gray">
            <a:xfrm>
              <a:off x="7165703"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49" name="Line 75"/>
            <p:cNvSpPr>
              <a:spLocks noChangeAspect="1" noChangeShapeType="1"/>
            </p:cNvSpPr>
            <p:nvPr/>
          </p:nvSpPr>
          <p:spPr bwMode="gray">
            <a:xfrm>
              <a:off x="7155502"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0" name="Line 76"/>
            <p:cNvSpPr>
              <a:spLocks noChangeAspect="1" noChangeShapeType="1"/>
            </p:cNvSpPr>
            <p:nvPr/>
          </p:nvSpPr>
          <p:spPr bwMode="gray">
            <a:xfrm>
              <a:off x="7155502"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1" name="Line 77"/>
            <p:cNvSpPr>
              <a:spLocks noChangeAspect="1" noChangeShapeType="1"/>
            </p:cNvSpPr>
            <p:nvPr/>
          </p:nvSpPr>
          <p:spPr bwMode="gray">
            <a:xfrm>
              <a:off x="7175903" y="213123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2" name="Line 78"/>
            <p:cNvSpPr>
              <a:spLocks noChangeAspect="1" noChangeShapeType="1"/>
            </p:cNvSpPr>
            <p:nvPr/>
          </p:nvSpPr>
          <p:spPr bwMode="gray">
            <a:xfrm>
              <a:off x="7175903" y="213123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3" name="Line 79"/>
            <p:cNvSpPr>
              <a:spLocks noChangeAspect="1" noChangeShapeType="1"/>
            </p:cNvSpPr>
            <p:nvPr/>
          </p:nvSpPr>
          <p:spPr bwMode="gray">
            <a:xfrm>
              <a:off x="7179303" y="212136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4" name="Line 80"/>
            <p:cNvSpPr>
              <a:spLocks noChangeAspect="1" noChangeShapeType="1"/>
            </p:cNvSpPr>
            <p:nvPr/>
          </p:nvSpPr>
          <p:spPr bwMode="gray">
            <a:xfrm>
              <a:off x="7179303" y="212136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5" name="Line 81"/>
            <p:cNvSpPr>
              <a:spLocks noChangeAspect="1" noChangeShapeType="1"/>
            </p:cNvSpPr>
            <p:nvPr/>
          </p:nvSpPr>
          <p:spPr bwMode="gray">
            <a:xfrm>
              <a:off x="7209906" y="2154262"/>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6" name="Line 82"/>
            <p:cNvSpPr>
              <a:spLocks noChangeAspect="1" noChangeShapeType="1"/>
            </p:cNvSpPr>
            <p:nvPr/>
          </p:nvSpPr>
          <p:spPr bwMode="gray">
            <a:xfrm>
              <a:off x="7209906" y="2154262"/>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7" name="Line 83"/>
            <p:cNvSpPr>
              <a:spLocks noChangeAspect="1" noChangeShapeType="1"/>
            </p:cNvSpPr>
            <p:nvPr/>
          </p:nvSpPr>
          <p:spPr bwMode="gray">
            <a:xfrm>
              <a:off x="7094298"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8" name="Line 84"/>
            <p:cNvSpPr>
              <a:spLocks noChangeAspect="1" noChangeShapeType="1"/>
            </p:cNvSpPr>
            <p:nvPr/>
          </p:nvSpPr>
          <p:spPr bwMode="gray">
            <a:xfrm>
              <a:off x="7094298" y="211149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59" name="Line 85"/>
            <p:cNvSpPr>
              <a:spLocks noChangeAspect="1" noChangeShapeType="1"/>
            </p:cNvSpPr>
            <p:nvPr/>
          </p:nvSpPr>
          <p:spPr bwMode="gray">
            <a:xfrm>
              <a:off x="7094298" y="211478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0" name="Line 86"/>
            <p:cNvSpPr>
              <a:spLocks noChangeAspect="1" noChangeShapeType="1"/>
            </p:cNvSpPr>
            <p:nvPr/>
          </p:nvSpPr>
          <p:spPr bwMode="gray">
            <a:xfrm>
              <a:off x="7094298" y="211478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1" name="Freeform 87"/>
            <p:cNvSpPr>
              <a:spLocks noChangeAspect="1"/>
            </p:cNvSpPr>
            <p:nvPr/>
          </p:nvSpPr>
          <p:spPr bwMode="gray">
            <a:xfrm>
              <a:off x="6723673" y="2871469"/>
              <a:ext cx="3400" cy="3290"/>
            </a:xfrm>
            <a:custGeom>
              <a:avLst/>
              <a:gdLst/>
              <a:ahLst/>
              <a:cxnLst>
                <a:cxn ang="0">
                  <a:pos x="0" y="0"/>
                </a:cxn>
                <a:cxn ang="0">
                  <a:pos x="0" y="0"/>
                </a:cxn>
                <a:cxn ang="0">
                  <a:pos x="0" y="2"/>
                </a:cxn>
                <a:cxn ang="0">
                  <a:pos x="2" y="2"/>
                </a:cxn>
                <a:cxn ang="0">
                  <a:pos x="2" y="2"/>
                </a:cxn>
                <a:cxn ang="0">
                  <a:pos x="2" y="0"/>
                </a:cxn>
                <a:cxn ang="0">
                  <a:pos x="2" y="0"/>
                </a:cxn>
                <a:cxn ang="0">
                  <a:pos x="0" y="0"/>
                </a:cxn>
                <a:cxn ang="0">
                  <a:pos x="0" y="0"/>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2" name="Line 88"/>
            <p:cNvSpPr>
              <a:spLocks noChangeAspect="1" noChangeShapeType="1"/>
            </p:cNvSpPr>
            <p:nvPr/>
          </p:nvSpPr>
          <p:spPr bwMode="gray">
            <a:xfrm>
              <a:off x="7152101" y="212465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3" name="Line 89"/>
            <p:cNvSpPr>
              <a:spLocks noChangeAspect="1" noChangeShapeType="1"/>
            </p:cNvSpPr>
            <p:nvPr/>
          </p:nvSpPr>
          <p:spPr bwMode="gray">
            <a:xfrm>
              <a:off x="7152101" y="212465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4" name="Line 90"/>
            <p:cNvSpPr>
              <a:spLocks noChangeAspect="1" noChangeShapeType="1"/>
            </p:cNvSpPr>
            <p:nvPr/>
          </p:nvSpPr>
          <p:spPr bwMode="gray">
            <a:xfrm>
              <a:off x="7080697" y="212136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5" name="Line 91"/>
            <p:cNvSpPr>
              <a:spLocks noChangeAspect="1" noChangeShapeType="1"/>
            </p:cNvSpPr>
            <p:nvPr/>
          </p:nvSpPr>
          <p:spPr bwMode="gray">
            <a:xfrm>
              <a:off x="7080697" y="212136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6" name="Line 92"/>
            <p:cNvSpPr>
              <a:spLocks noChangeAspect="1" noChangeShapeType="1"/>
            </p:cNvSpPr>
            <p:nvPr/>
          </p:nvSpPr>
          <p:spPr bwMode="gray">
            <a:xfrm>
              <a:off x="6614866" y="215755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7" name="Line 93"/>
            <p:cNvSpPr>
              <a:spLocks noChangeAspect="1" noChangeShapeType="1"/>
            </p:cNvSpPr>
            <p:nvPr/>
          </p:nvSpPr>
          <p:spPr bwMode="gray">
            <a:xfrm>
              <a:off x="6614866" y="215755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8" name="Line 94"/>
            <p:cNvSpPr>
              <a:spLocks noChangeAspect="1" noChangeShapeType="1"/>
            </p:cNvSpPr>
            <p:nvPr/>
          </p:nvSpPr>
          <p:spPr bwMode="gray">
            <a:xfrm>
              <a:off x="6614866" y="216084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69" name="Line 95"/>
            <p:cNvSpPr>
              <a:spLocks noChangeAspect="1" noChangeShapeType="1"/>
            </p:cNvSpPr>
            <p:nvPr/>
          </p:nvSpPr>
          <p:spPr bwMode="gray">
            <a:xfrm>
              <a:off x="6614866" y="216084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0" name="Line 96"/>
            <p:cNvSpPr>
              <a:spLocks noChangeAspect="1" noChangeShapeType="1"/>
            </p:cNvSpPr>
            <p:nvPr/>
          </p:nvSpPr>
          <p:spPr bwMode="gray">
            <a:xfrm>
              <a:off x="6645467" y="213781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1" name="Line 97"/>
            <p:cNvSpPr>
              <a:spLocks noChangeAspect="1" noChangeShapeType="1"/>
            </p:cNvSpPr>
            <p:nvPr/>
          </p:nvSpPr>
          <p:spPr bwMode="gray">
            <a:xfrm>
              <a:off x="6645467" y="213781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2" name="Line 98"/>
            <p:cNvSpPr>
              <a:spLocks noChangeAspect="1" noChangeShapeType="1"/>
            </p:cNvSpPr>
            <p:nvPr/>
          </p:nvSpPr>
          <p:spPr bwMode="gray">
            <a:xfrm>
              <a:off x="6652268" y="2144392"/>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3" name="Line 99"/>
            <p:cNvSpPr>
              <a:spLocks noChangeAspect="1" noChangeShapeType="1"/>
            </p:cNvSpPr>
            <p:nvPr/>
          </p:nvSpPr>
          <p:spPr bwMode="gray">
            <a:xfrm>
              <a:off x="6652268" y="2144392"/>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4" name="Line 100"/>
            <p:cNvSpPr>
              <a:spLocks noChangeAspect="1" noChangeShapeType="1"/>
            </p:cNvSpPr>
            <p:nvPr/>
          </p:nvSpPr>
          <p:spPr bwMode="gray">
            <a:xfrm>
              <a:off x="6805278" y="209175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5" name="Line 101"/>
            <p:cNvSpPr>
              <a:spLocks noChangeAspect="1" noChangeShapeType="1"/>
            </p:cNvSpPr>
            <p:nvPr/>
          </p:nvSpPr>
          <p:spPr bwMode="gray">
            <a:xfrm>
              <a:off x="6805278" y="2091753"/>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6" name="Freeform 102"/>
            <p:cNvSpPr>
              <a:spLocks noChangeAspect="1" noEditPoints="1"/>
            </p:cNvSpPr>
            <p:nvPr/>
          </p:nvSpPr>
          <p:spPr bwMode="gray">
            <a:xfrm>
              <a:off x="4737938" y="1900937"/>
              <a:ext cx="3866062" cy="1362035"/>
            </a:xfrm>
            <a:custGeom>
              <a:avLst/>
              <a:gdLst/>
              <a:ahLst/>
              <a:cxnLst>
                <a:cxn ang="0">
                  <a:pos x="1636" y="652"/>
                </a:cxn>
                <a:cxn ang="0">
                  <a:pos x="2270" y="316"/>
                </a:cxn>
                <a:cxn ang="0">
                  <a:pos x="2196" y="336"/>
                </a:cxn>
                <a:cxn ang="0">
                  <a:pos x="2106" y="336"/>
                </a:cxn>
                <a:cxn ang="0">
                  <a:pos x="2054" y="400"/>
                </a:cxn>
                <a:cxn ang="0">
                  <a:pos x="1960" y="426"/>
                </a:cxn>
                <a:cxn ang="0">
                  <a:pos x="1912" y="518"/>
                </a:cxn>
                <a:cxn ang="0">
                  <a:pos x="1830" y="616"/>
                </a:cxn>
                <a:cxn ang="0">
                  <a:pos x="1904" y="426"/>
                </a:cxn>
                <a:cxn ang="0">
                  <a:pos x="1896" y="418"/>
                </a:cxn>
                <a:cxn ang="0">
                  <a:pos x="1820" y="424"/>
                </a:cxn>
                <a:cxn ang="0">
                  <a:pos x="1760" y="450"/>
                </a:cxn>
                <a:cxn ang="0">
                  <a:pos x="1650" y="450"/>
                </a:cxn>
                <a:cxn ang="0">
                  <a:pos x="1556" y="548"/>
                </a:cxn>
                <a:cxn ang="0">
                  <a:pos x="1620" y="616"/>
                </a:cxn>
                <a:cxn ang="0">
                  <a:pos x="1554" y="762"/>
                </a:cxn>
                <a:cxn ang="0">
                  <a:pos x="1498" y="756"/>
                </a:cxn>
                <a:cxn ang="0">
                  <a:pos x="1342" y="608"/>
                </a:cxn>
                <a:cxn ang="0">
                  <a:pos x="1038" y="650"/>
                </a:cxn>
                <a:cxn ang="0">
                  <a:pos x="692" y="570"/>
                </a:cxn>
                <a:cxn ang="0">
                  <a:pos x="492" y="630"/>
                </a:cxn>
                <a:cxn ang="0">
                  <a:pos x="392" y="650"/>
                </a:cxn>
                <a:cxn ang="0">
                  <a:pos x="386" y="730"/>
                </a:cxn>
                <a:cxn ang="0">
                  <a:pos x="374" y="816"/>
                </a:cxn>
                <a:cxn ang="0">
                  <a:pos x="254" y="766"/>
                </a:cxn>
                <a:cxn ang="0">
                  <a:pos x="276" y="684"/>
                </a:cxn>
                <a:cxn ang="0">
                  <a:pos x="180" y="608"/>
                </a:cxn>
                <a:cxn ang="0">
                  <a:pos x="114" y="510"/>
                </a:cxn>
                <a:cxn ang="0">
                  <a:pos x="118" y="418"/>
                </a:cxn>
                <a:cxn ang="0">
                  <a:pos x="138" y="244"/>
                </a:cxn>
                <a:cxn ang="0">
                  <a:pos x="210" y="222"/>
                </a:cxn>
                <a:cxn ang="0">
                  <a:pos x="204" y="280"/>
                </a:cxn>
                <a:cxn ang="0">
                  <a:pos x="212" y="322"/>
                </a:cxn>
                <a:cxn ang="0">
                  <a:pos x="276" y="318"/>
                </a:cxn>
                <a:cxn ang="0">
                  <a:pos x="338" y="240"/>
                </a:cxn>
                <a:cxn ang="0">
                  <a:pos x="436" y="244"/>
                </a:cxn>
                <a:cxn ang="0">
                  <a:pos x="512" y="242"/>
                </a:cxn>
                <a:cxn ang="0">
                  <a:pos x="600" y="218"/>
                </a:cxn>
                <a:cxn ang="0">
                  <a:pos x="642" y="200"/>
                </a:cxn>
                <a:cxn ang="0">
                  <a:pos x="714" y="198"/>
                </a:cxn>
                <a:cxn ang="0">
                  <a:pos x="704" y="294"/>
                </a:cxn>
                <a:cxn ang="0">
                  <a:pos x="788" y="268"/>
                </a:cxn>
                <a:cxn ang="0">
                  <a:pos x="738" y="150"/>
                </a:cxn>
                <a:cxn ang="0">
                  <a:pos x="782" y="164"/>
                </a:cxn>
                <a:cxn ang="0">
                  <a:pos x="880" y="218"/>
                </a:cxn>
                <a:cxn ang="0">
                  <a:pos x="834" y="108"/>
                </a:cxn>
                <a:cxn ang="0">
                  <a:pos x="916" y="70"/>
                </a:cxn>
                <a:cxn ang="0">
                  <a:pos x="1036" y="46"/>
                </a:cxn>
                <a:cxn ang="0">
                  <a:pos x="1104" y="8"/>
                </a:cxn>
                <a:cxn ang="0">
                  <a:pos x="1212" y="24"/>
                </a:cxn>
                <a:cxn ang="0">
                  <a:pos x="1188" y="116"/>
                </a:cxn>
                <a:cxn ang="0">
                  <a:pos x="1208" y="108"/>
                </a:cxn>
                <a:cxn ang="0">
                  <a:pos x="1320" y="126"/>
                </a:cxn>
                <a:cxn ang="0">
                  <a:pos x="1406" y="108"/>
                </a:cxn>
                <a:cxn ang="0">
                  <a:pos x="1434" y="164"/>
                </a:cxn>
                <a:cxn ang="0">
                  <a:pos x="1506" y="168"/>
                </a:cxn>
                <a:cxn ang="0">
                  <a:pos x="1604" y="172"/>
                </a:cxn>
                <a:cxn ang="0">
                  <a:pos x="1690" y="156"/>
                </a:cxn>
                <a:cxn ang="0">
                  <a:pos x="1754" y="188"/>
                </a:cxn>
                <a:cxn ang="0">
                  <a:pos x="1890" y="228"/>
                </a:cxn>
                <a:cxn ang="0">
                  <a:pos x="2024" y="226"/>
                </a:cxn>
                <a:cxn ang="0">
                  <a:pos x="2158" y="246"/>
                </a:cxn>
                <a:cxn ang="0">
                  <a:pos x="26" y="556"/>
                </a:cxn>
              </a:cxnLst>
              <a:rect l="0" t="0" r="r" b="b"/>
              <a:pathLst>
                <a:path w="2274" h="828">
                  <a:moveTo>
                    <a:pt x="1666" y="666"/>
                  </a:moveTo>
                  <a:lnTo>
                    <a:pt x="1666" y="666"/>
                  </a:lnTo>
                  <a:lnTo>
                    <a:pt x="1668" y="674"/>
                  </a:lnTo>
                  <a:lnTo>
                    <a:pt x="1668" y="674"/>
                  </a:lnTo>
                  <a:lnTo>
                    <a:pt x="1664" y="670"/>
                  </a:lnTo>
                  <a:lnTo>
                    <a:pt x="1658" y="666"/>
                  </a:lnTo>
                  <a:lnTo>
                    <a:pt x="1656" y="666"/>
                  </a:lnTo>
                  <a:lnTo>
                    <a:pt x="1652" y="666"/>
                  </a:lnTo>
                  <a:lnTo>
                    <a:pt x="1650" y="668"/>
                  </a:lnTo>
                  <a:lnTo>
                    <a:pt x="1648" y="672"/>
                  </a:lnTo>
                  <a:lnTo>
                    <a:pt x="1648" y="672"/>
                  </a:lnTo>
                  <a:lnTo>
                    <a:pt x="1648" y="678"/>
                  </a:lnTo>
                  <a:lnTo>
                    <a:pt x="1648" y="682"/>
                  </a:lnTo>
                  <a:lnTo>
                    <a:pt x="1648" y="682"/>
                  </a:lnTo>
                  <a:lnTo>
                    <a:pt x="1644" y="692"/>
                  </a:lnTo>
                  <a:lnTo>
                    <a:pt x="1642" y="702"/>
                  </a:lnTo>
                  <a:lnTo>
                    <a:pt x="1642" y="702"/>
                  </a:lnTo>
                  <a:lnTo>
                    <a:pt x="1644" y="710"/>
                  </a:lnTo>
                  <a:lnTo>
                    <a:pt x="1648" y="720"/>
                  </a:lnTo>
                  <a:lnTo>
                    <a:pt x="1652" y="722"/>
                  </a:lnTo>
                  <a:lnTo>
                    <a:pt x="1652" y="722"/>
                  </a:lnTo>
                  <a:lnTo>
                    <a:pt x="1652" y="728"/>
                  </a:lnTo>
                  <a:lnTo>
                    <a:pt x="1654" y="734"/>
                  </a:lnTo>
                  <a:lnTo>
                    <a:pt x="1650" y="736"/>
                  </a:lnTo>
                  <a:lnTo>
                    <a:pt x="1650" y="736"/>
                  </a:lnTo>
                  <a:lnTo>
                    <a:pt x="1650" y="734"/>
                  </a:lnTo>
                  <a:lnTo>
                    <a:pt x="1648" y="730"/>
                  </a:lnTo>
                  <a:lnTo>
                    <a:pt x="1648" y="730"/>
                  </a:lnTo>
                  <a:lnTo>
                    <a:pt x="1646" y="728"/>
                  </a:lnTo>
                  <a:lnTo>
                    <a:pt x="1646" y="728"/>
                  </a:lnTo>
                  <a:lnTo>
                    <a:pt x="1644" y="726"/>
                  </a:lnTo>
                  <a:lnTo>
                    <a:pt x="1644" y="726"/>
                  </a:lnTo>
                  <a:lnTo>
                    <a:pt x="1642" y="722"/>
                  </a:lnTo>
                  <a:lnTo>
                    <a:pt x="1642" y="722"/>
                  </a:lnTo>
                  <a:lnTo>
                    <a:pt x="1640" y="722"/>
                  </a:lnTo>
                  <a:lnTo>
                    <a:pt x="1640" y="722"/>
                  </a:lnTo>
                  <a:lnTo>
                    <a:pt x="1638" y="724"/>
                  </a:lnTo>
                  <a:lnTo>
                    <a:pt x="1636" y="726"/>
                  </a:lnTo>
                  <a:lnTo>
                    <a:pt x="1634" y="732"/>
                  </a:lnTo>
                  <a:lnTo>
                    <a:pt x="1634" y="732"/>
                  </a:lnTo>
                  <a:lnTo>
                    <a:pt x="1634" y="734"/>
                  </a:lnTo>
                  <a:lnTo>
                    <a:pt x="1634" y="734"/>
                  </a:lnTo>
                  <a:lnTo>
                    <a:pt x="1630" y="734"/>
                  </a:lnTo>
                  <a:lnTo>
                    <a:pt x="1630" y="734"/>
                  </a:lnTo>
                  <a:lnTo>
                    <a:pt x="1632" y="722"/>
                  </a:lnTo>
                  <a:lnTo>
                    <a:pt x="1634" y="720"/>
                  </a:lnTo>
                  <a:lnTo>
                    <a:pt x="1634" y="720"/>
                  </a:lnTo>
                  <a:lnTo>
                    <a:pt x="1634" y="716"/>
                  </a:lnTo>
                  <a:lnTo>
                    <a:pt x="1634" y="710"/>
                  </a:lnTo>
                  <a:lnTo>
                    <a:pt x="1636" y="708"/>
                  </a:lnTo>
                  <a:lnTo>
                    <a:pt x="1636" y="708"/>
                  </a:lnTo>
                  <a:lnTo>
                    <a:pt x="1636" y="696"/>
                  </a:lnTo>
                  <a:lnTo>
                    <a:pt x="1636" y="696"/>
                  </a:lnTo>
                  <a:lnTo>
                    <a:pt x="1634" y="682"/>
                  </a:lnTo>
                  <a:lnTo>
                    <a:pt x="1634" y="682"/>
                  </a:lnTo>
                  <a:lnTo>
                    <a:pt x="1636" y="680"/>
                  </a:lnTo>
                  <a:lnTo>
                    <a:pt x="1636" y="680"/>
                  </a:lnTo>
                  <a:lnTo>
                    <a:pt x="1634" y="670"/>
                  </a:lnTo>
                  <a:lnTo>
                    <a:pt x="1634" y="670"/>
                  </a:lnTo>
                  <a:lnTo>
                    <a:pt x="1636" y="660"/>
                  </a:lnTo>
                  <a:lnTo>
                    <a:pt x="1636" y="652"/>
                  </a:lnTo>
                  <a:lnTo>
                    <a:pt x="1636" y="652"/>
                  </a:lnTo>
                  <a:lnTo>
                    <a:pt x="1634" y="644"/>
                  </a:lnTo>
                  <a:lnTo>
                    <a:pt x="1634" y="644"/>
                  </a:lnTo>
                  <a:lnTo>
                    <a:pt x="1636" y="636"/>
                  </a:lnTo>
                  <a:lnTo>
                    <a:pt x="1634" y="630"/>
                  </a:lnTo>
                  <a:lnTo>
                    <a:pt x="1634" y="630"/>
                  </a:lnTo>
                  <a:lnTo>
                    <a:pt x="1632" y="622"/>
                  </a:lnTo>
                  <a:lnTo>
                    <a:pt x="1632" y="622"/>
                  </a:lnTo>
                  <a:lnTo>
                    <a:pt x="1632" y="616"/>
                  </a:lnTo>
                  <a:lnTo>
                    <a:pt x="1634" y="612"/>
                  </a:lnTo>
                  <a:lnTo>
                    <a:pt x="1634" y="612"/>
                  </a:lnTo>
                  <a:lnTo>
                    <a:pt x="1634" y="608"/>
                  </a:lnTo>
                  <a:lnTo>
                    <a:pt x="1632" y="604"/>
                  </a:lnTo>
                  <a:lnTo>
                    <a:pt x="1632" y="604"/>
                  </a:lnTo>
                  <a:lnTo>
                    <a:pt x="1636" y="602"/>
                  </a:lnTo>
                  <a:lnTo>
                    <a:pt x="1636" y="602"/>
                  </a:lnTo>
                  <a:lnTo>
                    <a:pt x="1636" y="596"/>
                  </a:lnTo>
                  <a:lnTo>
                    <a:pt x="1636" y="596"/>
                  </a:lnTo>
                  <a:lnTo>
                    <a:pt x="1644" y="592"/>
                  </a:lnTo>
                  <a:lnTo>
                    <a:pt x="1644" y="592"/>
                  </a:lnTo>
                  <a:lnTo>
                    <a:pt x="1642" y="574"/>
                  </a:lnTo>
                  <a:lnTo>
                    <a:pt x="1642" y="574"/>
                  </a:lnTo>
                  <a:lnTo>
                    <a:pt x="1646" y="574"/>
                  </a:lnTo>
                  <a:lnTo>
                    <a:pt x="1646" y="574"/>
                  </a:lnTo>
                  <a:lnTo>
                    <a:pt x="1648" y="570"/>
                  </a:lnTo>
                  <a:lnTo>
                    <a:pt x="1648" y="570"/>
                  </a:lnTo>
                  <a:lnTo>
                    <a:pt x="1652" y="576"/>
                  </a:lnTo>
                  <a:lnTo>
                    <a:pt x="1652" y="576"/>
                  </a:lnTo>
                  <a:lnTo>
                    <a:pt x="1652" y="582"/>
                  </a:lnTo>
                  <a:lnTo>
                    <a:pt x="1650" y="584"/>
                  </a:lnTo>
                  <a:lnTo>
                    <a:pt x="1650" y="588"/>
                  </a:lnTo>
                  <a:lnTo>
                    <a:pt x="1650" y="592"/>
                  </a:lnTo>
                  <a:lnTo>
                    <a:pt x="1650" y="592"/>
                  </a:lnTo>
                  <a:lnTo>
                    <a:pt x="1650" y="596"/>
                  </a:lnTo>
                  <a:lnTo>
                    <a:pt x="1654" y="600"/>
                  </a:lnTo>
                  <a:lnTo>
                    <a:pt x="1656" y="604"/>
                  </a:lnTo>
                  <a:lnTo>
                    <a:pt x="1656" y="608"/>
                  </a:lnTo>
                  <a:lnTo>
                    <a:pt x="1656" y="608"/>
                  </a:lnTo>
                  <a:lnTo>
                    <a:pt x="1652" y="618"/>
                  </a:lnTo>
                  <a:lnTo>
                    <a:pt x="1652" y="618"/>
                  </a:lnTo>
                  <a:lnTo>
                    <a:pt x="1652" y="618"/>
                  </a:lnTo>
                  <a:lnTo>
                    <a:pt x="1652" y="618"/>
                  </a:lnTo>
                  <a:lnTo>
                    <a:pt x="1654" y="620"/>
                  </a:lnTo>
                  <a:lnTo>
                    <a:pt x="1654" y="620"/>
                  </a:lnTo>
                  <a:lnTo>
                    <a:pt x="1652" y="626"/>
                  </a:lnTo>
                  <a:lnTo>
                    <a:pt x="1652" y="634"/>
                  </a:lnTo>
                  <a:lnTo>
                    <a:pt x="1652" y="634"/>
                  </a:lnTo>
                  <a:lnTo>
                    <a:pt x="1654" y="638"/>
                  </a:lnTo>
                  <a:lnTo>
                    <a:pt x="1656" y="644"/>
                  </a:lnTo>
                  <a:lnTo>
                    <a:pt x="1656" y="644"/>
                  </a:lnTo>
                  <a:lnTo>
                    <a:pt x="1654" y="648"/>
                  </a:lnTo>
                  <a:lnTo>
                    <a:pt x="1654" y="650"/>
                  </a:lnTo>
                  <a:lnTo>
                    <a:pt x="1654" y="654"/>
                  </a:lnTo>
                  <a:lnTo>
                    <a:pt x="1658" y="660"/>
                  </a:lnTo>
                  <a:lnTo>
                    <a:pt x="1658" y="660"/>
                  </a:lnTo>
                  <a:lnTo>
                    <a:pt x="1662" y="660"/>
                  </a:lnTo>
                  <a:lnTo>
                    <a:pt x="1662" y="660"/>
                  </a:lnTo>
                  <a:lnTo>
                    <a:pt x="1662" y="662"/>
                  </a:lnTo>
                  <a:lnTo>
                    <a:pt x="1664" y="666"/>
                  </a:lnTo>
                  <a:lnTo>
                    <a:pt x="1666" y="666"/>
                  </a:lnTo>
                  <a:close/>
                  <a:moveTo>
                    <a:pt x="2270" y="316"/>
                  </a:moveTo>
                  <a:lnTo>
                    <a:pt x="2270" y="316"/>
                  </a:lnTo>
                  <a:lnTo>
                    <a:pt x="2270" y="316"/>
                  </a:lnTo>
                  <a:lnTo>
                    <a:pt x="2270" y="318"/>
                  </a:lnTo>
                  <a:lnTo>
                    <a:pt x="2270" y="322"/>
                  </a:lnTo>
                  <a:lnTo>
                    <a:pt x="2270" y="322"/>
                  </a:lnTo>
                  <a:lnTo>
                    <a:pt x="2266" y="322"/>
                  </a:lnTo>
                  <a:lnTo>
                    <a:pt x="2266" y="322"/>
                  </a:lnTo>
                  <a:lnTo>
                    <a:pt x="2264" y="328"/>
                  </a:lnTo>
                  <a:lnTo>
                    <a:pt x="2264" y="328"/>
                  </a:lnTo>
                  <a:lnTo>
                    <a:pt x="2260" y="328"/>
                  </a:lnTo>
                  <a:lnTo>
                    <a:pt x="2260" y="326"/>
                  </a:lnTo>
                  <a:lnTo>
                    <a:pt x="2260" y="326"/>
                  </a:lnTo>
                  <a:lnTo>
                    <a:pt x="2256" y="324"/>
                  </a:lnTo>
                  <a:lnTo>
                    <a:pt x="2256" y="324"/>
                  </a:lnTo>
                  <a:lnTo>
                    <a:pt x="2242" y="324"/>
                  </a:lnTo>
                  <a:lnTo>
                    <a:pt x="2242" y="330"/>
                  </a:lnTo>
                  <a:lnTo>
                    <a:pt x="2242" y="330"/>
                  </a:lnTo>
                  <a:lnTo>
                    <a:pt x="2248" y="328"/>
                  </a:lnTo>
                  <a:lnTo>
                    <a:pt x="2248" y="328"/>
                  </a:lnTo>
                  <a:lnTo>
                    <a:pt x="2248" y="336"/>
                  </a:lnTo>
                  <a:lnTo>
                    <a:pt x="2248" y="336"/>
                  </a:lnTo>
                  <a:lnTo>
                    <a:pt x="2240" y="338"/>
                  </a:lnTo>
                  <a:lnTo>
                    <a:pt x="2240" y="338"/>
                  </a:lnTo>
                  <a:lnTo>
                    <a:pt x="2242" y="340"/>
                  </a:lnTo>
                  <a:lnTo>
                    <a:pt x="2242" y="340"/>
                  </a:lnTo>
                  <a:lnTo>
                    <a:pt x="2242" y="342"/>
                  </a:lnTo>
                  <a:lnTo>
                    <a:pt x="2242" y="344"/>
                  </a:lnTo>
                  <a:lnTo>
                    <a:pt x="2242" y="344"/>
                  </a:lnTo>
                  <a:lnTo>
                    <a:pt x="2244" y="348"/>
                  </a:lnTo>
                  <a:lnTo>
                    <a:pt x="2244" y="348"/>
                  </a:lnTo>
                  <a:lnTo>
                    <a:pt x="2248" y="352"/>
                  </a:lnTo>
                  <a:lnTo>
                    <a:pt x="2248" y="352"/>
                  </a:lnTo>
                  <a:lnTo>
                    <a:pt x="2240" y="350"/>
                  </a:lnTo>
                  <a:lnTo>
                    <a:pt x="2240" y="352"/>
                  </a:lnTo>
                  <a:lnTo>
                    <a:pt x="2240" y="352"/>
                  </a:lnTo>
                  <a:lnTo>
                    <a:pt x="2238" y="352"/>
                  </a:lnTo>
                  <a:lnTo>
                    <a:pt x="2236" y="350"/>
                  </a:lnTo>
                  <a:lnTo>
                    <a:pt x="2234" y="350"/>
                  </a:lnTo>
                  <a:lnTo>
                    <a:pt x="2234" y="350"/>
                  </a:lnTo>
                  <a:lnTo>
                    <a:pt x="2234" y="346"/>
                  </a:lnTo>
                  <a:lnTo>
                    <a:pt x="2234" y="346"/>
                  </a:lnTo>
                  <a:lnTo>
                    <a:pt x="2232" y="346"/>
                  </a:lnTo>
                  <a:lnTo>
                    <a:pt x="2232" y="346"/>
                  </a:lnTo>
                  <a:lnTo>
                    <a:pt x="2232" y="348"/>
                  </a:lnTo>
                  <a:lnTo>
                    <a:pt x="2230" y="348"/>
                  </a:lnTo>
                  <a:lnTo>
                    <a:pt x="2230" y="348"/>
                  </a:lnTo>
                  <a:lnTo>
                    <a:pt x="2230" y="350"/>
                  </a:lnTo>
                  <a:lnTo>
                    <a:pt x="2230" y="350"/>
                  </a:lnTo>
                  <a:lnTo>
                    <a:pt x="2224" y="352"/>
                  </a:lnTo>
                  <a:lnTo>
                    <a:pt x="2224" y="352"/>
                  </a:lnTo>
                  <a:lnTo>
                    <a:pt x="2224" y="348"/>
                  </a:lnTo>
                  <a:lnTo>
                    <a:pt x="2224" y="348"/>
                  </a:lnTo>
                  <a:lnTo>
                    <a:pt x="2216" y="342"/>
                  </a:lnTo>
                  <a:lnTo>
                    <a:pt x="2208" y="340"/>
                  </a:lnTo>
                  <a:lnTo>
                    <a:pt x="2208" y="340"/>
                  </a:lnTo>
                  <a:lnTo>
                    <a:pt x="2206" y="342"/>
                  </a:lnTo>
                  <a:lnTo>
                    <a:pt x="2204" y="342"/>
                  </a:lnTo>
                  <a:lnTo>
                    <a:pt x="2204" y="342"/>
                  </a:lnTo>
                  <a:lnTo>
                    <a:pt x="2200" y="340"/>
                  </a:lnTo>
                  <a:lnTo>
                    <a:pt x="2196" y="336"/>
                  </a:lnTo>
                  <a:lnTo>
                    <a:pt x="2196" y="336"/>
                  </a:lnTo>
                  <a:lnTo>
                    <a:pt x="2198" y="332"/>
                  </a:lnTo>
                  <a:lnTo>
                    <a:pt x="2198" y="332"/>
                  </a:lnTo>
                  <a:lnTo>
                    <a:pt x="2196" y="330"/>
                  </a:lnTo>
                  <a:lnTo>
                    <a:pt x="2196" y="326"/>
                  </a:lnTo>
                  <a:lnTo>
                    <a:pt x="2192" y="320"/>
                  </a:lnTo>
                  <a:lnTo>
                    <a:pt x="2190" y="320"/>
                  </a:lnTo>
                  <a:lnTo>
                    <a:pt x="2190" y="320"/>
                  </a:lnTo>
                  <a:lnTo>
                    <a:pt x="2186" y="320"/>
                  </a:lnTo>
                  <a:lnTo>
                    <a:pt x="2180" y="320"/>
                  </a:lnTo>
                  <a:lnTo>
                    <a:pt x="2180" y="320"/>
                  </a:lnTo>
                  <a:lnTo>
                    <a:pt x="2180" y="318"/>
                  </a:lnTo>
                  <a:lnTo>
                    <a:pt x="2178" y="318"/>
                  </a:lnTo>
                  <a:lnTo>
                    <a:pt x="2178" y="318"/>
                  </a:lnTo>
                  <a:lnTo>
                    <a:pt x="2176" y="320"/>
                  </a:lnTo>
                  <a:lnTo>
                    <a:pt x="2176" y="322"/>
                  </a:lnTo>
                  <a:lnTo>
                    <a:pt x="2176" y="322"/>
                  </a:lnTo>
                  <a:lnTo>
                    <a:pt x="2170" y="324"/>
                  </a:lnTo>
                  <a:lnTo>
                    <a:pt x="2164" y="326"/>
                  </a:lnTo>
                  <a:lnTo>
                    <a:pt x="2164" y="326"/>
                  </a:lnTo>
                  <a:lnTo>
                    <a:pt x="2160" y="322"/>
                  </a:lnTo>
                  <a:lnTo>
                    <a:pt x="2160" y="322"/>
                  </a:lnTo>
                  <a:lnTo>
                    <a:pt x="2154" y="320"/>
                  </a:lnTo>
                  <a:lnTo>
                    <a:pt x="2154" y="320"/>
                  </a:lnTo>
                  <a:lnTo>
                    <a:pt x="2154" y="316"/>
                  </a:lnTo>
                  <a:lnTo>
                    <a:pt x="2158" y="312"/>
                  </a:lnTo>
                  <a:lnTo>
                    <a:pt x="2158" y="310"/>
                  </a:lnTo>
                  <a:lnTo>
                    <a:pt x="2158" y="310"/>
                  </a:lnTo>
                  <a:lnTo>
                    <a:pt x="2156" y="308"/>
                  </a:lnTo>
                  <a:lnTo>
                    <a:pt x="2154" y="306"/>
                  </a:lnTo>
                  <a:lnTo>
                    <a:pt x="2154" y="304"/>
                  </a:lnTo>
                  <a:lnTo>
                    <a:pt x="2156" y="302"/>
                  </a:lnTo>
                  <a:lnTo>
                    <a:pt x="2156" y="302"/>
                  </a:lnTo>
                  <a:lnTo>
                    <a:pt x="2150" y="300"/>
                  </a:lnTo>
                  <a:lnTo>
                    <a:pt x="2150" y="300"/>
                  </a:lnTo>
                  <a:lnTo>
                    <a:pt x="2146" y="304"/>
                  </a:lnTo>
                  <a:lnTo>
                    <a:pt x="2146" y="306"/>
                  </a:lnTo>
                  <a:lnTo>
                    <a:pt x="2146" y="306"/>
                  </a:lnTo>
                  <a:lnTo>
                    <a:pt x="2148" y="308"/>
                  </a:lnTo>
                  <a:lnTo>
                    <a:pt x="2148" y="312"/>
                  </a:lnTo>
                  <a:lnTo>
                    <a:pt x="2146" y="312"/>
                  </a:lnTo>
                  <a:lnTo>
                    <a:pt x="2146" y="312"/>
                  </a:lnTo>
                  <a:lnTo>
                    <a:pt x="2144" y="316"/>
                  </a:lnTo>
                  <a:lnTo>
                    <a:pt x="2144" y="316"/>
                  </a:lnTo>
                  <a:lnTo>
                    <a:pt x="2152" y="320"/>
                  </a:lnTo>
                  <a:lnTo>
                    <a:pt x="2152" y="320"/>
                  </a:lnTo>
                  <a:lnTo>
                    <a:pt x="2152" y="322"/>
                  </a:lnTo>
                  <a:lnTo>
                    <a:pt x="2152" y="322"/>
                  </a:lnTo>
                  <a:lnTo>
                    <a:pt x="2146" y="328"/>
                  </a:lnTo>
                  <a:lnTo>
                    <a:pt x="2146" y="328"/>
                  </a:lnTo>
                  <a:lnTo>
                    <a:pt x="2148" y="330"/>
                  </a:lnTo>
                  <a:lnTo>
                    <a:pt x="2146" y="334"/>
                  </a:lnTo>
                  <a:lnTo>
                    <a:pt x="2146" y="334"/>
                  </a:lnTo>
                  <a:lnTo>
                    <a:pt x="2140" y="338"/>
                  </a:lnTo>
                  <a:lnTo>
                    <a:pt x="2132" y="340"/>
                  </a:lnTo>
                  <a:lnTo>
                    <a:pt x="2132" y="340"/>
                  </a:lnTo>
                  <a:lnTo>
                    <a:pt x="2126" y="340"/>
                  </a:lnTo>
                  <a:lnTo>
                    <a:pt x="2120" y="338"/>
                  </a:lnTo>
                  <a:lnTo>
                    <a:pt x="2108" y="334"/>
                  </a:lnTo>
                  <a:lnTo>
                    <a:pt x="2108" y="334"/>
                  </a:lnTo>
                  <a:lnTo>
                    <a:pt x="2106" y="336"/>
                  </a:lnTo>
                  <a:lnTo>
                    <a:pt x="2106" y="336"/>
                  </a:lnTo>
                  <a:lnTo>
                    <a:pt x="2100" y="336"/>
                  </a:lnTo>
                  <a:lnTo>
                    <a:pt x="2094" y="336"/>
                  </a:lnTo>
                  <a:lnTo>
                    <a:pt x="2094" y="336"/>
                  </a:lnTo>
                  <a:lnTo>
                    <a:pt x="2092" y="338"/>
                  </a:lnTo>
                  <a:lnTo>
                    <a:pt x="2100" y="338"/>
                  </a:lnTo>
                  <a:lnTo>
                    <a:pt x="2100" y="338"/>
                  </a:lnTo>
                  <a:lnTo>
                    <a:pt x="2106" y="342"/>
                  </a:lnTo>
                  <a:lnTo>
                    <a:pt x="2110" y="338"/>
                  </a:lnTo>
                  <a:lnTo>
                    <a:pt x="2110" y="338"/>
                  </a:lnTo>
                  <a:lnTo>
                    <a:pt x="2112" y="344"/>
                  </a:lnTo>
                  <a:lnTo>
                    <a:pt x="2112" y="344"/>
                  </a:lnTo>
                  <a:lnTo>
                    <a:pt x="2108" y="344"/>
                  </a:lnTo>
                  <a:lnTo>
                    <a:pt x="2108" y="344"/>
                  </a:lnTo>
                  <a:lnTo>
                    <a:pt x="2106" y="350"/>
                  </a:lnTo>
                  <a:lnTo>
                    <a:pt x="2106" y="350"/>
                  </a:lnTo>
                  <a:lnTo>
                    <a:pt x="2112" y="348"/>
                  </a:lnTo>
                  <a:lnTo>
                    <a:pt x="2116" y="348"/>
                  </a:lnTo>
                  <a:lnTo>
                    <a:pt x="2116" y="348"/>
                  </a:lnTo>
                  <a:lnTo>
                    <a:pt x="2122" y="360"/>
                  </a:lnTo>
                  <a:lnTo>
                    <a:pt x="2122" y="360"/>
                  </a:lnTo>
                  <a:lnTo>
                    <a:pt x="2124" y="360"/>
                  </a:lnTo>
                  <a:lnTo>
                    <a:pt x="2124" y="360"/>
                  </a:lnTo>
                  <a:lnTo>
                    <a:pt x="2126" y="366"/>
                  </a:lnTo>
                  <a:lnTo>
                    <a:pt x="2128" y="368"/>
                  </a:lnTo>
                  <a:lnTo>
                    <a:pt x="2128" y="368"/>
                  </a:lnTo>
                  <a:lnTo>
                    <a:pt x="2126" y="370"/>
                  </a:lnTo>
                  <a:lnTo>
                    <a:pt x="2126" y="372"/>
                  </a:lnTo>
                  <a:lnTo>
                    <a:pt x="2126" y="372"/>
                  </a:lnTo>
                  <a:lnTo>
                    <a:pt x="2132" y="374"/>
                  </a:lnTo>
                  <a:lnTo>
                    <a:pt x="2132" y="374"/>
                  </a:lnTo>
                  <a:lnTo>
                    <a:pt x="2132" y="376"/>
                  </a:lnTo>
                  <a:lnTo>
                    <a:pt x="2132" y="376"/>
                  </a:lnTo>
                  <a:lnTo>
                    <a:pt x="2132" y="378"/>
                  </a:lnTo>
                  <a:lnTo>
                    <a:pt x="2132" y="382"/>
                  </a:lnTo>
                  <a:lnTo>
                    <a:pt x="2132" y="382"/>
                  </a:lnTo>
                  <a:lnTo>
                    <a:pt x="2134" y="384"/>
                  </a:lnTo>
                  <a:lnTo>
                    <a:pt x="2134" y="384"/>
                  </a:lnTo>
                  <a:lnTo>
                    <a:pt x="2128" y="388"/>
                  </a:lnTo>
                  <a:lnTo>
                    <a:pt x="2124" y="390"/>
                  </a:lnTo>
                  <a:lnTo>
                    <a:pt x="2120" y="388"/>
                  </a:lnTo>
                  <a:lnTo>
                    <a:pt x="2120" y="388"/>
                  </a:lnTo>
                  <a:lnTo>
                    <a:pt x="2114" y="384"/>
                  </a:lnTo>
                  <a:lnTo>
                    <a:pt x="2114" y="384"/>
                  </a:lnTo>
                  <a:lnTo>
                    <a:pt x="2104" y="386"/>
                  </a:lnTo>
                  <a:lnTo>
                    <a:pt x="2104" y="386"/>
                  </a:lnTo>
                  <a:lnTo>
                    <a:pt x="2102" y="386"/>
                  </a:lnTo>
                  <a:lnTo>
                    <a:pt x="2100" y="384"/>
                  </a:lnTo>
                  <a:lnTo>
                    <a:pt x="2098" y="386"/>
                  </a:lnTo>
                  <a:lnTo>
                    <a:pt x="2098" y="386"/>
                  </a:lnTo>
                  <a:lnTo>
                    <a:pt x="2090" y="388"/>
                  </a:lnTo>
                  <a:lnTo>
                    <a:pt x="2080" y="392"/>
                  </a:lnTo>
                  <a:lnTo>
                    <a:pt x="2080" y="392"/>
                  </a:lnTo>
                  <a:lnTo>
                    <a:pt x="2080" y="394"/>
                  </a:lnTo>
                  <a:lnTo>
                    <a:pt x="2080" y="394"/>
                  </a:lnTo>
                  <a:lnTo>
                    <a:pt x="2072" y="396"/>
                  </a:lnTo>
                  <a:lnTo>
                    <a:pt x="2066" y="398"/>
                  </a:lnTo>
                  <a:lnTo>
                    <a:pt x="2066" y="398"/>
                  </a:lnTo>
                  <a:lnTo>
                    <a:pt x="2060" y="404"/>
                  </a:lnTo>
                  <a:lnTo>
                    <a:pt x="2060" y="404"/>
                  </a:lnTo>
                  <a:lnTo>
                    <a:pt x="2054" y="400"/>
                  </a:lnTo>
                  <a:lnTo>
                    <a:pt x="2054" y="400"/>
                  </a:lnTo>
                  <a:lnTo>
                    <a:pt x="2054" y="406"/>
                  </a:lnTo>
                  <a:lnTo>
                    <a:pt x="2052" y="410"/>
                  </a:lnTo>
                  <a:lnTo>
                    <a:pt x="2048" y="410"/>
                  </a:lnTo>
                  <a:lnTo>
                    <a:pt x="2042" y="406"/>
                  </a:lnTo>
                  <a:lnTo>
                    <a:pt x="2042" y="406"/>
                  </a:lnTo>
                  <a:lnTo>
                    <a:pt x="2046" y="412"/>
                  </a:lnTo>
                  <a:lnTo>
                    <a:pt x="2046" y="412"/>
                  </a:lnTo>
                  <a:lnTo>
                    <a:pt x="2042" y="416"/>
                  </a:lnTo>
                  <a:lnTo>
                    <a:pt x="2042" y="416"/>
                  </a:lnTo>
                  <a:lnTo>
                    <a:pt x="2040" y="416"/>
                  </a:lnTo>
                  <a:lnTo>
                    <a:pt x="2038" y="416"/>
                  </a:lnTo>
                  <a:lnTo>
                    <a:pt x="2038" y="416"/>
                  </a:lnTo>
                  <a:lnTo>
                    <a:pt x="2032" y="418"/>
                  </a:lnTo>
                  <a:lnTo>
                    <a:pt x="2032" y="420"/>
                  </a:lnTo>
                  <a:lnTo>
                    <a:pt x="2032" y="420"/>
                  </a:lnTo>
                  <a:lnTo>
                    <a:pt x="2032" y="420"/>
                  </a:lnTo>
                  <a:lnTo>
                    <a:pt x="2032" y="424"/>
                  </a:lnTo>
                  <a:lnTo>
                    <a:pt x="2032" y="424"/>
                  </a:lnTo>
                  <a:lnTo>
                    <a:pt x="2028" y="424"/>
                  </a:lnTo>
                  <a:lnTo>
                    <a:pt x="2024" y="426"/>
                  </a:lnTo>
                  <a:lnTo>
                    <a:pt x="2024" y="428"/>
                  </a:lnTo>
                  <a:lnTo>
                    <a:pt x="2024" y="428"/>
                  </a:lnTo>
                  <a:lnTo>
                    <a:pt x="2020" y="432"/>
                  </a:lnTo>
                  <a:lnTo>
                    <a:pt x="2020" y="432"/>
                  </a:lnTo>
                  <a:lnTo>
                    <a:pt x="2018" y="438"/>
                  </a:lnTo>
                  <a:lnTo>
                    <a:pt x="2016" y="442"/>
                  </a:lnTo>
                  <a:lnTo>
                    <a:pt x="2016" y="442"/>
                  </a:lnTo>
                  <a:lnTo>
                    <a:pt x="2004" y="436"/>
                  </a:lnTo>
                  <a:lnTo>
                    <a:pt x="2004" y="436"/>
                  </a:lnTo>
                  <a:lnTo>
                    <a:pt x="2004" y="434"/>
                  </a:lnTo>
                  <a:lnTo>
                    <a:pt x="2004" y="430"/>
                  </a:lnTo>
                  <a:lnTo>
                    <a:pt x="2004" y="430"/>
                  </a:lnTo>
                  <a:lnTo>
                    <a:pt x="2002" y="430"/>
                  </a:lnTo>
                  <a:lnTo>
                    <a:pt x="1998" y="430"/>
                  </a:lnTo>
                  <a:lnTo>
                    <a:pt x="1998" y="430"/>
                  </a:lnTo>
                  <a:lnTo>
                    <a:pt x="1994" y="426"/>
                  </a:lnTo>
                  <a:lnTo>
                    <a:pt x="1988" y="422"/>
                  </a:lnTo>
                  <a:lnTo>
                    <a:pt x="1988" y="422"/>
                  </a:lnTo>
                  <a:lnTo>
                    <a:pt x="1984" y="422"/>
                  </a:lnTo>
                  <a:lnTo>
                    <a:pt x="1982" y="424"/>
                  </a:lnTo>
                  <a:lnTo>
                    <a:pt x="1982" y="426"/>
                  </a:lnTo>
                  <a:lnTo>
                    <a:pt x="1982" y="426"/>
                  </a:lnTo>
                  <a:lnTo>
                    <a:pt x="1978" y="426"/>
                  </a:lnTo>
                  <a:lnTo>
                    <a:pt x="1978" y="426"/>
                  </a:lnTo>
                  <a:lnTo>
                    <a:pt x="1976" y="428"/>
                  </a:lnTo>
                  <a:lnTo>
                    <a:pt x="1976" y="428"/>
                  </a:lnTo>
                  <a:lnTo>
                    <a:pt x="1976" y="428"/>
                  </a:lnTo>
                  <a:lnTo>
                    <a:pt x="1974" y="428"/>
                  </a:lnTo>
                  <a:lnTo>
                    <a:pt x="1974" y="428"/>
                  </a:lnTo>
                  <a:lnTo>
                    <a:pt x="1974" y="432"/>
                  </a:lnTo>
                  <a:lnTo>
                    <a:pt x="1966" y="442"/>
                  </a:lnTo>
                  <a:lnTo>
                    <a:pt x="1966" y="442"/>
                  </a:lnTo>
                  <a:lnTo>
                    <a:pt x="1962" y="444"/>
                  </a:lnTo>
                  <a:lnTo>
                    <a:pt x="1960" y="444"/>
                  </a:lnTo>
                  <a:lnTo>
                    <a:pt x="1958" y="442"/>
                  </a:lnTo>
                  <a:lnTo>
                    <a:pt x="1958" y="436"/>
                  </a:lnTo>
                  <a:lnTo>
                    <a:pt x="1958" y="436"/>
                  </a:lnTo>
                  <a:lnTo>
                    <a:pt x="1960" y="430"/>
                  </a:lnTo>
                  <a:lnTo>
                    <a:pt x="1962" y="426"/>
                  </a:lnTo>
                  <a:lnTo>
                    <a:pt x="1960" y="426"/>
                  </a:lnTo>
                  <a:lnTo>
                    <a:pt x="1960" y="426"/>
                  </a:lnTo>
                  <a:lnTo>
                    <a:pt x="1956" y="432"/>
                  </a:lnTo>
                  <a:lnTo>
                    <a:pt x="1956" y="432"/>
                  </a:lnTo>
                  <a:lnTo>
                    <a:pt x="1944" y="438"/>
                  </a:lnTo>
                  <a:lnTo>
                    <a:pt x="1944" y="438"/>
                  </a:lnTo>
                  <a:lnTo>
                    <a:pt x="1944" y="442"/>
                  </a:lnTo>
                  <a:lnTo>
                    <a:pt x="1944" y="442"/>
                  </a:lnTo>
                  <a:lnTo>
                    <a:pt x="1940" y="442"/>
                  </a:lnTo>
                  <a:lnTo>
                    <a:pt x="1940" y="442"/>
                  </a:lnTo>
                  <a:lnTo>
                    <a:pt x="1938" y="440"/>
                  </a:lnTo>
                  <a:lnTo>
                    <a:pt x="1938" y="440"/>
                  </a:lnTo>
                  <a:lnTo>
                    <a:pt x="1936" y="440"/>
                  </a:lnTo>
                  <a:lnTo>
                    <a:pt x="1932" y="440"/>
                  </a:lnTo>
                  <a:lnTo>
                    <a:pt x="1932" y="440"/>
                  </a:lnTo>
                  <a:lnTo>
                    <a:pt x="1930" y="438"/>
                  </a:lnTo>
                  <a:lnTo>
                    <a:pt x="1930" y="438"/>
                  </a:lnTo>
                  <a:lnTo>
                    <a:pt x="1928" y="438"/>
                  </a:lnTo>
                  <a:lnTo>
                    <a:pt x="1928" y="438"/>
                  </a:lnTo>
                  <a:lnTo>
                    <a:pt x="1926" y="444"/>
                  </a:lnTo>
                  <a:lnTo>
                    <a:pt x="1922" y="448"/>
                  </a:lnTo>
                  <a:lnTo>
                    <a:pt x="1922" y="448"/>
                  </a:lnTo>
                  <a:lnTo>
                    <a:pt x="1922" y="448"/>
                  </a:lnTo>
                  <a:lnTo>
                    <a:pt x="1922" y="450"/>
                  </a:lnTo>
                  <a:lnTo>
                    <a:pt x="1922" y="454"/>
                  </a:lnTo>
                  <a:lnTo>
                    <a:pt x="1922" y="454"/>
                  </a:lnTo>
                  <a:lnTo>
                    <a:pt x="1920" y="454"/>
                  </a:lnTo>
                  <a:lnTo>
                    <a:pt x="1920" y="454"/>
                  </a:lnTo>
                  <a:lnTo>
                    <a:pt x="1920" y="458"/>
                  </a:lnTo>
                  <a:lnTo>
                    <a:pt x="1920" y="458"/>
                  </a:lnTo>
                  <a:lnTo>
                    <a:pt x="1918" y="458"/>
                  </a:lnTo>
                  <a:lnTo>
                    <a:pt x="1916" y="458"/>
                  </a:lnTo>
                  <a:lnTo>
                    <a:pt x="1916" y="458"/>
                  </a:lnTo>
                  <a:lnTo>
                    <a:pt x="1916" y="462"/>
                  </a:lnTo>
                  <a:lnTo>
                    <a:pt x="1916" y="462"/>
                  </a:lnTo>
                  <a:lnTo>
                    <a:pt x="1912" y="464"/>
                  </a:lnTo>
                  <a:lnTo>
                    <a:pt x="1912" y="464"/>
                  </a:lnTo>
                  <a:lnTo>
                    <a:pt x="1908" y="468"/>
                  </a:lnTo>
                  <a:lnTo>
                    <a:pt x="1904" y="474"/>
                  </a:lnTo>
                  <a:lnTo>
                    <a:pt x="1904" y="478"/>
                  </a:lnTo>
                  <a:lnTo>
                    <a:pt x="1906" y="486"/>
                  </a:lnTo>
                  <a:lnTo>
                    <a:pt x="1906" y="486"/>
                  </a:lnTo>
                  <a:lnTo>
                    <a:pt x="1908" y="488"/>
                  </a:lnTo>
                  <a:lnTo>
                    <a:pt x="1908" y="486"/>
                  </a:lnTo>
                  <a:lnTo>
                    <a:pt x="1908" y="486"/>
                  </a:lnTo>
                  <a:lnTo>
                    <a:pt x="1918" y="488"/>
                  </a:lnTo>
                  <a:lnTo>
                    <a:pt x="1918" y="488"/>
                  </a:lnTo>
                  <a:lnTo>
                    <a:pt x="1918" y="492"/>
                  </a:lnTo>
                  <a:lnTo>
                    <a:pt x="1918" y="492"/>
                  </a:lnTo>
                  <a:lnTo>
                    <a:pt x="1916" y="498"/>
                  </a:lnTo>
                  <a:lnTo>
                    <a:pt x="1916" y="498"/>
                  </a:lnTo>
                  <a:lnTo>
                    <a:pt x="1912" y="500"/>
                  </a:lnTo>
                  <a:lnTo>
                    <a:pt x="1910" y="500"/>
                  </a:lnTo>
                  <a:lnTo>
                    <a:pt x="1910" y="500"/>
                  </a:lnTo>
                  <a:lnTo>
                    <a:pt x="1910" y="504"/>
                  </a:lnTo>
                  <a:lnTo>
                    <a:pt x="1910" y="508"/>
                  </a:lnTo>
                  <a:lnTo>
                    <a:pt x="1910" y="508"/>
                  </a:lnTo>
                  <a:lnTo>
                    <a:pt x="1908" y="510"/>
                  </a:lnTo>
                  <a:lnTo>
                    <a:pt x="1908" y="514"/>
                  </a:lnTo>
                  <a:lnTo>
                    <a:pt x="1908" y="514"/>
                  </a:lnTo>
                  <a:lnTo>
                    <a:pt x="1910" y="516"/>
                  </a:lnTo>
                  <a:lnTo>
                    <a:pt x="1912" y="518"/>
                  </a:lnTo>
                  <a:lnTo>
                    <a:pt x="1912" y="518"/>
                  </a:lnTo>
                  <a:lnTo>
                    <a:pt x="1912" y="522"/>
                  </a:lnTo>
                  <a:lnTo>
                    <a:pt x="1912" y="522"/>
                  </a:lnTo>
                  <a:lnTo>
                    <a:pt x="1920" y="522"/>
                  </a:lnTo>
                  <a:lnTo>
                    <a:pt x="1920" y="522"/>
                  </a:lnTo>
                  <a:lnTo>
                    <a:pt x="1920" y="528"/>
                  </a:lnTo>
                  <a:lnTo>
                    <a:pt x="1920" y="528"/>
                  </a:lnTo>
                  <a:lnTo>
                    <a:pt x="1918" y="532"/>
                  </a:lnTo>
                  <a:lnTo>
                    <a:pt x="1918" y="532"/>
                  </a:lnTo>
                  <a:lnTo>
                    <a:pt x="1914" y="530"/>
                  </a:lnTo>
                  <a:lnTo>
                    <a:pt x="1910" y="528"/>
                  </a:lnTo>
                  <a:lnTo>
                    <a:pt x="1910" y="528"/>
                  </a:lnTo>
                  <a:lnTo>
                    <a:pt x="1906" y="532"/>
                  </a:lnTo>
                  <a:lnTo>
                    <a:pt x="1906" y="532"/>
                  </a:lnTo>
                  <a:lnTo>
                    <a:pt x="1900" y="534"/>
                  </a:lnTo>
                  <a:lnTo>
                    <a:pt x="1900" y="534"/>
                  </a:lnTo>
                  <a:lnTo>
                    <a:pt x="1896" y="552"/>
                  </a:lnTo>
                  <a:lnTo>
                    <a:pt x="1896" y="552"/>
                  </a:lnTo>
                  <a:lnTo>
                    <a:pt x="1902" y="554"/>
                  </a:lnTo>
                  <a:lnTo>
                    <a:pt x="1904" y="558"/>
                  </a:lnTo>
                  <a:lnTo>
                    <a:pt x="1904" y="558"/>
                  </a:lnTo>
                  <a:lnTo>
                    <a:pt x="1904" y="562"/>
                  </a:lnTo>
                  <a:lnTo>
                    <a:pt x="1902" y="562"/>
                  </a:lnTo>
                  <a:lnTo>
                    <a:pt x="1902" y="562"/>
                  </a:lnTo>
                  <a:lnTo>
                    <a:pt x="1900" y="566"/>
                  </a:lnTo>
                  <a:lnTo>
                    <a:pt x="1898" y="568"/>
                  </a:lnTo>
                  <a:lnTo>
                    <a:pt x="1898" y="568"/>
                  </a:lnTo>
                  <a:lnTo>
                    <a:pt x="1894" y="568"/>
                  </a:lnTo>
                  <a:lnTo>
                    <a:pt x="1888" y="568"/>
                  </a:lnTo>
                  <a:lnTo>
                    <a:pt x="1884" y="568"/>
                  </a:lnTo>
                  <a:lnTo>
                    <a:pt x="1880" y="572"/>
                  </a:lnTo>
                  <a:lnTo>
                    <a:pt x="1880" y="572"/>
                  </a:lnTo>
                  <a:lnTo>
                    <a:pt x="1872" y="584"/>
                  </a:lnTo>
                  <a:lnTo>
                    <a:pt x="1872" y="584"/>
                  </a:lnTo>
                  <a:lnTo>
                    <a:pt x="1872" y="592"/>
                  </a:lnTo>
                  <a:lnTo>
                    <a:pt x="1872" y="598"/>
                  </a:lnTo>
                  <a:lnTo>
                    <a:pt x="1872" y="600"/>
                  </a:lnTo>
                  <a:lnTo>
                    <a:pt x="1872" y="600"/>
                  </a:lnTo>
                  <a:lnTo>
                    <a:pt x="1868" y="600"/>
                  </a:lnTo>
                  <a:lnTo>
                    <a:pt x="1864" y="600"/>
                  </a:lnTo>
                  <a:lnTo>
                    <a:pt x="1864" y="600"/>
                  </a:lnTo>
                  <a:lnTo>
                    <a:pt x="1862" y="602"/>
                  </a:lnTo>
                  <a:lnTo>
                    <a:pt x="1860" y="604"/>
                  </a:lnTo>
                  <a:lnTo>
                    <a:pt x="1860" y="604"/>
                  </a:lnTo>
                  <a:lnTo>
                    <a:pt x="1856" y="604"/>
                  </a:lnTo>
                  <a:lnTo>
                    <a:pt x="1856" y="604"/>
                  </a:lnTo>
                  <a:lnTo>
                    <a:pt x="1856" y="608"/>
                  </a:lnTo>
                  <a:lnTo>
                    <a:pt x="1856" y="612"/>
                  </a:lnTo>
                  <a:lnTo>
                    <a:pt x="1856" y="618"/>
                  </a:lnTo>
                  <a:lnTo>
                    <a:pt x="1856" y="622"/>
                  </a:lnTo>
                  <a:lnTo>
                    <a:pt x="1856" y="622"/>
                  </a:lnTo>
                  <a:lnTo>
                    <a:pt x="1836" y="638"/>
                  </a:lnTo>
                  <a:lnTo>
                    <a:pt x="1836" y="638"/>
                  </a:lnTo>
                  <a:lnTo>
                    <a:pt x="1834" y="638"/>
                  </a:lnTo>
                  <a:lnTo>
                    <a:pt x="1834" y="638"/>
                  </a:lnTo>
                  <a:lnTo>
                    <a:pt x="1834" y="634"/>
                  </a:lnTo>
                  <a:lnTo>
                    <a:pt x="1834" y="634"/>
                  </a:lnTo>
                  <a:lnTo>
                    <a:pt x="1830" y="630"/>
                  </a:lnTo>
                  <a:lnTo>
                    <a:pt x="1830" y="630"/>
                  </a:lnTo>
                  <a:lnTo>
                    <a:pt x="1830" y="624"/>
                  </a:lnTo>
                  <a:lnTo>
                    <a:pt x="1830" y="616"/>
                  </a:lnTo>
                  <a:lnTo>
                    <a:pt x="1830" y="616"/>
                  </a:lnTo>
                  <a:lnTo>
                    <a:pt x="1826" y="608"/>
                  </a:lnTo>
                  <a:lnTo>
                    <a:pt x="1826" y="608"/>
                  </a:lnTo>
                  <a:lnTo>
                    <a:pt x="1824" y="598"/>
                  </a:lnTo>
                  <a:lnTo>
                    <a:pt x="1824" y="598"/>
                  </a:lnTo>
                  <a:lnTo>
                    <a:pt x="1824" y="584"/>
                  </a:lnTo>
                  <a:lnTo>
                    <a:pt x="1824" y="572"/>
                  </a:lnTo>
                  <a:lnTo>
                    <a:pt x="1824" y="572"/>
                  </a:lnTo>
                  <a:lnTo>
                    <a:pt x="1822" y="566"/>
                  </a:lnTo>
                  <a:lnTo>
                    <a:pt x="1820" y="558"/>
                  </a:lnTo>
                  <a:lnTo>
                    <a:pt x="1820" y="558"/>
                  </a:lnTo>
                  <a:lnTo>
                    <a:pt x="1818" y="548"/>
                  </a:lnTo>
                  <a:lnTo>
                    <a:pt x="1818" y="536"/>
                  </a:lnTo>
                  <a:lnTo>
                    <a:pt x="1818" y="536"/>
                  </a:lnTo>
                  <a:lnTo>
                    <a:pt x="1822" y="528"/>
                  </a:lnTo>
                  <a:lnTo>
                    <a:pt x="1822" y="528"/>
                  </a:lnTo>
                  <a:lnTo>
                    <a:pt x="1822" y="522"/>
                  </a:lnTo>
                  <a:lnTo>
                    <a:pt x="1824" y="518"/>
                  </a:lnTo>
                  <a:lnTo>
                    <a:pt x="1824" y="518"/>
                  </a:lnTo>
                  <a:lnTo>
                    <a:pt x="1826" y="516"/>
                  </a:lnTo>
                  <a:lnTo>
                    <a:pt x="1826" y="516"/>
                  </a:lnTo>
                  <a:lnTo>
                    <a:pt x="1830" y="512"/>
                  </a:lnTo>
                  <a:lnTo>
                    <a:pt x="1836" y="512"/>
                  </a:lnTo>
                  <a:lnTo>
                    <a:pt x="1836" y="512"/>
                  </a:lnTo>
                  <a:lnTo>
                    <a:pt x="1838" y="494"/>
                  </a:lnTo>
                  <a:lnTo>
                    <a:pt x="1838" y="494"/>
                  </a:lnTo>
                  <a:lnTo>
                    <a:pt x="1834" y="492"/>
                  </a:lnTo>
                  <a:lnTo>
                    <a:pt x="1834" y="490"/>
                  </a:lnTo>
                  <a:lnTo>
                    <a:pt x="1834" y="490"/>
                  </a:lnTo>
                  <a:lnTo>
                    <a:pt x="1846" y="490"/>
                  </a:lnTo>
                  <a:lnTo>
                    <a:pt x="1846" y="490"/>
                  </a:lnTo>
                  <a:lnTo>
                    <a:pt x="1848" y="488"/>
                  </a:lnTo>
                  <a:lnTo>
                    <a:pt x="1852" y="484"/>
                  </a:lnTo>
                  <a:lnTo>
                    <a:pt x="1852" y="484"/>
                  </a:lnTo>
                  <a:lnTo>
                    <a:pt x="1854" y="484"/>
                  </a:lnTo>
                  <a:lnTo>
                    <a:pt x="1858" y="486"/>
                  </a:lnTo>
                  <a:lnTo>
                    <a:pt x="1858" y="486"/>
                  </a:lnTo>
                  <a:lnTo>
                    <a:pt x="1860" y="482"/>
                  </a:lnTo>
                  <a:lnTo>
                    <a:pt x="1862" y="480"/>
                  </a:lnTo>
                  <a:lnTo>
                    <a:pt x="1862" y="480"/>
                  </a:lnTo>
                  <a:lnTo>
                    <a:pt x="1868" y="474"/>
                  </a:lnTo>
                  <a:lnTo>
                    <a:pt x="1874" y="468"/>
                  </a:lnTo>
                  <a:lnTo>
                    <a:pt x="1874" y="468"/>
                  </a:lnTo>
                  <a:lnTo>
                    <a:pt x="1874" y="466"/>
                  </a:lnTo>
                  <a:lnTo>
                    <a:pt x="1874" y="466"/>
                  </a:lnTo>
                  <a:lnTo>
                    <a:pt x="1878" y="460"/>
                  </a:lnTo>
                  <a:lnTo>
                    <a:pt x="1878" y="460"/>
                  </a:lnTo>
                  <a:lnTo>
                    <a:pt x="1884" y="458"/>
                  </a:lnTo>
                  <a:lnTo>
                    <a:pt x="1884" y="458"/>
                  </a:lnTo>
                  <a:lnTo>
                    <a:pt x="1886" y="454"/>
                  </a:lnTo>
                  <a:lnTo>
                    <a:pt x="1886" y="452"/>
                  </a:lnTo>
                  <a:lnTo>
                    <a:pt x="1886" y="452"/>
                  </a:lnTo>
                  <a:lnTo>
                    <a:pt x="1892" y="450"/>
                  </a:lnTo>
                  <a:lnTo>
                    <a:pt x="1896" y="442"/>
                  </a:lnTo>
                  <a:lnTo>
                    <a:pt x="1896" y="442"/>
                  </a:lnTo>
                  <a:lnTo>
                    <a:pt x="1896" y="438"/>
                  </a:lnTo>
                  <a:lnTo>
                    <a:pt x="1896" y="438"/>
                  </a:lnTo>
                  <a:lnTo>
                    <a:pt x="1902" y="436"/>
                  </a:lnTo>
                  <a:lnTo>
                    <a:pt x="1902" y="428"/>
                  </a:lnTo>
                  <a:lnTo>
                    <a:pt x="1902" y="428"/>
                  </a:lnTo>
                  <a:lnTo>
                    <a:pt x="1904" y="426"/>
                  </a:lnTo>
                  <a:lnTo>
                    <a:pt x="1904" y="426"/>
                  </a:lnTo>
                  <a:lnTo>
                    <a:pt x="1910" y="426"/>
                  </a:lnTo>
                  <a:lnTo>
                    <a:pt x="1910" y="426"/>
                  </a:lnTo>
                  <a:lnTo>
                    <a:pt x="1914" y="422"/>
                  </a:lnTo>
                  <a:lnTo>
                    <a:pt x="1914" y="422"/>
                  </a:lnTo>
                  <a:lnTo>
                    <a:pt x="1920" y="422"/>
                  </a:lnTo>
                  <a:lnTo>
                    <a:pt x="1928" y="422"/>
                  </a:lnTo>
                  <a:lnTo>
                    <a:pt x="1928" y="422"/>
                  </a:lnTo>
                  <a:lnTo>
                    <a:pt x="1928" y="418"/>
                  </a:lnTo>
                  <a:lnTo>
                    <a:pt x="1932" y="418"/>
                  </a:lnTo>
                  <a:lnTo>
                    <a:pt x="1932" y="418"/>
                  </a:lnTo>
                  <a:lnTo>
                    <a:pt x="1930" y="412"/>
                  </a:lnTo>
                  <a:lnTo>
                    <a:pt x="1932" y="406"/>
                  </a:lnTo>
                  <a:lnTo>
                    <a:pt x="1932" y="406"/>
                  </a:lnTo>
                  <a:lnTo>
                    <a:pt x="1934" y="402"/>
                  </a:lnTo>
                  <a:lnTo>
                    <a:pt x="1934" y="402"/>
                  </a:lnTo>
                  <a:lnTo>
                    <a:pt x="1934" y="398"/>
                  </a:lnTo>
                  <a:lnTo>
                    <a:pt x="1932" y="394"/>
                  </a:lnTo>
                  <a:lnTo>
                    <a:pt x="1932" y="392"/>
                  </a:lnTo>
                  <a:lnTo>
                    <a:pt x="1932" y="392"/>
                  </a:lnTo>
                  <a:lnTo>
                    <a:pt x="1936" y="390"/>
                  </a:lnTo>
                  <a:lnTo>
                    <a:pt x="1936" y="390"/>
                  </a:lnTo>
                  <a:lnTo>
                    <a:pt x="1940" y="386"/>
                  </a:lnTo>
                  <a:lnTo>
                    <a:pt x="1946" y="388"/>
                  </a:lnTo>
                  <a:lnTo>
                    <a:pt x="1946" y="388"/>
                  </a:lnTo>
                  <a:lnTo>
                    <a:pt x="1950" y="386"/>
                  </a:lnTo>
                  <a:lnTo>
                    <a:pt x="1950" y="386"/>
                  </a:lnTo>
                  <a:lnTo>
                    <a:pt x="1944" y="382"/>
                  </a:lnTo>
                  <a:lnTo>
                    <a:pt x="1940" y="380"/>
                  </a:lnTo>
                  <a:lnTo>
                    <a:pt x="1936" y="380"/>
                  </a:lnTo>
                  <a:lnTo>
                    <a:pt x="1936" y="380"/>
                  </a:lnTo>
                  <a:lnTo>
                    <a:pt x="1930" y="382"/>
                  </a:lnTo>
                  <a:lnTo>
                    <a:pt x="1930" y="382"/>
                  </a:lnTo>
                  <a:lnTo>
                    <a:pt x="1926" y="384"/>
                  </a:lnTo>
                  <a:lnTo>
                    <a:pt x="1926" y="384"/>
                  </a:lnTo>
                  <a:lnTo>
                    <a:pt x="1926" y="388"/>
                  </a:lnTo>
                  <a:lnTo>
                    <a:pt x="1926" y="388"/>
                  </a:lnTo>
                  <a:lnTo>
                    <a:pt x="1924" y="390"/>
                  </a:lnTo>
                  <a:lnTo>
                    <a:pt x="1922" y="390"/>
                  </a:lnTo>
                  <a:lnTo>
                    <a:pt x="1922" y="390"/>
                  </a:lnTo>
                  <a:lnTo>
                    <a:pt x="1924" y="400"/>
                  </a:lnTo>
                  <a:lnTo>
                    <a:pt x="1924" y="400"/>
                  </a:lnTo>
                  <a:lnTo>
                    <a:pt x="1924" y="400"/>
                  </a:lnTo>
                  <a:lnTo>
                    <a:pt x="1926" y="400"/>
                  </a:lnTo>
                  <a:lnTo>
                    <a:pt x="1926" y="402"/>
                  </a:lnTo>
                  <a:lnTo>
                    <a:pt x="1926" y="402"/>
                  </a:lnTo>
                  <a:lnTo>
                    <a:pt x="1920" y="404"/>
                  </a:lnTo>
                  <a:lnTo>
                    <a:pt x="1918" y="404"/>
                  </a:lnTo>
                  <a:lnTo>
                    <a:pt x="1918" y="402"/>
                  </a:lnTo>
                  <a:lnTo>
                    <a:pt x="1914" y="400"/>
                  </a:lnTo>
                  <a:lnTo>
                    <a:pt x="1914" y="400"/>
                  </a:lnTo>
                  <a:lnTo>
                    <a:pt x="1910" y="402"/>
                  </a:lnTo>
                  <a:lnTo>
                    <a:pt x="1906" y="404"/>
                  </a:lnTo>
                  <a:lnTo>
                    <a:pt x="1900" y="408"/>
                  </a:lnTo>
                  <a:lnTo>
                    <a:pt x="1900" y="408"/>
                  </a:lnTo>
                  <a:lnTo>
                    <a:pt x="1900" y="412"/>
                  </a:lnTo>
                  <a:lnTo>
                    <a:pt x="1898" y="414"/>
                  </a:lnTo>
                  <a:lnTo>
                    <a:pt x="1898" y="414"/>
                  </a:lnTo>
                  <a:lnTo>
                    <a:pt x="1896" y="414"/>
                  </a:lnTo>
                  <a:lnTo>
                    <a:pt x="1896" y="414"/>
                  </a:lnTo>
                  <a:lnTo>
                    <a:pt x="1896" y="414"/>
                  </a:lnTo>
                  <a:lnTo>
                    <a:pt x="1896" y="418"/>
                  </a:lnTo>
                  <a:lnTo>
                    <a:pt x="1896" y="418"/>
                  </a:lnTo>
                  <a:lnTo>
                    <a:pt x="1890" y="420"/>
                  </a:lnTo>
                  <a:lnTo>
                    <a:pt x="1890" y="420"/>
                  </a:lnTo>
                  <a:lnTo>
                    <a:pt x="1884" y="428"/>
                  </a:lnTo>
                  <a:lnTo>
                    <a:pt x="1882" y="426"/>
                  </a:lnTo>
                  <a:lnTo>
                    <a:pt x="1882" y="426"/>
                  </a:lnTo>
                  <a:lnTo>
                    <a:pt x="1882" y="422"/>
                  </a:lnTo>
                  <a:lnTo>
                    <a:pt x="1882" y="422"/>
                  </a:lnTo>
                  <a:lnTo>
                    <a:pt x="1882" y="422"/>
                  </a:lnTo>
                  <a:lnTo>
                    <a:pt x="1884" y="422"/>
                  </a:lnTo>
                  <a:lnTo>
                    <a:pt x="1884" y="422"/>
                  </a:lnTo>
                  <a:lnTo>
                    <a:pt x="1884" y="418"/>
                  </a:lnTo>
                  <a:lnTo>
                    <a:pt x="1886" y="418"/>
                  </a:lnTo>
                  <a:lnTo>
                    <a:pt x="1886" y="418"/>
                  </a:lnTo>
                  <a:lnTo>
                    <a:pt x="1886" y="416"/>
                  </a:lnTo>
                  <a:lnTo>
                    <a:pt x="1884" y="416"/>
                  </a:lnTo>
                  <a:lnTo>
                    <a:pt x="1882" y="420"/>
                  </a:lnTo>
                  <a:lnTo>
                    <a:pt x="1882" y="420"/>
                  </a:lnTo>
                  <a:lnTo>
                    <a:pt x="1876" y="420"/>
                  </a:lnTo>
                  <a:lnTo>
                    <a:pt x="1876" y="420"/>
                  </a:lnTo>
                  <a:lnTo>
                    <a:pt x="1878" y="414"/>
                  </a:lnTo>
                  <a:lnTo>
                    <a:pt x="1880" y="408"/>
                  </a:lnTo>
                  <a:lnTo>
                    <a:pt x="1880" y="408"/>
                  </a:lnTo>
                  <a:lnTo>
                    <a:pt x="1882" y="408"/>
                  </a:lnTo>
                  <a:lnTo>
                    <a:pt x="1884" y="408"/>
                  </a:lnTo>
                  <a:lnTo>
                    <a:pt x="1884" y="408"/>
                  </a:lnTo>
                  <a:lnTo>
                    <a:pt x="1884" y="398"/>
                  </a:lnTo>
                  <a:lnTo>
                    <a:pt x="1884" y="398"/>
                  </a:lnTo>
                  <a:lnTo>
                    <a:pt x="1876" y="404"/>
                  </a:lnTo>
                  <a:lnTo>
                    <a:pt x="1876" y="404"/>
                  </a:lnTo>
                  <a:lnTo>
                    <a:pt x="1876" y="404"/>
                  </a:lnTo>
                  <a:lnTo>
                    <a:pt x="1872" y="404"/>
                  </a:lnTo>
                  <a:lnTo>
                    <a:pt x="1872" y="404"/>
                  </a:lnTo>
                  <a:lnTo>
                    <a:pt x="1870" y="402"/>
                  </a:lnTo>
                  <a:lnTo>
                    <a:pt x="1866" y="398"/>
                  </a:lnTo>
                  <a:lnTo>
                    <a:pt x="1866" y="398"/>
                  </a:lnTo>
                  <a:lnTo>
                    <a:pt x="1860" y="398"/>
                  </a:lnTo>
                  <a:lnTo>
                    <a:pt x="1856" y="400"/>
                  </a:lnTo>
                  <a:lnTo>
                    <a:pt x="1856" y="400"/>
                  </a:lnTo>
                  <a:lnTo>
                    <a:pt x="1848" y="400"/>
                  </a:lnTo>
                  <a:lnTo>
                    <a:pt x="1842" y="402"/>
                  </a:lnTo>
                  <a:lnTo>
                    <a:pt x="1842" y="402"/>
                  </a:lnTo>
                  <a:lnTo>
                    <a:pt x="1840" y="404"/>
                  </a:lnTo>
                  <a:lnTo>
                    <a:pt x="1838" y="406"/>
                  </a:lnTo>
                  <a:lnTo>
                    <a:pt x="1838" y="406"/>
                  </a:lnTo>
                  <a:lnTo>
                    <a:pt x="1836" y="404"/>
                  </a:lnTo>
                  <a:lnTo>
                    <a:pt x="1834" y="404"/>
                  </a:lnTo>
                  <a:lnTo>
                    <a:pt x="1834" y="404"/>
                  </a:lnTo>
                  <a:lnTo>
                    <a:pt x="1834" y="408"/>
                  </a:lnTo>
                  <a:lnTo>
                    <a:pt x="1832" y="412"/>
                  </a:lnTo>
                  <a:lnTo>
                    <a:pt x="1828" y="414"/>
                  </a:lnTo>
                  <a:lnTo>
                    <a:pt x="1826" y="414"/>
                  </a:lnTo>
                  <a:lnTo>
                    <a:pt x="1826" y="414"/>
                  </a:lnTo>
                  <a:lnTo>
                    <a:pt x="1826" y="414"/>
                  </a:lnTo>
                  <a:lnTo>
                    <a:pt x="1826" y="416"/>
                  </a:lnTo>
                  <a:lnTo>
                    <a:pt x="1828" y="420"/>
                  </a:lnTo>
                  <a:lnTo>
                    <a:pt x="1824" y="420"/>
                  </a:lnTo>
                  <a:lnTo>
                    <a:pt x="1824" y="420"/>
                  </a:lnTo>
                  <a:lnTo>
                    <a:pt x="1824" y="424"/>
                  </a:lnTo>
                  <a:lnTo>
                    <a:pt x="1824" y="424"/>
                  </a:lnTo>
                  <a:lnTo>
                    <a:pt x="1820" y="424"/>
                  </a:lnTo>
                  <a:lnTo>
                    <a:pt x="1818" y="424"/>
                  </a:lnTo>
                  <a:lnTo>
                    <a:pt x="1818" y="424"/>
                  </a:lnTo>
                  <a:lnTo>
                    <a:pt x="1814" y="428"/>
                  </a:lnTo>
                  <a:lnTo>
                    <a:pt x="1814" y="428"/>
                  </a:lnTo>
                  <a:lnTo>
                    <a:pt x="1808" y="430"/>
                  </a:lnTo>
                  <a:lnTo>
                    <a:pt x="1808" y="430"/>
                  </a:lnTo>
                  <a:lnTo>
                    <a:pt x="1806" y="432"/>
                  </a:lnTo>
                  <a:lnTo>
                    <a:pt x="1806" y="434"/>
                  </a:lnTo>
                  <a:lnTo>
                    <a:pt x="1804" y="440"/>
                  </a:lnTo>
                  <a:lnTo>
                    <a:pt x="1804" y="440"/>
                  </a:lnTo>
                  <a:lnTo>
                    <a:pt x="1800" y="440"/>
                  </a:lnTo>
                  <a:lnTo>
                    <a:pt x="1800" y="440"/>
                  </a:lnTo>
                  <a:lnTo>
                    <a:pt x="1800" y="442"/>
                  </a:lnTo>
                  <a:lnTo>
                    <a:pt x="1800" y="446"/>
                  </a:lnTo>
                  <a:lnTo>
                    <a:pt x="1798" y="452"/>
                  </a:lnTo>
                  <a:lnTo>
                    <a:pt x="1798" y="452"/>
                  </a:lnTo>
                  <a:lnTo>
                    <a:pt x="1800" y="452"/>
                  </a:lnTo>
                  <a:lnTo>
                    <a:pt x="1802" y="454"/>
                  </a:lnTo>
                  <a:lnTo>
                    <a:pt x="1802" y="454"/>
                  </a:lnTo>
                  <a:lnTo>
                    <a:pt x="1806" y="450"/>
                  </a:lnTo>
                  <a:lnTo>
                    <a:pt x="1806" y="450"/>
                  </a:lnTo>
                  <a:lnTo>
                    <a:pt x="1812" y="452"/>
                  </a:lnTo>
                  <a:lnTo>
                    <a:pt x="1814" y="452"/>
                  </a:lnTo>
                  <a:lnTo>
                    <a:pt x="1814" y="452"/>
                  </a:lnTo>
                  <a:lnTo>
                    <a:pt x="1814" y="458"/>
                  </a:lnTo>
                  <a:lnTo>
                    <a:pt x="1814" y="458"/>
                  </a:lnTo>
                  <a:lnTo>
                    <a:pt x="1806" y="460"/>
                  </a:lnTo>
                  <a:lnTo>
                    <a:pt x="1800" y="462"/>
                  </a:lnTo>
                  <a:lnTo>
                    <a:pt x="1800" y="462"/>
                  </a:lnTo>
                  <a:lnTo>
                    <a:pt x="1800" y="460"/>
                  </a:lnTo>
                  <a:lnTo>
                    <a:pt x="1798" y="458"/>
                  </a:lnTo>
                  <a:lnTo>
                    <a:pt x="1798" y="458"/>
                  </a:lnTo>
                  <a:lnTo>
                    <a:pt x="1796" y="458"/>
                  </a:lnTo>
                  <a:lnTo>
                    <a:pt x="1796" y="458"/>
                  </a:lnTo>
                  <a:lnTo>
                    <a:pt x="1794" y="460"/>
                  </a:lnTo>
                  <a:lnTo>
                    <a:pt x="1794" y="460"/>
                  </a:lnTo>
                  <a:lnTo>
                    <a:pt x="1790" y="462"/>
                  </a:lnTo>
                  <a:lnTo>
                    <a:pt x="1790" y="462"/>
                  </a:lnTo>
                  <a:lnTo>
                    <a:pt x="1788" y="466"/>
                  </a:lnTo>
                  <a:lnTo>
                    <a:pt x="1788" y="466"/>
                  </a:lnTo>
                  <a:lnTo>
                    <a:pt x="1780" y="462"/>
                  </a:lnTo>
                  <a:lnTo>
                    <a:pt x="1778" y="468"/>
                  </a:lnTo>
                  <a:lnTo>
                    <a:pt x="1778" y="468"/>
                  </a:lnTo>
                  <a:lnTo>
                    <a:pt x="1770" y="468"/>
                  </a:lnTo>
                  <a:lnTo>
                    <a:pt x="1766" y="468"/>
                  </a:lnTo>
                  <a:lnTo>
                    <a:pt x="1764" y="464"/>
                  </a:lnTo>
                  <a:lnTo>
                    <a:pt x="1762" y="458"/>
                  </a:lnTo>
                  <a:lnTo>
                    <a:pt x="1762" y="458"/>
                  </a:lnTo>
                  <a:lnTo>
                    <a:pt x="1770" y="458"/>
                  </a:lnTo>
                  <a:lnTo>
                    <a:pt x="1776" y="458"/>
                  </a:lnTo>
                  <a:lnTo>
                    <a:pt x="1778" y="454"/>
                  </a:lnTo>
                  <a:lnTo>
                    <a:pt x="1778" y="454"/>
                  </a:lnTo>
                  <a:lnTo>
                    <a:pt x="1774" y="452"/>
                  </a:lnTo>
                  <a:lnTo>
                    <a:pt x="1770" y="448"/>
                  </a:lnTo>
                  <a:lnTo>
                    <a:pt x="1770" y="448"/>
                  </a:lnTo>
                  <a:lnTo>
                    <a:pt x="1768" y="444"/>
                  </a:lnTo>
                  <a:lnTo>
                    <a:pt x="1768" y="444"/>
                  </a:lnTo>
                  <a:lnTo>
                    <a:pt x="1762" y="446"/>
                  </a:lnTo>
                  <a:lnTo>
                    <a:pt x="1762" y="446"/>
                  </a:lnTo>
                  <a:lnTo>
                    <a:pt x="1762" y="448"/>
                  </a:lnTo>
                  <a:lnTo>
                    <a:pt x="1760" y="450"/>
                  </a:lnTo>
                  <a:lnTo>
                    <a:pt x="1760" y="450"/>
                  </a:lnTo>
                  <a:lnTo>
                    <a:pt x="1758" y="448"/>
                  </a:lnTo>
                  <a:lnTo>
                    <a:pt x="1758" y="448"/>
                  </a:lnTo>
                  <a:lnTo>
                    <a:pt x="1758" y="448"/>
                  </a:lnTo>
                  <a:lnTo>
                    <a:pt x="1758" y="448"/>
                  </a:lnTo>
                  <a:lnTo>
                    <a:pt x="1756" y="448"/>
                  </a:lnTo>
                  <a:lnTo>
                    <a:pt x="1756" y="446"/>
                  </a:lnTo>
                  <a:lnTo>
                    <a:pt x="1756" y="446"/>
                  </a:lnTo>
                  <a:lnTo>
                    <a:pt x="1752" y="446"/>
                  </a:lnTo>
                  <a:lnTo>
                    <a:pt x="1746" y="448"/>
                  </a:lnTo>
                  <a:lnTo>
                    <a:pt x="1746" y="448"/>
                  </a:lnTo>
                  <a:lnTo>
                    <a:pt x="1740" y="444"/>
                  </a:lnTo>
                  <a:lnTo>
                    <a:pt x="1736" y="444"/>
                  </a:lnTo>
                  <a:lnTo>
                    <a:pt x="1732" y="446"/>
                  </a:lnTo>
                  <a:lnTo>
                    <a:pt x="1732" y="446"/>
                  </a:lnTo>
                  <a:lnTo>
                    <a:pt x="1732" y="448"/>
                  </a:lnTo>
                  <a:lnTo>
                    <a:pt x="1734" y="452"/>
                  </a:lnTo>
                  <a:lnTo>
                    <a:pt x="1734" y="452"/>
                  </a:lnTo>
                  <a:lnTo>
                    <a:pt x="1732" y="452"/>
                  </a:lnTo>
                  <a:lnTo>
                    <a:pt x="1732" y="454"/>
                  </a:lnTo>
                  <a:lnTo>
                    <a:pt x="1732" y="454"/>
                  </a:lnTo>
                  <a:lnTo>
                    <a:pt x="1734" y="454"/>
                  </a:lnTo>
                  <a:lnTo>
                    <a:pt x="1734" y="456"/>
                  </a:lnTo>
                  <a:lnTo>
                    <a:pt x="1732" y="458"/>
                  </a:lnTo>
                  <a:lnTo>
                    <a:pt x="1730" y="458"/>
                  </a:lnTo>
                  <a:lnTo>
                    <a:pt x="1730" y="458"/>
                  </a:lnTo>
                  <a:lnTo>
                    <a:pt x="1728" y="458"/>
                  </a:lnTo>
                  <a:lnTo>
                    <a:pt x="1728" y="456"/>
                  </a:lnTo>
                  <a:lnTo>
                    <a:pt x="1726" y="454"/>
                  </a:lnTo>
                  <a:lnTo>
                    <a:pt x="1726" y="454"/>
                  </a:lnTo>
                  <a:lnTo>
                    <a:pt x="1724" y="454"/>
                  </a:lnTo>
                  <a:lnTo>
                    <a:pt x="1722" y="454"/>
                  </a:lnTo>
                  <a:lnTo>
                    <a:pt x="1718" y="456"/>
                  </a:lnTo>
                  <a:lnTo>
                    <a:pt x="1718" y="456"/>
                  </a:lnTo>
                  <a:lnTo>
                    <a:pt x="1710" y="456"/>
                  </a:lnTo>
                  <a:lnTo>
                    <a:pt x="1704" y="452"/>
                  </a:lnTo>
                  <a:lnTo>
                    <a:pt x="1704" y="450"/>
                  </a:lnTo>
                  <a:lnTo>
                    <a:pt x="1704" y="450"/>
                  </a:lnTo>
                  <a:lnTo>
                    <a:pt x="1700" y="450"/>
                  </a:lnTo>
                  <a:lnTo>
                    <a:pt x="1698" y="456"/>
                  </a:lnTo>
                  <a:lnTo>
                    <a:pt x="1698" y="456"/>
                  </a:lnTo>
                  <a:lnTo>
                    <a:pt x="1696" y="458"/>
                  </a:lnTo>
                  <a:lnTo>
                    <a:pt x="1692" y="458"/>
                  </a:lnTo>
                  <a:lnTo>
                    <a:pt x="1692" y="456"/>
                  </a:lnTo>
                  <a:lnTo>
                    <a:pt x="1692" y="456"/>
                  </a:lnTo>
                  <a:lnTo>
                    <a:pt x="1692" y="450"/>
                  </a:lnTo>
                  <a:lnTo>
                    <a:pt x="1692" y="450"/>
                  </a:lnTo>
                  <a:lnTo>
                    <a:pt x="1684" y="448"/>
                  </a:lnTo>
                  <a:lnTo>
                    <a:pt x="1676" y="446"/>
                  </a:lnTo>
                  <a:lnTo>
                    <a:pt x="1656" y="450"/>
                  </a:lnTo>
                  <a:lnTo>
                    <a:pt x="1656" y="450"/>
                  </a:lnTo>
                  <a:lnTo>
                    <a:pt x="1658" y="446"/>
                  </a:lnTo>
                  <a:lnTo>
                    <a:pt x="1658" y="446"/>
                  </a:lnTo>
                  <a:lnTo>
                    <a:pt x="1656" y="444"/>
                  </a:lnTo>
                  <a:lnTo>
                    <a:pt x="1656" y="446"/>
                  </a:lnTo>
                  <a:lnTo>
                    <a:pt x="1656" y="446"/>
                  </a:lnTo>
                  <a:lnTo>
                    <a:pt x="1652" y="444"/>
                  </a:lnTo>
                  <a:lnTo>
                    <a:pt x="1650" y="444"/>
                  </a:lnTo>
                  <a:lnTo>
                    <a:pt x="1650" y="444"/>
                  </a:lnTo>
                  <a:lnTo>
                    <a:pt x="1650" y="450"/>
                  </a:lnTo>
                  <a:lnTo>
                    <a:pt x="1650" y="450"/>
                  </a:lnTo>
                  <a:lnTo>
                    <a:pt x="1646" y="450"/>
                  </a:lnTo>
                  <a:lnTo>
                    <a:pt x="1642" y="452"/>
                  </a:lnTo>
                  <a:lnTo>
                    <a:pt x="1642" y="452"/>
                  </a:lnTo>
                  <a:lnTo>
                    <a:pt x="1640" y="454"/>
                  </a:lnTo>
                  <a:lnTo>
                    <a:pt x="1636" y="458"/>
                  </a:lnTo>
                  <a:lnTo>
                    <a:pt x="1636" y="458"/>
                  </a:lnTo>
                  <a:lnTo>
                    <a:pt x="1634" y="456"/>
                  </a:lnTo>
                  <a:lnTo>
                    <a:pt x="1632" y="456"/>
                  </a:lnTo>
                  <a:lnTo>
                    <a:pt x="1632" y="456"/>
                  </a:lnTo>
                  <a:lnTo>
                    <a:pt x="1632" y="458"/>
                  </a:lnTo>
                  <a:lnTo>
                    <a:pt x="1632" y="462"/>
                  </a:lnTo>
                  <a:lnTo>
                    <a:pt x="1632" y="462"/>
                  </a:lnTo>
                  <a:lnTo>
                    <a:pt x="1630" y="464"/>
                  </a:lnTo>
                  <a:lnTo>
                    <a:pt x="1626" y="466"/>
                  </a:lnTo>
                  <a:lnTo>
                    <a:pt x="1626" y="466"/>
                  </a:lnTo>
                  <a:lnTo>
                    <a:pt x="1622" y="476"/>
                  </a:lnTo>
                  <a:lnTo>
                    <a:pt x="1618" y="488"/>
                  </a:lnTo>
                  <a:lnTo>
                    <a:pt x="1618" y="488"/>
                  </a:lnTo>
                  <a:lnTo>
                    <a:pt x="1610" y="490"/>
                  </a:lnTo>
                  <a:lnTo>
                    <a:pt x="1610" y="490"/>
                  </a:lnTo>
                  <a:lnTo>
                    <a:pt x="1608" y="494"/>
                  </a:lnTo>
                  <a:lnTo>
                    <a:pt x="1608" y="496"/>
                  </a:lnTo>
                  <a:lnTo>
                    <a:pt x="1608" y="496"/>
                  </a:lnTo>
                  <a:lnTo>
                    <a:pt x="1606" y="496"/>
                  </a:lnTo>
                  <a:lnTo>
                    <a:pt x="1606" y="496"/>
                  </a:lnTo>
                  <a:lnTo>
                    <a:pt x="1602" y="500"/>
                  </a:lnTo>
                  <a:lnTo>
                    <a:pt x="1602" y="500"/>
                  </a:lnTo>
                  <a:lnTo>
                    <a:pt x="1596" y="502"/>
                  </a:lnTo>
                  <a:lnTo>
                    <a:pt x="1596" y="502"/>
                  </a:lnTo>
                  <a:lnTo>
                    <a:pt x="1596" y="504"/>
                  </a:lnTo>
                  <a:lnTo>
                    <a:pt x="1594" y="504"/>
                  </a:lnTo>
                  <a:lnTo>
                    <a:pt x="1594" y="504"/>
                  </a:lnTo>
                  <a:lnTo>
                    <a:pt x="1592" y="508"/>
                  </a:lnTo>
                  <a:lnTo>
                    <a:pt x="1590" y="510"/>
                  </a:lnTo>
                  <a:lnTo>
                    <a:pt x="1590" y="510"/>
                  </a:lnTo>
                  <a:lnTo>
                    <a:pt x="1588" y="510"/>
                  </a:lnTo>
                  <a:lnTo>
                    <a:pt x="1588" y="508"/>
                  </a:lnTo>
                  <a:lnTo>
                    <a:pt x="1588" y="508"/>
                  </a:lnTo>
                  <a:lnTo>
                    <a:pt x="1586" y="510"/>
                  </a:lnTo>
                  <a:lnTo>
                    <a:pt x="1586" y="510"/>
                  </a:lnTo>
                  <a:lnTo>
                    <a:pt x="1586" y="512"/>
                  </a:lnTo>
                  <a:lnTo>
                    <a:pt x="1586" y="514"/>
                  </a:lnTo>
                  <a:lnTo>
                    <a:pt x="1586" y="514"/>
                  </a:lnTo>
                  <a:lnTo>
                    <a:pt x="1584" y="518"/>
                  </a:lnTo>
                  <a:lnTo>
                    <a:pt x="1584" y="518"/>
                  </a:lnTo>
                  <a:lnTo>
                    <a:pt x="1584" y="524"/>
                  </a:lnTo>
                  <a:lnTo>
                    <a:pt x="1584" y="524"/>
                  </a:lnTo>
                  <a:lnTo>
                    <a:pt x="1580" y="526"/>
                  </a:lnTo>
                  <a:lnTo>
                    <a:pt x="1576" y="528"/>
                  </a:lnTo>
                  <a:lnTo>
                    <a:pt x="1576" y="528"/>
                  </a:lnTo>
                  <a:lnTo>
                    <a:pt x="1576" y="530"/>
                  </a:lnTo>
                  <a:lnTo>
                    <a:pt x="1576" y="532"/>
                  </a:lnTo>
                  <a:lnTo>
                    <a:pt x="1576" y="532"/>
                  </a:lnTo>
                  <a:lnTo>
                    <a:pt x="1572" y="534"/>
                  </a:lnTo>
                  <a:lnTo>
                    <a:pt x="1572" y="534"/>
                  </a:lnTo>
                  <a:lnTo>
                    <a:pt x="1568" y="538"/>
                  </a:lnTo>
                  <a:lnTo>
                    <a:pt x="1564" y="542"/>
                  </a:lnTo>
                  <a:lnTo>
                    <a:pt x="1564" y="542"/>
                  </a:lnTo>
                  <a:lnTo>
                    <a:pt x="1560" y="544"/>
                  </a:lnTo>
                  <a:lnTo>
                    <a:pt x="1560" y="544"/>
                  </a:lnTo>
                  <a:lnTo>
                    <a:pt x="1556" y="548"/>
                  </a:lnTo>
                  <a:lnTo>
                    <a:pt x="1554" y="552"/>
                  </a:lnTo>
                  <a:lnTo>
                    <a:pt x="1554" y="552"/>
                  </a:lnTo>
                  <a:lnTo>
                    <a:pt x="1550" y="554"/>
                  </a:lnTo>
                  <a:lnTo>
                    <a:pt x="1550" y="554"/>
                  </a:lnTo>
                  <a:lnTo>
                    <a:pt x="1546" y="558"/>
                  </a:lnTo>
                  <a:lnTo>
                    <a:pt x="1544" y="566"/>
                  </a:lnTo>
                  <a:lnTo>
                    <a:pt x="1544" y="566"/>
                  </a:lnTo>
                  <a:lnTo>
                    <a:pt x="1554" y="566"/>
                  </a:lnTo>
                  <a:lnTo>
                    <a:pt x="1564" y="566"/>
                  </a:lnTo>
                  <a:lnTo>
                    <a:pt x="1564" y="566"/>
                  </a:lnTo>
                  <a:lnTo>
                    <a:pt x="1564" y="586"/>
                  </a:lnTo>
                  <a:lnTo>
                    <a:pt x="1564" y="586"/>
                  </a:lnTo>
                  <a:lnTo>
                    <a:pt x="1568" y="586"/>
                  </a:lnTo>
                  <a:lnTo>
                    <a:pt x="1568" y="586"/>
                  </a:lnTo>
                  <a:lnTo>
                    <a:pt x="1570" y="578"/>
                  </a:lnTo>
                  <a:lnTo>
                    <a:pt x="1570" y="578"/>
                  </a:lnTo>
                  <a:lnTo>
                    <a:pt x="1574" y="582"/>
                  </a:lnTo>
                  <a:lnTo>
                    <a:pt x="1576" y="584"/>
                  </a:lnTo>
                  <a:lnTo>
                    <a:pt x="1572" y="592"/>
                  </a:lnTo>
                  <a:lnTo>
                    <a:pt x="1572" y="592"/>
                  </a:lnTo>
                  <a:lnTo>
                    <a:pt x="1576" y="592"/>
                  </a:lnTo>
                  <a:lnTo>
                    <a:pt x="1576" y="592"/>
                  </a:lnTo>
                  <a:lnTo>
                    <a:pt x="1580" y="588"/>
                  </a:lnTo>
                  <a:lnTo>
                    <a:pt x="1582" y="584"/>
                  </a:lnTo>
                  <a:lnTo>
                    <a:pt x="1582" y="584"/>
                  </a:lnTo>
                  <a:lnTo>
                    <a:pt x="1588" y="586"/>
                  </a:lnTo>
                  <a:lnTo>
                    <a:pt x="1588" y="586"/>
                  </a:lnTo>
                  <a:lnTo>
                    <a:pt x="1588" y="576"/>
                  </a:lnTo>
                  <a:lnTo>
                    <a:pt x="1588" y="576"/>
                  </a:lnTo>
                  <a:lnTo>
                    <a:pt x="1594" y="578"/>
                  </a:lnTo>
                  <a:lnTo>
                    <a:pt x="1600" y="578"/>
                  </a:lnTo>
                  <a:lnTo>
                    <a:pt x="1600" y="578"/>
                  </a:lnTo>
                  <a:lnTo>
                    <a:pt x="1602" y="582"/>
                  </a:lnTo>
                  <a:lnTo>
                    <a:pt x="1602" y="582"/>
                  </a:lnTo>
                  <a:lnTo>
                    <a:pt x="1610" y="584"/>
                  </a:lnTo>
                  <a:lnTo>
                    <a:pt x="1610" y="584"/>
                  </a:lnTo>
                  <a:lnTo>
                    <a:pt x="1610" y="586"/>
                  </a:lnTo>
                  <a:lnTo>
                    <a:pt x="1610" y="590"/>
                  </a:lnTo>
                  <a:lnTo>
                    <a:pt x="1618" y="596"/>
                  </a:lnTo>
                  <a:lnTo>
                    <a:pt x="1618" y="596"/>
                  </a:lnTo>
                  <a:lnTo>
                    <a:pt x="1620" y="594"/>
                  </a:lnTo>
                  <a:lnTo>
                    <a:pt x="1620" y="594"/>
                  </a:lnTo>
                  <a:lnTo>
                    <a:pt x="1620" y="598"/>
                  </a:lnTo>
                  <a:lnTo>
                    <a:pt x="1620" y="598"/>
                  </a:lnTo>
                  <a:lnTo>
                    <a:pt x="1628" y="600"/>
                  </a:lnTo>
                  <a:lnTo>
                    <a:pt x="1628" y="600"/>
                  </a:lnTo>
                  <a:lnTo>
                    <a:pt x="1630" y="598"/>
                  </a:lnTo>
                  <a:lnTo>
                    <a:pt x="1630" y="604"/>
                  </a:lnTo>
                  <a:lnTo>
                    <a:pt x="1630" y="604"/>
                  </a:lnTo>
                  <a:lnTo>
                    <a:pt x="1624" y="602"/>
                  </a:lnTo>
                  <a:lnTo>
                    <a:pt x="1622" y="602"/>
                  </a:lnTo>
                  <a:lnTo>
                    <a:pt x="1620" y="602"/>
                  </a:lnTo>
                  <a:lnTo>
                    <a:pt x="1620" y="602"/>
                  </a:lnTo>
                  <a:lnTo>
                    <a:pt x="1618" y="610"/>
                  </a:lnTo>
                  <a:lnTo>
                    <a:pt x="1618" y="610"/>
                  </a:lnTo>
                  <a:lnTo>
                    <a:pt x="1620" y="612"/>
                  </a:lnTo>
                  <a:lnTo>
                    <a:pt x="1620" y="612"/>
                  </a:lnTo>
                  <a:lnTo>
                    <a:pt x="1620" y="616"/>
                  </a:lnTo>
                  <a:lnTo>
                    <a:pt x="1620" y="616"/>
                  </a:lnTo>
                  <a:lnTo>
                    <a:pt x="1620" y="614"/>
                  </a:lnTo>
                  <a:lnTo>
                    <a:pt x="1620" y="616"/>
                  </a:lnTo>
                  <a:lnTo>
                    <a:pt x="1620" y="618"/>
                  </a:lnTo>
                  <a:lnTo>
                    <a:pt x="1620" y="618"/>
                  </a:lnTo>
                  <a:lnTo>
                    <a:pt x="1622" y="618"/>
                  </a:lnTo>
                  <a:lnTo>
                    <a:pt x="1622" y="620"/>
                  </a:lnTo>
                  <a:lnTo>
                    <a:pt x="1622" y="620"/>
                  </a:lnTo>
                  <a:lnTo>
                    <a:pt x="1620" y="622"/>
                  </a:lnTo>
                  <a:lnTo>
                    <a:pt x="1620" y="622"/>
                  </a:lnTo>
                  <a:lnTo>
                    <a:pt x="1620" y="626"/>
                  </a:lnTo>
                  <a:lnTo>
                    <a:pt x="1620" y="626"/>
                  </a:lnTo>
                  <a:lnTo>
                    <a:pt x="1616" y="630"/>
                  </a:lnTo>
                  <a:lnTo>
                    <a:pt x="1612" y="634"/>
                  </a:lnTo>
                  <a:lnTo>
                    <a:pt x="1612" y="634"/>
                  </a:lnTo>
                  <a:lnTo>
                    <a:pt x="1614" y="640"/>
                  </a:lnTo>
                  <a:lnTo>
                    <a:pt x="1612" y="644"/>
                  </a:lnTo>
                  <a:lnTo>
                    <a:pt x="1612" y="644"/>
                  </a:lnTo>
                  <a:lnTo>
                    <a:pt x="1612" y="648"/>
                  </a:lnTo>
                  <a:lnTo>
                    <a:pt x="1614" y="648"/>
                  </a:lnTo>
                  <a:lnTo>
                    <a:pt x="1614" y="648"/>
                  </a:lnTo>
                  <a:lnTo>
                    <a:pt x="1612" y="656"/>
                  </a:lnTo>
                  <a:lnTo>
                    <a:pt x="1612" y="656"/>
                  </a:lnTo>
                  <a:lnTo>
                    <a:pt x="1614" y="658"/>
                  </a:lnTo>
                  <a:lnTo>
                    <a:pt x="1614" y="664"/>
                  </a:lnTo>
                  <a:lnTo>
                    <a:pt x="1614" y="664"/>
                  </a:lnTo>
                  <a:lnTo>
                    <a:pt x="1612" y="668"/>
                  </a:lnTo>
                  <a:lnTo>
                    <a:pt x="1610" y="672"/>
                  </a:lnTo>
                  <a:lnTo>
                    <a:pt x="1610" y="672"/>
                  </a:lnTo>
                  <a:lnTo>
                    <a:pt x="1610" y="674"/>
                  </a:lnTo>
                  <a:lnTo>
                    <a:pt x="1612" y="676"/>
                  </a:lnTo>
                  <a:lnTo>
                    <a:pt x="1612" y="676"/>
                  </a:lnTo>
                  <a:lnTo>
                    <a:pt x="1610" y="678"/>
                  </a:lnTo>
                  <a:lnTo>
                    <a:pt x="1610" y="678"/>
                  </a:lnTo>
                  <a:lnTo>
                    <a:pt x="1608" y="682"/>
                  </a:lnTo>
                  <a:lnTo>
                    <a:pt x="1608" y="686"/>
                  </a:lnTo>
                  <a:lnTo>
                    <a:pt x="1608" y="686"/>
                  </a:lnTo>
                  <a:lnTo>
                    <a:pt x="1606" y="688"/>
                  </a:lnTo>
                  <a:lnTo>
                    <a:pt x="1602" y="692"/>
                  </a:lnTo>
                  <a:lnTo>
                    <a:pt x="1596" y="696"/>
                  </a:lnTo>
                  <a:lnTo>
                    <a:pt x="1596" y="696"/>
                  </a:lnTo>
                  <a:lnTo>
                    <a:pt x="1596" y="700"/>
                  </a:lnTo>
                  <a:lnTo>
                    <a:pt x="1594" y="704"/>
                  </a:lnTo>
                  <a:lnTo>
                    <a:pt x="1594" y="704"/>
                  </a:lnTo>
                  <a:lnTo>
                    <a:pt x="1594" y="706"/>
                  </a:lnTo>
                  <a:lnTo>
                    <a:pt x="1592" y="706"/>
                  </a:lnTo>
                  <a:lnTo>
                    <a:pt x="1592" y="706"/>
                  </a:lnTo>
                  <a:lnTo>
                    <a:pt x="1588" y="712"/>
                  </a:lnTo>
                  <a:lnTo>
                    <a:pt x="1584" y="718"/>
                  </a:lnTo>
                  <a:lnTo>
                    <a:pt x="1584" y="718"/>
                  </a:lnTo>
                  <a:lnTo>
                    <a:pt x="1584" y="720"/>
                  </a:lnTo>
                  <a:lnTo>
                    <a:pt x="1586" y="722"/>
                  </a:lnTo>
                  <a:lnTo>
                    <a:pt x="1580" y="734"/>
                  </a:lnTo>
                  <a:lnTo>
                    <a:pt x="1580" y="734"/>
                  </a:lnTo>
                  <a:lnTo>
                    <a:pt x="1574" y="738"/>
                  </a:lnTo>
                  <a:lnTo>
                    <a:pt x="1574" y="738"/>
                  </a:lnTo>
                  <a:lnTo>
                    <a:pt x="1572" y="744"/>
                  </a:lnTo>
                  <a:lnTo>
                    <a:pt x="1572" y="744"/>
                  </a:lnTo>
                  <a:lnTo>
                    <a:pt x="1566" y="744"/>
                  </a:lnTo>
                  <a:lnTo>
                    <a:pt x="1558" y="754"/>
                  </a:lnTo>
                  <a:lnTo>
                    <a:pt x="1558" y="754"/>
                  </a:lnTo>
                  <a:lnTo>
                    <a:pt x="1556" y="760"/>
                  </a:lnTo>
                  <a:lnTo>
                    <a:pt x="1556" y="760"/>
                  </a:lnTo>
                  <a:lnTo>
                    <a:pt x="1554" y="762"/>
                  </a:lnTo>
                  <a:lnTo>
                    <a:pt x="1552" y="762"/>
                  </a:lnTo>
                  <a:lnTo>
                    <a:pt x="1552" y="762"/>
                  </a:lnTo>
                  <a:lnTo>
                    <a:pt x="1552" y="766"/>
                  </a:lnTo>
                  <a:lnTo>
                    <a:pt x="1552" y="766"/>
                  </a:lnTo>
                  <a:lnTo>
                    <a:pt x="1548" y="768"/>
                  </a:lnTo>
                  <a:lnTo>
                    <a:pt x="1548" y="768"/>
                  </a:lnTo>
                  <a:lnTo>
                    <a:pt x="1548" y="772"/>
                  </a:lnTo>
                  <a:lnTo>
                    <a:pt x="1546" y="778"/>
                  </a:lnTo>
                  <a:lnTo>
                    <a:pt x="1546" y="778"/>
                  </a:lnTo>
                  <a:lnTo>
                    <a:pt x="1542" y="778"/>
                  </a:lnTo>
                  <a:lnTo>
                    <a:pt x="1542" y="778"/>
                  </a:lnTo>
                  <a:lnTo>
                    <a:pt x="1540" y="782"/>
                  </a:lnTo>
                  <a:lnTo>
                    <a:pt x="1540" y="782"/>
                  </a:lnTo>
                  <a:lnTo>
                    <a:pt x="1540" y="782"/>
                  </a:lnTo>
                  <a:lnTo>
                    <a:pt x="1532" y="790"/>
                  </a:lnTo>
                  <a:lnTo>
                    <a:pt x="1526" y="798"/>
                  </a:lnTo>
                  <a:lnTo>
                    <a:pt x="1526" y="798"/>
                  </a:lnTo>
                  <a:lnTo>
                    <a:pt x="1524" y="800"/>
                  </a:lnTo>
                  <a:lnTo>
                    <a:pt x="1522" y="798"/>
                  </a:lnTo>
                  <a:lnTo>
                    <a:pt x="1518" y="796"/>
                  </a:lnTo>
                  <a:lnTo>
                    <a:pt x="1514" y="796"/>
                  </a:lnTo>
                  <a:lnTo>
                    <a:pt x="1514" y="796"/>
                  </a:lnTo>
                  <a:lnTo>
                    <a:pt x="1512" y="792"/>
                  </a:lnTo>
                  <a:lnTo>
                    <a:pt x="1510" y="792"/>
                  </a:lnTo>
                  <a:lnTo>
                    <a:pt x="1510" y="792"/>
                  </a:lnTo>
                  <a:lnTo>
                    <a:pt x="1508" y="788"/>
                  </a:lnTo>
                  <a:lnTo>
                    <a:pt x="1510" y="782"/>
                  </a:lnTo>
                  <a:lnTo>
                    <a:pt x="1510" y="782"/>
                  </a:lnTo>
                  <a:lnTo>
                    <a:pt x="1506" y="784"/>
                  </a:lnTo>
                  <a:lnTo>
                    <a:pt x="1506" y="784"/>
                  </a:lnTo>
                  <a:lnTo>
                    <a:pt x="1504" y="784"/>
                  </a:lnTo>
                  <a:lnTo>
                    <a:pt x="1502" y="784"/>
                  </a:lnTo>
                  <a:lnTo>
                    <a:pt x="1502" y="782"/>
                  </a:lnTo>
                  <a:lnTo>
                    <a:pt x="1502" y="780"/>
                  </a:lnTo>
                  <a:lnTo>
                    <a:pt x="1502" y="780"/>
                  </a:lnTo>
                  <a:lnTo>
                    <a:pt x="1498" y="780"/>
                  </a:lnTo>
                  <a:lnTo>
                    <a:pt x="1498" y="780"/>
                  </a:lnTo>
                  <a:lnTo>
                    <a:pt x="1496" y="786"/>
                  </a:lnTo>
                  <a:lnTo>
                    <a:pt x="1492" y="790"/>
                  </a:lnTo>
                  <a:lnTo>
                    <a:pt x="1492" y="790"/>
                  </a:lnTo>
                  <a:lnTo>
                    <a:pt x="1490" y="790"/>
                  </a:lnTo>
                  <a:lnTo>
                    <a:pt x="1490" y="790"/>
                  </a:lnTo>
                  <a:lnTo>
                    <a:pt x="1488" y="796"/>
                  </a:lnTo>
                  <a:lnTo>
                    <a:pt x="1488" y="796"/>
                  </a:lnTo>
                  <a:lnTo>
                    <a:pt x="1484" y="796"/>
                  </a:lnTo>
                  <a:lnTo>
                    <a:pt x="1484" y="794"/>
                  </a:lnTo>
                  <a:lnTo>
                    <a:pt x="1486" y="790"/>
                  </a:lnTo>
                  <a:lnTo>
                    <a:pt x="1486" y="784"/>
                  </a:lnTo>
                  <a:lnTo>
                    <a:pt x="1488" y="782"/>
                  </a:lnTo>
                  <a:lnTo>
                    <a:pt x="1490" y="776"/>
                  </a:lnTo>
                  <a:lnTo>
                    <a:pt x="1488" y="766"/>
                  </a:lnTo>
                  <a:lnTo>
                    <a:pt x="1490" y="760"/>
                  </a:lnTo>
                  <a:lnTo>
                    <a:pt x="1490" y="754"/>
                  </a:lnTo>
                  <a:lnTo>
                    <a:pt x="1494" y="750"/>
                  </a:lnTo>
                  <a:lnTo>
                    <a:pt x="1498" y="748"/>
                  </a:lnTo>
                  <a:lnTo>
                    <a:pt x="1498" y="748"/>
                  </a:lnTo>
                  <a:lnTo>
                    <a:pt x="1502" y="750"/>
                  </a:lnTo>
                  <a:lnTo>
                    <a:pt x="1502" y="750"/>
                  </a:lnTo>
                  <a:lnTo>
                    <a:pt x="1500" y="754"/>
                  </a:lnTo>
                  <a:lnTo>
                    <a:pt x="1498" y="756"/>
                  </a:lnTo>
                  <a:lnTo>
                    <a:pt x="1498" y="756"/>
                  </a:lnTo>
                  <a:lnTo>
                    <a:pt x="1500" y="760"/>
                  </a:lnTo>
                  <a:lnTo>
                    <a:pt x="1502" y="762"/>
                  </a:lnTo>
                  <a:lnTo>
                    <a:pt x="1502" y="762"/>
                  </a:lnTo>
                  <a:lnTo>
                    <a:pt x="1506" y="762"/>
                  </a:lnTo>
                  <a:lnTo>
                    <a:pt x="1506" y="762"/>
                  </a:lnTo>
                  <a:lnTo>
                    <a:pt x="1506" y="750"/>
                  </a:lnTo>
                  <a:lnTo>
                    <a:pt x="1506" y="750"/>
                  </a:lnTo>
                  <a:lnTo>
                    <a:pt x="1510" y="746"/>
                  </a:lnTo>
                  <a:lnTo>
                    <a:pt x="1516" y="742"/>
                  </a:lnTo>
                  <a:lnTo>
                    <a:pt x="1518" y="738"/>
                  </a:lnTo>
                  <a:lnTo>
                    <a:pt x="1522" y="736"/>
                  </a:lnTo>
                  <a:lnTo>
                    <a:pt x="1526" y="730"/>
                  </a:lnTo>
                  <a:lnTo>
                    <a:pt x="1530" y="724"/>
                  </a:lnTo>
                  <a:lnTo>
                    <a:pt x="1532" y="714"/>
                  </a:lnTo>
                  <a:lnTo>
                    <a:pt x="1532" y="708"/>
                  </a:lnTo>
                  <a:lnTo>
                    <a:pt x="1536" y="706"/>
                  </a:lnTo>
                  <a:lnTo>
                    <a:pt x="1536" y="698"/>
                  </a:lnTo>
                  <a:lnTo>
                    <a:pt x="1532" y="694"/>
                  </a:lnTo>
                  <a:lnTo>
                    <a:pt x="1532" y="690"/>
                  </a:lnTo>
                  <a:lnTo>
                    <a:pt x="1536" y="682"/>
                  </a:lnTo>
                  <a:lnTo>
                    <a:pt x="1528" y="684"/>
                  </a:lnTo>
                  <a:lnTo>
                    <a:pt x="1526" y="688"/>
                  </a:lnTo>
                  <a:lnTo>
                    <a:pt x="1520" y="690"/>
                  </a:lnTo>
                  <a:lnTo>
                    <a:pt x="1516" y="690"/>
                  </a:lnTo>
                  <a:lnTo>
                    <a:pt x="1510" y="694"/>
                  </a:lnTo>
                  <a:lnTo>
                    <a:pt x="1506" y="698"/>
                  </a:lnTo>
                  <a:lnTo>
                    <a:pt x="1500" y="700"/>
                  </a:lnTo>
                  <a:lnTo>
                    <a:pt x="1496" y="702"/>
                  </a:lnTo>
                  <a:lnTo>
                    <a:pt x="1490" y="698"/>
                  </a:lnTo>
                  <a:lnTo>
                    <a:pt x="1484" y="696"/>
                  </a:lnTo>
                  <a:lnTo>
                    <a:pt x="1482" y="690"/>
                  </a:lnTo>
                  <a:lnTo>
                    <a:pt x="1482" y="684"/>
                  </a:lnTo>
                  <a:lnTo>
                    <a:pt x="1480" y="678"/>
                  </a:lnTo>
                  <a:lnTo>
                    <a:pt x="1474" y="672"/>
                  </a:lnTo>
                  <a:lnTo>
                    <a:pt x="1472" y="666"/>
                  </a:lnTo>
                  <a:lnTo>
                    <a:pt x="1470" y="660"/>
                  </a:lnTo>
                  <a:lnTo>
                    <a:pt x="1466" y="656"/>
                  </a:lnTo>
                  <a:lnTo>
                    <a:pt x="1458" y="654"/>
                  </a:lnTo>
                  <a:lnTo>
                    <a:pt x="1452" y="652"/>
                  </a:lnTo>
                  <a:lnTo>
                    <a:pt x="1446" y="652"/>
                  </a:lnTo>
                  <a:lnTo>
                    <a:pt x="1442" y="648"/>
                  </a:lnTo>
                  <a:lnTo>
                    <a:pt x="1438" y="640"/>
                  </a:lnTo>
                  <a:lnTo>
                    <a:pt x="1432" y="630"/>
                  </a:lnTo>
                  <a:lnTo>
                    <a:pt x="1430" y="622"/>
                  </a:lnTo>
                  <a:lnTo>
                    <a:pt x="1430" y="616"/>
                  </a:lnTo>
                  <a:lnTo>
                    <a:pt x="1424" y="610"/>
                  </a:lnTo>
                  <a:lnTo>
                    <a:pt x="1422" y="604"/>
                  </a:lnTo>
                  <a:lnTo>
                    <a:pt x="1414" y="598"/>
                  </a:lnTo>
                  <a:lnTo>
                    <a:pt x="1404" y="598"/>
                  </a:lnTo>
                  <a:lnTo>
                    <a:pt x="1400" y="592"/>
                  </a:lnTo>
                  <a:lnTo>
                    <a:pt x="1394" y="588"/>
                  </a:lnTo>
                  <a:lnTo>
                    <a:pt x="1388" y="584"/>
                  </a:lnTo>
                  <a:lnTo>
                    <a:pt x="1380" y="582"/>
                  </a:lnTo>
                  <a:lnTo>
                    <a:pt x="1376" y="584"/>
                  </a:lnTo>
                  <a:lnTo>
                    <a:pt x="1370" y="586"/>
                  </a:lnTo>
                  <a:lnTo>
                    <a:pt x="1362" y="586"/>
                  </a:lnTo>
                  <a:lnTo>
                    <a:pt x="1356" y="590"/>
                  </a:lnTo>
                  <a:lnTo>
                    <a:pt x="1350" y="596"/>
                  </a:lnTo>
                  <a:lnTo>
                    <a:pt x="1346" y="602"/>
                  </a:lnTo>
                  <a:lnTo>
                    <a:pt x="1344" y="604"/>
                  </a:lnTo>
                  <a:lnTo>
                    <a:pt x="1342" y="608"/>
                  </a:lnTo>
                  <a:lnTo>
                    <a:pt x="1348" y="606"/>
                  </a:lnTo>
                  <a:lnTo>
                    <a:pt x="1348" y="614"/>
                  </a:lnTo>
                  <a:lnTo>
                    <a:pt x="1348" y="620"/>
                  </a:lnTo>
                  <a:lnTo>
                    <a:pt x="1344" y="624"/>
                  </a:lnTo>
                  <a:lnTo>
                    <a:pt x="1346" y="630"/>
                  </a:lnTo>
                  <a:lnTo>
                    <a:pt x="1340" y="638"/>
                  </a:lnTo>
                  <a:lnTo>
                    <a:pt x="1336" y="644"/>
                  </a:lnTo>
                  <a:lnTo>
                    <a:pt x="1336" y="644"/>
                  </a:lnTo>
                  <a:lnTo>
                    <a:pt x="1332" y="648"/>
                  </a:lnTo>
                  <a:lnTo>
                    <a:pt x="1330" y="650"/>
                  </a:lnTo>
                  <a:lnTo>
                    <a:pt x="1330" y="652"/>
                  </a:lnTo>
                  <a:lnTo>
                    <a:pt x="1332" y="654"/>
                  </a:lnTo>
                  <a:lnTo>
                    <a:pt x="1332" y="654"/>
                  </a:lnTo>
                  <a:lnTo>
                    <a:pt x="1330" y="656"/>
                  </a:lnTo>
                  <a:lnTo>
                    <a:pt x="1326" y="658"/>
                  </a:lnTo>
                  <a:lnTo>
                    <a:pt x="1322" y="660"/>
                  </a:lnTo>
                  <a:lnTo>
                    <a:pt x="1312" y="666"/>
                  </a:lnTo>
                  <a:lnTo>
                    <a:pt x="1306" y="662"/>
                  </a:lnTo>
                  <a:lnTo>
                    <a:pt x="1298" y="658"/>
                  </a:lnTo>
                  <a:lnTo>
                    <a:pt x="1292" y="660"/>
                  </a:lnTo>
                  <a:lnTo>
                    <a:pt x="1282" y="658"/>
                  </a:lnTo>
                  <a:lnTo>
                    <a:pt x="1276" y="658"/>
                  </a:lnTo>
                  <a:lnTo>
                    <a:pt x="1266" y="652"/>
                  </a:lnTo>
                  <a:lnTo>
                    <a:pt x="1262" y="654"/>
                  </a:lnTo>
                  <a:lnTo>
                    <a:pt x="1250" y="662"/>
                  </a:lnTo>
                  <a:lnTo>
                    <a:pt x="1238" y="664"/>
                  </a:lnTo>
                  <a:lnTo>
                    <a:pt x="1232" y="668"/>
                  </a:lnTo>
                  <a:lnTo>
                    <a:pt x="1222" y="670"/>
                  </a:lnTo>
                  <a:lnTo>
                    <a:pt x="1212" y="668"/>
                  </a:lnTo>
                  <a:lnTo>
                    <a:pt x="1206" y="666"/>
                  </a:lnTo>
                  <a:lnTo>
                    <a:pt x="1200" y="668"/>
                  </a:lnTo>
                  <a:lnTo>
                    <a:pt x="1194" y="668"/>
                  </a:lnTo>
                  <a:lnTo>
                    <a:pt x="1188" y="664"/>
                  </a:lnTo>
                  <a:lnTo>
                    <a:pt x="1182" y="664"/>
                  </a:lnTo>
                  <a:lnTo>
                    <a:pt x="1176" y="660"/>
                  </a:lnTo>
                  <a:lnTo>
                    <a:pt x="1176" y="654"/>
                  </a:lnTo>
                  <a:lnTo>
                    <a:pt x="1170" y="654"/>
                  </a:lnTo>
                  <a:lnTo>
                    <a:pt x="1158" y="650"/>
                  </a:lnTo>
                  <a:lnTo>
                    <a:pt x="1150" y="648"/>
                  </a:lnTo>
                  <a:lnTo>
                    <a:pt x="1144" y="652"/>
                  </a:lnTo>
                  <a:lnTo>
                    <a:pt x="1138" y="654"/>
                  </a:lnTo>
                  <a:lnTo>
                    <a:pt x="1132" y="654"/>
                  </a:lnTo>
                  <a:lnTo>
                    <a:pt x="1126" y="654"/>
                  </a:lnTo>
                  <a:lnTo>
                    <a:pt x="1116" y="648"/>
                  </a:lnTo>
                  <a:lnTo>
                    <a:pt x="1112" y="646"/>
                  </a:lnTo>
                  <a:lnTo>
                    <a:pt x="1108" y="636"/>
                  </a:lnTo>
                  <a:lnTo>
                    <a:pt x="1100" y="630"/>
                  </a:lnTo>
                  <a:lnTo>
                    <a:pt x="1088" y="620"/>
                  </a:lnTo>
                  <a:lnTo>
                    <a:pt x="1078" y="618"/>
                  </a:lnTo>
                  <a:lnTo>
                    <a:pt x="1074" y="614"/>
                  </a:lnTo>
                  <a:lnTo>
                    <a:pt x="1064" y="614"/>
                  </a:lnTo>
                  <a:lnTo>
                    <a:pt x="1058" y="612"/>
                  </a:lnTo>
                  <a:lnTo>
                    <a:pt x="1048" y="612"/>
                  </a:lnTo>
                  <a:lnTo>
                    <a:pt x="1046" y="616"/>
                  </a:lnTo>
                  <a:lnTo>
                    <a:pt x="1042" y="622"/>
                  </a:lnTo>
                  <a:lnTo>
                    <a:pt x="1040" y="628"/>
                  </a:lnTo>
                  <a:lnTo>
                    <a:pt x="1046" y="632"/>
                  </a:lnTo>
                  <a:lnTo>
                    <a:pt x="1050" y="638"/>
                  </a:lnTo>
                  <a:lnTo>
                    <a:pt x="1052" y="646"/>
                  </a:lnTo>
                  <a:lnTo>
                    <a:pt x="1048" y="650"/>
                  </a:lnTo>
                  <a:lnTo>
                    <a:pt x="1038" y="650"/>
                  </a:lnTo>
                  <a:lnTo>
                    <a:pt x="1026" y="650"/>
                  </a:lnTo>
                  <a:lnTo>
                    <a:pt x="1016" y="650"/>
                  </a:lnTo>
                  <a:lnTo>
                    <a:pt x="1008" y="648"/>
                  </a:lnTo>
                  <a:lnTo>
                    <a:pt x="1000" y="644"/>
                  </a:lnTo>
                  <a:lnTo>
                    <a:pt x="990" y="640"/>
                  </a:lnTo>
                  <a:lnTo>
                    <a:pt x="982" y="642"/>
                  </a:lnTo>
                  <a:lnTo>
                    <a:pt x="980" y="638"/>
                  </a:lnTo>
                  <a:lnTo>
                    <a:pt x="972" y="638"/>
                  </a:lnTo>
                  <a:lnTo>
                    <a:pt x="962" y="638"/>
                  </a:lnTo>
                  <a:lnTo>
                    <a:pt x="958" y="642"/>
                  </a:lnTo>
                  <a:lnTo>
                    <a:pt x="950" y="646"/>
                  </a:lnTo>
                  <a:lnTo>
                    <a:pt x="942" y="648"/>
                  </a:lnTo>
                  <a:lnTo>
                    <a:pt x="938" y="652"/>
                  </a:lnTo>
                  <a:lnTo>
                    <a:pt x="934" y="656"/>
                  </a:lnTo>
                  <a:lnTo>
                    <a:pt x="934" y="660"/>
                  </a:lnTo>
                  <a:lnTo>
                    <a:pt x="932" y="664"/>
                  </a:lnTo>
                  <a:lnTo>
                    <a:pt x="926" y="666"/>
                  </a:lnTo>
                  <a:lnTo>
                    <a:pt x="920" y="668"/>
                  </a:lnTo>
                  <a:lnTo>
                    <a:pt x="914" y="672"/>
                  </a:lnTo>
                  <a:lnTo>
                    <a:pt x="904" y="670"/>
                  </a:lnTo>
                  <a:lnTo>
                    <a:pt x="902" y="666"/>
                  </a:lnTo>
                  <a:lnTo>
                    <a:pt x="896" y="662"/>
                  </a:lnTo>
                  <a:lnTo>
                    <a:pt x="894" y="654"/>
                  </a:lnTo>
                  <a:lnTo>
                    <a:pt x="886" y="654"/>
                  </a:lnTo>
                  <a:lnTo>
                    <a:pt x="876" y="656"/>
                  </a:lnTo>
                  <a:lnTo>
                    <a:pt x="860" y="664"/>
                  </a:lnTo>
                  <a:lnTo>
                    <a:pt x="850" y="666"/>
                  </a:lnTo>
                  <a:lnTo>
                    <a:pt x="844" y="662"/>
                  </a:lnTo>
                  <a:lnTo>
                    <a:pt x="840" y="658"/>
                  </a:lnTo>
                  <a:lnTo>
                    <a:pt x="838" y="648"/>
                  </a:lnTo>
                  <a:lnTo>
                    <a:pt x="836" y="640"/>
                  </a:lnTo>
                  <a:lnTo>
                    <a:pt x="836" y="640"/>
                  </a:lnTo>
                  <a:lnTo>
                    <a:pt x="830" y="634"/>
                  </a:lnTo>
                  <a:lnTo>
                    <a:pt x="826" y="630"/>
                  </a:lnTo>
                  <a:lnTo>
                    <a:pt x="822" y="628"/>
                  </a:lnTo>
                  <a:lnTo>
                    <a:pt x="808" y="628"/>
                  </a:lnTo>
                  <a:lnTo>
                    <a:pt x="808" y="628"/>
                  </a:lnTo>
                  <a:lnTo>
                    <a:pt x="804" y="630"/>
                  </a:lnTo>
                  <a:lnTo>
                    <a:pt x="796" y="632"/>
                  </a:lnTo>
                  <a:lnTo>
                    <a:pt x="796" y="632"/>
                  </a:lnTo>
                  <a:lnTo>
                    <a:pt x="792" y="630"/>
                  </a:lnTo>
                  <a:lnTo>
                    <a:pt x="790" y="626"/>
                  </a:lnTo>
                  <a:lnTo>
                    <a:pt x="786" y="622"/>
                  </a:lnTo>
                  <a:lnTo>
                    <a:pt x="780" y="606"/>
                  </a:lnTo>
                  <a:lnTo>
                    <a:pt x="770" y="584"/>
                  </a:lnTo>
                  <a:lnTo>
                    <a:pt x="760" y="568"/>
                  </a:lnTo>
                  <a:lnTo>
                    <a:pt x="762" y="562"/>
                  </a:lnTo>
                  <a:lnTo>
                    <a:pt x="760" y="560"/>
                  </a:lnTo>
                  <a:lnTo>
                    <a:pt x="748" y="562"/>
                  </a:lnTo>
                  <a:lnTo>
                    <a:pt x="738" y="566"/>
                  </a:lnTo>
                  <a:lnTo>
                    <a:pt x="724" y="572"/>
                  </a:lnTo>
                  <a:lnTo>
                    <a:pt x="714" y="576"/>
                  </a:lnTo>
                  <a:lnTo>
                    <a:pt x="702" y="576"/>
                  </a:lnTo>
                  <a:lnTo>
                    <a:pt x="702" y="576"/>
                  </a:lnTo>
                  <a:lnTo>
                    <a:pt x="702" y="574"/>
                  </a:lnTo>
                  <a:lnTo>
                    <a:pt x="702" y="570"/>
                  </a:lnTo>
                  <a:lnTo>
                    <a:pt x="702" y="570"/>
                  </a:lnTo>
                  <a:lnTo>
                    <a:pt x="700" y="568"/>
                  </a:lnTo>
                  <a:lnTo>
                    <a:pt x="698" y="568"/>
                  </a:lnTo>
                  <a:lnTo>
                    <a:pt x="698" y="568"/>
                  </a:lnTo>
                  <a:lnTo>
                    <a:pt x="692" y="570"/>
                  </a:lnTo>
                  <a:lnTo>
                    <a:pt x="690" y="568"/>
                  </a:lnTo>
                  <a:lnTo>
                    <a:pt x="682" y="562"/>
                  </a:lnTo>
                  <a:lnTo>
                    <a:pt x="676" y="570"/>
                  </a:lnTo>
                  <a:lnTo>
                    <a:pt x="670" y="572"/>
                  </a:lnTo>
                  <a:lnTo>
                    <a:pt x="664" y="566"/>
                  </a:lnTo>
                  <a:lnTo>
                    <a:pt x="660" y="564"/>
                  </a:lnTo>
                  <a:lnTo>
                    <a:pt x="662" y="558"/>
                  </a:lnTo>
                  <a:lnTo>
                    <a:pt x="662" y="554"/>
                  </a:lnTo>
                  <a:lnTo>
                    <a:pt x="656" y="552"/>
                  </a:lnTo>
                  <a:lnTo>
                    <a:pt x="654" y="548"/>
                  </a:lnTo>
                  <a:lnTo>
                    <a:pt x="648" y="550"/>
                  </a:lnTo>
                  <a:lnTo>
                    <a:pt x="638" y="552"/>
                  </a:lnTo>
                  <a:lnTo>
                    <a:pt x="626" y="560"/>
                  </a:lnTo>
                  <a:lnTo>
                    <a:pt x="622" y="560"/>
                  </a:lnTo>
                  <a:lnTo>
                    <a:pt x="608" y="564"/>
                  </a:lnTo>
                  <a:lnTo>
                    <a:pt x="596" y="562"/>
                  </a:lnTo>
                  <a:lnTo>
                    <a:pt x="586" y="566"/>
                  </a:lnTo>
                  <a:lnTo>
                    <a:pt x="574" y="568"/>
                  </a:lnTo>
                  <a:lnTo>
                    <a:pt x="568" y="566"/>
                  </a:lnTo>
                  <a:lnTo>
                    <a:pt x="560" y="564"/>
                  </a:lnTo>
                  <a:lnTo>
                    <a:pt x="552" y="560"/>
                  </a:lnTo>
                  <a:lnTo>
                    <a:pt x="546" y="564"/>
                  </a:lnTo>
                  <a:lnTo>
                    <a:pt x="548" y="568"/>
                  </a:lnTo>
                  <a:lnTo>
                    <a:pt x="548" y="576"/>
                  </a:lnTo>
                  <a:lnTo>
                    <a:pt x="542" y="582"/>
                  </a:lnTo>
                  <a:lnTo>
                    <a:pt x="542" y="590"/>
                  </a:lnTo>
                  <a:lnTo>
                    <a:pt x="538" y="596"/>
                  </a:lnTo>
                  <a:lnTo>
                    <a:pt x="538" y="602"/>
                  </a:lnTo>
                  <a:lnTo>
                    <a:pt x="544" y="610"/>
                  </a:lnTo>
                  <a:lnTo>
                    <a:pt x="546" y="614"/>
                  </a:lnTo>
                  <a:lnTo>
                    <a:pt x="540" y="624"/>
                  </a:lnTo>
                  <a:lnTo>
                    <a:pt x="546" y="628"/>
                  </a:lnTo>
                  <a:lnTo>
                    <a:pt x="546" y="628"/>
                  </a:lnTo>
                  <a:lnTo>
                    <a:pt x="548" y="628"/>
                  </a:lnTo>
                  <a:lnTo>
                    <a:pt x="554" y="634"/>
                  </a:lnTo>
                  <a:lnTo>
                    <a:pt x="554" y="634"/>
                  </a:lnTo>
                  <a:lnTo>
                    <a:pt x="554" y="638"/>
                  </a:lnTo>
                  <a:lnTo>
                    <a:pt x="552" y="640"/>
                  </a:lnTo>
                  <a:lnTo>
                    <a:pt x="548" y="642"/>
                  </a:lnTo>
                  <a:lnTo>
                    <a:pt x="542" y="642"/>
                  </a:lnTo>
                  <a:lnTo>
                    <a:pt x="534" y="640"/>
                  </a:lnTo>
                  <a:lnTo>
                    <a:pt x="534" y="640"/>
                  </a:lnTo>
                  <a:lnTo>
                    <a:pt x="532" y="636"/>
                  </a:lnTo>
                  <a:lnTo>
                    <a:pt x="528" y="628"/>
                  </a:lnTo>
                  <a:lnTo>
                    <a:pt x="528" y="628"/>
                  </a:lnTo>
                  <a:lnTo>
                    <a:pt x="526" y="628"/>
                  </a:lnTo>
                  <a:lnTo>
                    <a:pt x="524" y="628"/>
                  </a:lnTo>
                  <a:lnTo>
                    <a:pt x="522" y="630"/>
                  </a:lnTo>
                  <a:lnTo>
                    <a:pt x="522" y="630"/>
                  </a:lnTo>
                  <a:lnTo>
                    <a:pt x="520" y="630"/>
                  </a:lnTo>
                  <a:lnTo>
                    <a:pt x="518" y="628"/>
                  </a:lnTo>
                  <a:lnTo>
                    <a:pt x="518" y="626"/>
                  </a:lnTo>
                  <a:lnTo>
                    <a:pt x="514" y="626"/>
                  </a:lnTo>
                  <a:lnTo>
                    <a:pt x="514" y="626"/>
                  </a:lnTo>
                  <a:lnTo>
                    <a:pt x="508" y="630"/>
                  </a:lnTo>
                  <a:lnTo>
                    <a:pt x="504" y="634"/>
                  </a:lnTo>
                  <a:lnTo>
                    <a:pt x="504" y="634"/>
                  </a:lnTo>
                  <a:lnTo>
                    <a:pt x="502" y="634"/>
                  </a:lnTo>
                  <a:lnTo>
                    <a:pt x="498" y="634"/>
                  </a:lnTo>
                  <a:lnTo>
                    <a:pt x="492" y="630"/>
                  </a:lnTo>
                  <a:lnTo>
                    <a:pt x="492" y="630"/>
                  </a:lnTo>
                  <a:lnTo>
                    <a:pt x="488" y="630"/>
                  </a:lnTo>
                  <a:lnTo>
                    <a:pt x="486" y="630"/>
                  </a:lnTo>
                  <a:lnTo>
                    <a:pt x="484" y="632"/>
                  </a:lnTo>
                  <a:lnTo>
                    <a:pt x="484" y="632"/>
                  </a:lnTo>
                  <a:lnTo>
                    <a:pt x="484" y="634"/>
                  </a:lnTo>
                  <a:lnTo>
                    <a:pt x="484" y="636"/>
                  </a:lnTo>
                  <a:lnTo>
                    <a:pt x="484" y="640"/>
                  </a:lnTo>
                  <a:lnTo>
                    <a:pt x="476" y="638"/>
                  </a:lnTo>
                  <a:lnTo>
                    <a:pt x="476" y="638"/>
                  </a:lnTo>
                  <a:lnTo>
                    <a:pt x="478" y="636"/>
                  </a:lnTo>
                  <a:lnTo>
                    <a:pt x="480" y="634"/>
                  </a:lnTo>
                  <a:lnTo>
                    <a:pt x="478" y="630"/>
                  </a:lnTo>
                  <a:lnTo>
                    <a:pt x="478" y="630"/>
                  </a:lnTo>
                  <a:lnTo>
                    <a:pt x="478" y="628"/>
                  </a:lnTo>
                  <a:lnTo>
                    <a:pt x="476" y="628"/>
                  </a:lnTo>
                  <a:lnTo>
                    <a:pt x="470" y="628"/>
                  </a:lnTo>
                  <a:lnTo>
                    <a:pt x="470" y="628"/>
                  </a:lnTo>
                  <a:lnTo>
                    <a:pt x="468" y="628"/>
                  </a:lnTo>
                  <a:lnTo>
                    <a:pt x="466" y="624"/>
                  </a:lnTo>
                  <a:lnTo>
                    <a:pt x="466" y="624"/>
                  </a:lnTo>
                  <a:lnTo>
                    <a:pt x="462" y="620"/>
                  </a:lnTo>
                  <a:lnTo>
                    <a:pt x="458" y="618"/>
                  </a:lnTo>
                  <a:lnTo>
                    <a:pt x="458" y="618"/>
                  </a:lnTo>
                  <a:lnTo>
                    <a:pt x="454" y="616"/>
                  </a:lnTo>
                  <a:lnTo>
                    <a:pt x="450" y="616"/>
                  </a:lnTo>
                  <a:lnTo>
                    <a:pt x="450" y="616"/>
                  </a:lnTo>
                  <a:lnTo>
                    <a:pt x="450" y="614"/>
                  </a:lnTo>
                  <a:lnTo>
                    <a:pt x="450" y="610"/>
                  </a:lnTo>
                  <a:lnTo>
                    <a:pt x="450" y="610"/>
                  </a:lnTo>
                  <a:lnTo>
                    <a:pt x="446" y="608"/>
                  </a:lnTo>
                  <a:lnTo>
                    <a:pt x="442" y="606"/>
                  </a:lnTo>
                  <a:lnTo>
                    <a:pt x="442" y="606"/>
                  </a:lnTo>
                  <a:lnTo>
                    <a:pt x="442" y="606"/>
                  </a:lnTo>
                  <a:lnTo>
                    <a:pt x="442" y="608"/>
                  </a:lnTo>
                  <a:lnTo>
                    <a:pt x="442" y="610"/>
                  </a:lnTo>
                  <a:lnTo>
                    <a:pt x="436" y="610"/>
                  </a:lnTo>
                  <a:lnTo>
                    <a:pt x="436" y="606"/>
                  </a:lnTo>
                  <a:lnTo>
                    <a:pt x="424" y="608"/>
                  </a:lnTo>
                  <a:lnTo>
                    <a:pt x="424" y="608"/>
                  </a:lnTo>
                  <a:lnTo>
                    <a:pt x="426" y="610"/>
                  </a:lnTo>
                  <a:lnTo>
                    <a:pt x="426" y="610"/>
                  </a:lnTo>
                  <a:lnTo>
                    <a:pt x="426" y="612"/>
                  </a:lnTo>
                  <a:lnTo>
                    <a:pt x="426" y="612"/>
                  </a:lnTo>
                  <a:lnTo>
                    <a:pt x="416" y="624"/>
                  </a:lnTo>
                  <a:lnTo>
                    <a:pt x="416" y="624"/>
                  </a:lnTo>
                  <a:lnTo>
                    <a:pt x="412" y="624"/>
                  </a:lnTo>
                  <a:lnTo>
                    <a:pt x="406" y="624"/>
                  </a:lnTo>
                  <a:lnTo>
                    <a:pt x="406" y="624"/>
                  </a:lnTo>
                  <a:lnTo>
                    <a:pt x="404" y="624"/>
                  </a:lnTo>
                  <a:lnTo>
                    <a:pt x="402" y="624"/>
                  </a:lnTo>
                  <a:lnTo>
                    <a:pt x="402" y="626"/>
                  </a:lnTo>
                  <a:lnTo>
                    <a:pt x="400" y="628"/>
                  </a:lnTo>
                  <a:lnTo>
                    <a:pt x="400" y="628"/>
                  </a:lnTo>
                  <a:lnTo>
                    <a:pt x="398" y="628"/>
                  </a:lnTo>
                  <a:lnTo>
                    <a:pt x="396" y="632"/>
                  </a:lnTo>
                  <a:lnTo>
                    <a:pt x="396" y="638"/>
                  </a:lnTo>
                  <a:lnTo>
                    <a:pt x="396" y="638"/>
                  </a:lnTo>
                  <a:lnTo>
                    <a:pt x="396" y="640"/>
                  </a:lnTo>
                  <a:lnTo>
                    <a:pt x="398" y="642"/>
                  </a:lnTo>
                  <a:lnTo>
                    <a:pt x="402" y="646"/>
                  </a:lnTo>
                  <a:lnTo>
                    <a:pt x="392" y="650"/>
                  </a:lnTo>
                  <a:lnTo>
                    <a:pt x="392" y="650"/>
                  </a:lnTo>
                  <a:lnTo>
                    <a:pt x="388" y="640"/>
                  </a:lnTo>
                  <a:lnTo>
                    <a:pt x="388" y="640"/>
                  </a:lnTo>
                  <a:lnTo>
                    <a:pt x="388" y="640"/>
                  </a:lnTo>
                  <a:lnTo>
                    <a:pt x="384" y="640"/>
                  </a:lnTo>
                  <a:lnTo>
                    <a:pt x="382" y="646"/>
                  </a:lnTo>
                  <a:lnTo>
                    <a:pt x="382" y="646"/>
                  </a:lnTo>
                  <a:lnTo>
                    <a:pt x="380" y="646"/>
                  </a:lnTo>
                  <a:lnTo>
                    <a:pt x="378" y="648"/>
                  </a:lnTo>
                  <a:lnTo>
                    <a:pt x="376" y="648"/>
                  </a:lnTo>
                  <a:lnTo>
                    <a:pt x="376" y="648"/>
                  </a:lnTo>
                  <a:lnTo>
                    <a:pt x="376" y="648"/>
                  </a:lnTo>
                  <a:lnTo>
                    <a:pt x="376" y="654"/>
                  </a:lnTo>
                  <a:lnTo>
                    <a:pt x="374" y="658"/>
                  </a:lnTo>
                  <a:lnTo>
                    <a:pt x="372" y="662"/>
                  </a:lnTo>
                  <a:lnTo>
                    <a:pt x="372" y="662"/>
                  </a:lnTo>
                  <a:lnTo>
                    <a:pt x="374" y="662"/>
                  </a:lnTo>
                  <a:lnTo>
                    <a:pt x="376" y="664"/>
                  </a:lnTo>
                  <a:lnTo>
                    <a:pt x="376" y="664"/>
                  </a:lnTo>
                  <a:lnTo>
                    <a:pt x="376" y="666"/>
                  </a:lnTo>
                  <a:lnTo>
                    <a:pt x="374" y="668"/>
                  </a:lnTo>
                  <a:lnTo>
                    <a:pt x="374" y="670"/>
                  </a:lnTo>
                  <a:lnTo>
                    <a:pt x="374" y="670"/>
                  </a:lnTo>
                  <a:lnTo>
                    <a:pt x="368" y="678"/>
                  </a:lnTo>
                  <a:lnTo>
                    <a:pt x="368" y="678"/>
                  </a:lnTo>
                  <a:lnTo>
                    <a:pt x="366" y="680"/>
                  </a:lnTo>
                  <a:lnTo>
                    <a:pt x="368" y="682"/>
                  </a:lnTo>
                  <a:lnTo>
                    <a:pt x="372" y="686"/>
                  </a:lnTo>
                  <a:lnTo>
                    <a:pt x="372" y="686"/>
                  </a:lnTo>
                  <a:lnTo>
                    <a:pt x="374" y="688"/>
                  </a:lnTo>
                  <a:lnTo>
                    <a:pt x="374" y="690"/>
                  </a:lnTo>
                  <a:lnTo>
                    <a:pt x="374" y="696"/>
                  </a:lnTo>
                  <a:lnTo>
                    <a:pt x="374" y="696"/>
                  </a:lnTo>
                  <a:lnTo>
                    <a:pt x="376" y="698"/>
                  </a:lnTo>
                  <a:lnTo>
                    <a:pt x="378" y="698"/>
                  </a:lnTo>
                  <a:lnTo>
                    <a:pt x="382" y="696"/>
                  </a:lnTo>
                  <a:lnTo>
                    <a:pt x="386" y="708"/>
                  </a:lnTo>
                  <a:lnTo>
                    <a:pt x="386" y="708"/>
                  </a:lnTo>
                  <a:lnTo>
                    <a:pt x="388" y="710"/>
                  </a:lnTo>
                  <a:lnTo>
                    <a:pt x="386" y="714"/>
                  </a:lnTo>
                  <a:lnTo>
                    <a:pt x="386" y="714"/>
                  </a:lnTo>
                  <a:lnTo>
                    <a:pt x="386" y="716"/>
                  </a:lnTo>
                  <a:lnTo>
                    <a:pt x="388" y="720"/>
                  </a:lnTo>
                  <a:lnTo>
                    <a:pt x="388" y="722"/>
                  </a:lnTo>
                  <a:lnTo>
                    <a:pt x="388" y="722"/>
                  </a:lnTo>
                  <a:lnTo>
                    <a:pt x="388" y="726"/>
                  </a:lnTo>
                  <a:lnTo>
                    <a:pt x="388" y="726"/>
                  </a:lnTo>
                  <a:lnTo>
                    <a:pt x="384" y="726"/>
                  </a:lnTo>
                  <a:lnTo>
                    <a:pt x="384" y="726"/>
                  </a:lnTo>
                  <a:lnTo>
                    <a:pt x="384" y="724"/>
                  </a:lnTo>
                  <a:lnTo>
                    <a:pt x="382" y="722"/>
                  </a:lnTo>
                  <a:lnTo>
                    <a:pt x="382" y="722"/>
                  </a:lnTo>
                  <a:lnTo>
                    <a:pt x="382" y="724"/>
                  </a:lnTo>
                  <a:lnTo>
                    <a:pt x="382" y="724"/>
                  </a:lnTo>
                  <a:lnTo>
                    <a:pt x="382" y="724"/>
                  </a:lnTo>
                  <a:lnTo>
                    <a:pt x="382" y="726"/>
                  </a:lnTo>
                  <a:lnTo>
                    <a:pt x="382" y="726"/>
                  </a:lnTo>
                  <a:lnTo>
                    <a:pt x="386" y="726"/>
                  </a:lnTo>
                  <a:lnTo>
                    <a:pt x="386" y="726"/>
                  </a:lnTo>
                  <a:lnTo>
                    <a:pt x="386" y="730"/>
                  </a:lnTo>
                  <a:lnTo>
                    <a:pt x="386" y="730"/>
                  </a:lnTo>
                  <a:lnTo>
                    <a:pt x="382" y="734"/>
                  </a:lnTo>
                  <a:lnTo>
                    <a:pt x="382" y="734"/>
                  </a:lnTo>
                  <a:lnTo>
                    <a:pt x="380" y="732"/>
                  </a:lnTo>
                  <a:lnTo>
                    <a:pt x="382" y="730"/>
                  </a:lnTo>
                  <a:lnTo>
                    <a:pt x="382" y="730"/>
                  </a:lnTo>
                  <a:lnTo>
                    <a:pt x="378" y="730"/>
                  </a:lnTo>
                  <a:lnTo>
                    <a:pt x="378" y="730"/>
                  </a:lnTo>
                  <a:lnTo>
                    <a:pt x="378" y="726"/>
                  </a:lnTo>
                  <a:lnTo>
                    <a:pt x="376" y="726"/>
                  </a:lnTo>
                  <a:lnTo>
                    <a:pt x="376" y="726"/>
                  </a:lnTo>
                  <a:lnTo>
                    <a:pt x="376" y="728"/>
                  </a:lnTo>
                  <a:lnTo>
                    <a:pt x="376" y="728"/>
                  </a:lnTo>
                  <a:lnTo>
                    <a:pt x="372" y="730"/>
                  </a:lnTo>
                  <a:lnTo>
                    <a:pt x="372" y="730"/>
                  </a:lnTo>
                  <a:lnTo>
                    <a:pt x="370" y="730"/>
                  </a:lnTo>
                  <a:lnTo>
                    <a:pt x="370" y="730"/>
                  </a:lnTo>
                  <a:lnTo>
                    <a:pt x="368" y="730"/>
                  </a:lnTo>
                  <a:lnTo>
                    <a:pt x="368" y="732"/>
                  </a:lnTo>
                  <a:lnTo>
                    <a:pt x="370" y="732"/>
                  </a:lnTo>
                  <a:lnTo>
                    <a:pt x="368" y="732"/>
                  </a:lnTo>
                  <a:lnTo>
                    <a:pt x="368" y="734"/>
                  </a:lnTo>
                  <a:lnTo>
                    <a:pt x="368" y="734"/>
                  </a:lnTo>
                  <a:lnTo>
                    <a:pt x="370" y="736"/>
                  </a:lnTo>
                  <a:lnTo>
                    <a:pt x="370" y="736"/>
                  </a:lnTo>
                  <a:lnTo>
                    <a:pt x="366" y="740"/>
                  </a:lnTo>
                  <a:lnTo>
                    <a:pt x="366" y="740"/>
                  </a:lnTo>
                  <a:lnTo>
                    <a:pt x="362" y="750"/>
                  </a:lnTo>
                  <a:lnTo>
                    <a:pt x="362" y="750"/>
                  </a:lnTo>
                  <a:lnTo>
                    <a:pt x="362" y="756"/>
                  </a:lnTo>
                  <a:lnTo>
                    <a:pt x="362" y="756"/>
                  </a:lnTo>
                  <a:lnTo>
                    <a:pt x="360" y="758"/>
                  </a:lnTo>
                  <a:lnTo>
                    <a:pt x="360" y="758"/>
                  </a:lnTo>
                  <a:lnTo>
                    <a:pt x="360" y="762"/>
                  </a:lnTo>
                  <a:lnTo>
                    <a:pt x="360" y="764"/>
                  </a:lnTo>
                  <a:lnTo>
                    <a:pt x="358" y="766"/>
                  </a:lnTo>
                  <a:lnTo>
                    <a:pt x="358" y="766"/>
                  </a:lnTo>
                  <a:lnTo>
                    <a:pt x="370" y="766"/>
                  </a:lnTo>
                  <a:lnTo>
                    <a:pt x="370" y="766"/>
                  </a:lnTo>
                  <a:lnTo>
                    <a:pt x="370" y="776"/>
                  </a:lnTo>
                  <a:lnTo>
                    <a:pt x="372" y="778"/>
                  </a:lnTo>
                  <a:lnTo>
                    <a:pt x="372" y="778"/>
                  </a:lnTo>
                  <a:lnTo>
                    <a:pt x="372" y="792"/>
                  </a:lnTo>
                  <a:lnTo>
                    <a:pt x="372" y="792"/>
                  </a:lnTo>
                  <a:lnTo>
                    <a:pt x="376" y="796"/>
                  </a:lnTo>
                  <a:lnTo>
                    <a:pt x="380" y="800"/>
                  </a:lnTo>
                  <a:lnTo>
                    <a:pt x="380" y="800"/>
                  </a:lnTo>
                  <a:lnTo>
                    <a:pt x="380" y="804"/>
                  </a:lnTo>
                  <a:lnTo>
                    <a:pt x="382" y="808"/>
                  </a:lnTo>
                  <a:lnTo>
                    <a:pt x="382" y="808"/>
                  </a:lnTo>
                  <a:lnTo>
                    <a:pt x="390" y="814"/>
                  </a:lnTo>
                  <a:lnTo>
                    <a:pt x="390" y="814"/>
                  </a:lnTo>
                  <a:lnTo>
                    <a:pt x="392" y="818"/>
                  </a:lnTo>
                  <a:lnTo>
                    <a:pt x="392" y="818"/>
                  </a:lnTo>
                  <a:lnTo>
                    <a:pt x="390" y="824"/>
                  </a:lnTo>
                  <a:lnTo>
                    <a:pt x="384" y="828"/>
                  </a:lnTo>
                  <a:lnTo>
                    <a:pt x="384" y="828"/>
                  </a:lnTo>
                  <a:lnTo>
                    <a:pt x="382" y="826"/>
                  </a:lnTo>
                  <a:lnTo>
                    <a:pt x="380" y="822"/>
                  </a:lnTo>
                  <a:lnTo>
                    <a:pt x="380" y="822"/>
                  </a:lnTo>
                  <a:lnTo>
                    <a:pt x="378" y="818"/>
                  </a:lnTo>
                  <a:lnTo>
                    <a:pt x="374" y="816"/>
                  </a:lnTo>
                  <a:lnTo>
                    <a:pt x="374" y="816"/>
                  </a:lnTo>
                  <a:lnTo>
                    <a:pt x="368" y="810"/>
                  </a:lnTo>
                  <a:lnTo>
                    <a:pt x="368" y="810"/>
                  </a:lnTo>
                  <a:lnTo>
                    <a:pt x="364" y="806"/>
                  </a:lnTo>
                  <a:lnTo>
                    <a:pt x="364" y="806"/>
                  </a:lnTo>
                  <a:lnTo>
                    <a:pt x="362" y="804"/>
                  </a:lnTo>
                  <a:lnTo>
                    <a:pt x="360" y="804"/>
                  </a:lnTo>
                  <a:lnTo>
                    <a:pt x="356" y="804"/>
                  </a:lnTo>
                  <a:lnTo>
                    <a:pt x="356" y="804"/>
                  </a:lnTo>
                  <a:lnTo>
                    <a:pt x="356" y="804"/>
                  </a:lnTo>
                  <a:lnTo>
                    <a:pt x="356" y="802"/>
                  </a:lnTo>
                  <a:lnTo>
                    <a:pt x="356" y="800"/>
                  </a:lnTo>
                  <a:lnTo>
                    <a:pt x="356" y="798"/>
                  </a:lnTo>
                  <a:lnTo>
                    <a:pt x="356" y="798"/>
                  </a:lnTo>
                  <a:lnTo>
                    <a:pt x="352" y="796"/>
                  </a:lnTo>
                  <a:lnTo>
                    <a:pt x="350" y="794"/>
                  </a:lnTo>
                  <a:lnTo>
                    <a:pt x="350" y="794"/>
                  </a:lnTo>
                  <a:lnTo>
                    <a:pt x="348" y="792"/>
                  </a:lnTo>
                  <a:lnTo>
                    <a:pt x="346" y="788"/>
                  </a:lnTo>
                  <a:lnTo>
                    <a:pt x="346" y="788"/>
                  </a:lnTo>
                  <a:lnTo>
                    <a:pt x="342" y="786"/>
                  </a:lnTo>
                  <a:lnTo>
                    <a:pt x="338" y="788"/>
                  </a:lnTo>
                  <a:lnTo>
                    <a:pt x="338" y="788"/>
                  </a:lnTo>
                  <a:lnTo>
                    <a:pt x="334" y="790"/>
                  </a:lnTo>
                  <a:lnTo>
                    <a:pt x="334" y="790"/>
                  </a:lnTo>
                  <a:lnTo>
                    <a:pt x="332" y="790"/>
                  </a:lnTo>
                  <a:lnTo>
                    <a:pt x="332" y="790"/>
                  </a:lnTo>
                  <a:lnTo>
                    <a:pt x="330" y="788"/>
                  </a:lnTo>
                  <a:lnTo>
                    <a:pt x="328" y="788"/>
                  </a:lnTo>
                  <a:lnTo>
                    <a:pt x="322" y="790"/>
                  </a:lnTo>
                  <a:lnTo>
                    <a:pt x="322" y="790"/>
                  </a:lnTo>
                  <a:lnTo>
                    <a:pt x="318" y="790"/>
                  </a:lnTo>
                  <a:lnTo>
                    <a:pt x="316" y="788"/>
                  </a:lnTo>
                  <a:lnTo>
                    <a:pt x="312" y="782"/>
                  </a:lnTo>
                  <a:lnTo>
                    <a:pt x="312" y="782"/>
                  </a:lnTo>
                  <a:lnTo>
                    <a:pt x="308" y="780"/>
                  </a:lnTo>
                  <a:lnTo>
                    <a:pt x="304" y="778"/>
                  </a:lnTo>
                  <a:lnTo>
                    <a:pt x="304" y="778"/>
                  </a:lnTo>
                  <a:lnTo>
                    <a:pt x="300" y="778"/>
                  </a:lnTo>
                  <a:lnTo>
                    <a:pt x="294" y="778"/>
                  </a:lnTo>
                  <a:lnTo>
                    <a:pt x="294" y="778"/>
                  </a:lnTo>
                  <a:lnTo>
                    <a:pt x="288" y="778"/>
                  </a:lnTo>
                  <a:lnTo>
                    <a:pt x="286" y="774"/>
                  </a:lnTo>
                  <a:lnTo>
                    <a:pt x="286" y="774"/>
                  </a:lnTo>
                  <a:lnTo>
                    <a:pt x="284" y="774"/>
                  </a:lnTo>
                  <a:lnTo>
                    <a:pt x="280" y="774"/>
                  </a:lnTo>
                  <a:lnTo>
                    <a:pt x="276" y="776"/>
                  </a:lnTo>
                  <a:lnTo>
                    <a:pt x="276" y="776"/>
                  </a:lnTo>
                  <a:lnTo>
                    <a:pt x="272" y="780"/>
                  </a:lnTo>
                  <a:lnTo>
                    <a:pt x="272" y="784"/>
                  </a:lnTo>
                  <a:lnTo>
                    <a:pt x="272" y="784"/>
                  </a:lnTo>
                  <a:lnTo>
                    <a:pt x="270" y="782"/>
                  </a:lnTo>
                  <a:lnTo>
                    <a:pt x="270" y="782"/>
                  </a:lnTo>
                  <a:lnTo>
                    <a:pt x="266" y="778"/>
                  </a:lnTo>
                  <a:lnTo>
                    <a:pt x="262" y="774"/>
                  </a:lnTo>
                  <a:lnTo>
                    <a:pt x="262" y="774"/>
                  </a:lnTo>
                  <a:lnTo>
                    <a:pt x="260" y="772"/>
                  </a:lnTo>
                  <a:lnTo>
                    <a:pt x="256" y="772"/>
                  </a:lnTo>
                  <a:lnTo>
                    <a:pt x="256" y="772"/>
                  </a:lnTo>
                  <a:lnTo>
                    <a:pt x="254" y="766"/>
                  </a:lnTo>
                  <a:lnTo>
                    <a:pt x="254" y="766"/>
                  </a:lnTo>
                  <a:lnTo>
                    <a:pt x="250" y="764"/>
                  </a:lnTo>
                  <a:lnTo>
                    <a:pt x="250" y="764"/>
                  </a:lnTo>
                  <a:lnTo>
                    <a:pt x="248" y="760"/>
                  </a:lnTo>
                  <a:lnTo>
                    <a:pt x="248" y="760"/>
                  </a:lnTo>
                  <a:lnTo>
                    <a:pt x="246" y="760"/>
                  </a:lnTo>
                  <a:lnTo>
                    <a:pt x="244" y="760"/>
                  </a:lnTo>
                  <a:lnTo>
                    <a:pt x="244" y="760"/>
                  </a:lnTo>
                  <a:lnTo>
                    <a:pt x="240" y="754"/>
                  </a:lnTo>
                  <a:lnTo>
                    <a:pt x="240" y="754"/>
                  </a:lnTo>
                  <a:lnTo>
                    <a:pt x="240" y="750"/>
                  </a:lnTo>
                  <a:lnTo>
                    <a:pt x="240" y="750"/>
                  </a:lnTo>
                  <a:lnTo>
                    <a:pt x="230" y="754"/>
                  </a:lnTo>
                  <a:lnTo>
                    <a:pt x="230" y="754"/>
                  </a:lnTo>
                  <a:lnTo>
                    <a:pt x="230" y="750"/>
                  </a:lnTo>
                  <a:lnTo>
                    <a:pt x="230" y="750"/>
                  </a:lnTo>
                  <a:lnTo>
                    <a:pt x="236" y="748"/>
                  </a:lnTo>
                  <a:lnTo>
                    <a:pt x="236" y="748"/>
                  </a:lnTo>
                  <a:lnTo>
                    <a:pt x="236" y="744"/>
                  </a:lnTo>
                  <a:lnTo>
                    <a:pt x="236" y="744"/>
                  </a:lnTo>
                  <a:lnTo>
                    <a:pt x="244" y="744"/>
                  </a:lnTo>
                  <a:lnTo>
                    <a:pt x="244" y="744"/>
                  </a:lnTo>
                  <a:lnTo>
                    <a:pt x="244" y="740"/>
                  </a:lnTo>
                  <a:lnTo>
                    <a:pt x="244" y="740"/>
                  </a:lnTo>
                  <a:lnTo>
                    <a:pt x="248" y="738"/>
                  </a:lnTo>
                  <a:lnTo>
                    <a:pt x="248" y="738"/>
                  </a:lnTo>
                  <a:lnTo>
                    <a:pt x="250" y="734"/>
                  </a:lnTo>
                  <a:lnTo>
                    <a:pt x="250" y="732"/>
                  </a:lnTo>
                  <a:lnTo>
                    <a:pt x="250" y="732"/>
                  </a:lnTo>
                  <a:lnTo>
                    <a:pt x="244" y="730"/>
                  </a:lnTo>
                  <a:lnTo>
                    <a:pt x="244" y="730"/>
                  </a:lnTo>
                  <a:lnTo>
                    <a:pt x="242" y="726"/>
                  </a:lnTo>
                  <a:lnTo>
                    <a:pt x="242" y="726"/>
                  </a:lnTo>
                  <a:lnTo>
                    <a:pt x="252" y="726"/>
                  </a:lnTo>
                  <a:lnTo>
                    <a:pt x="252" y="726"/>
                  </a:lnTo>
                  <a:lnTo>
                    <a:pt x="252" y="720"/>
                  </a:lnTo>
                  <a:lnTo>
                    <a:pt x="252" y="720"/>
                  </a:lnTo>
                  <a:lnTo>
                    <a:pt x="254" y="720"/>
                  </a:lnTo>
                  <a:lnTo>
                    <a:pt x="256" y="720"/>
                  </a:lnTo>
                  <a:lnTo>
                    <a:pt x="256" y="720"/>
                  </a:lnTo>
                  <a:lnTo>
                    <a:pt x="258" y="718"/>
                  </a:lnTo>
                  <a:lnTo>
                    <a:pt x="260" y="716"/>
                  </a:lnTo>
                  <a:lnTo>
                    <a:pt x="260" y="716"/>
                  </a:lnTo>
                  <a:lnTo>
                    <a:pt x="268" y="712"/>
                  </a:lnTo>
                  <a:lnTo>
                    <a:pt x="268" y="710"/>
                  </a:lnTo>
                  <a:lnTo>
                    <a:pt x="268" y="710"/>
                  </a:lnTo>
                  <a:lnTo>
                    <a:pt x="266" y="710"/>
                  </a:lnTo>
                  <a:lnTo>
                    <a:pt x="266" y="710"/>
                  </a:lnTo>
                  <a:lnTo>
                    <a:pt x="264" y="712"/>
                  </a:lnTo>
                  <a:lnTo>
                    <a:pt x="264" y="712"/>
                  </a:lnTo>
                  <a:lnTo>
                    <a:pt x="260" y="712"/>
                  </a:lnTo>
                  <a:lnTo>
                    <a:pt x="262" y="708"/>
                  </a:lnTo>
                  <a:lnTo>
                    <a:pt x="264" y="704"/>
                  </a:lnTo>
                  <a:lnTo>
                    <a:pt x="264" y="704"/>
                  </a:lnTo>
                  <a:lnTo>
                    <a:pt x="270" y="702"/>
                  </a:lnTo>
                  <a:lnTo>
                    <a:pt x="274" y="702"/>
                  </a:lnTo>
                  <a:lnTo>
                    <a:pt x="276" y="700"/>
                  </a:lnTo>
                  <a:lnTo>
                    <a:pt x="276" y="700"/>
                  </a:lnTo>
                  <a:lnTo>
                    <a:pt x="278" y="690"/>
                  </a:lnTo>
                  <a:lnTo>
                    <a:pt x="278" y="690"/>
                  </a:lnTo>
                  <a:lnTo>
                    <a:pt x="278" y="686"/>
                  </a:lnTo>
                  <a:lnTo>
                    <a:pt x="276" y="684"/>
                  </a:lnTo>
                  <a:lnTo>
                    <a:pt x="276" y="684"/>
                  </a:lnTo>
                  <a:lnTo>
                    <a:pt x="276" y="680"/>
                  </a:lnTo>
                  <a:lnTo>
                    <a:pt x="276" y="678"/>
                  </a:lnTo>
                  <a:lnTo>
                    <a:pt x="276" y="676"/>
                  </a:lnTo>
                  <a:lnTo>
                    <a:pt x="274" y="674"/>
                  </a:lnTo>
                  <a:lnTo>
                    <a:pt x="274" y="674"/>
                  </a:lnTo>
                  <a:lnTo>
                    <a:pt x="272" y="672"/>
                  </a:lnTo>
                  <a:lnTo>
                    <a:pt x="274" y="672"/>
                  </a:lnTo>
                  <a:lnTo>
                    <a:pt x="276" y="668"/>
                  </a:lnTo>
                  <a:lnTo>
                    <a:pt x="276" y="668"/>
                  </a:lnTo>
                  <a:lnTo>
                    <a:pt x="276" y="666"/>
                  </a:lnTo>
                  <a:lnTo>
                    <a:pt x="274" y="666"/>
                  </a:lnTo>
                  <a:lnTo>
                    <a:pt x="270" y="664"/>
                  </a:lnTo>
                  <a:lnTo>
                    <a:pt x="270" y="664"/>
                  </a:lnTo>
                  <a:lnTo>
                    <a:pt x="270" y="662"/>
                  </a:lnTo>
                  <a:lnTo>
                    <a:pt x="270" y="662"/>
                  </a:lnTo>
                  <a:lnTo>
                    <a:pt x="272" y="660"/>
                  </a:lnTo>
                  <a:lnTo>
                    <a:pt x="270" y="656"/>
                  </a:lnTo>
                  <a:lnTo>
                    <a:pt x="270" y="656"/>
                  </a:lnTo>
                  <a:lnTo>
                    <a:pt x="252" y="650"/>
                  </a:lnTo>
                  <a:lnTo>
                    <a:pt x="252" y="650"/>
                  </a:lnTo>
                  <a:lnTo>
                    <a:pt x="248" y="648"/>
                  </a:lnTo>
                  <a:lnTo>
                    <a:pt x="244" y="646"/>
                  </a:lnTo>
                  <a:lnTo>
                    <a:pt x="244" y="646"/>
                  </a:lnTo>
                  <a:lnTo>
                    <a:pt x="242" y="644"/>
                  </a:lnTo>
                  <a:lnTo>
                    <a:pt x="242" y="642"/>
                  </a:lnTo>
                  <a:lnTo>
                    <a:pt x="242" y="642"/>
                  </a:lnTo>
                  <a:lnTo>
                    <a:pt x="238" y="640"/>
                  </a:lnTo>
                  <a:lnTo>
                    <a:pt x="234" y="640"/>
                  </a:lnTo>
                  <a:lnTo>
                    <a:pt x="234" y="640"/>
                  </a:lnTo>
                  <a:lnTo>
                    <a:pt x="230" y="642"/>
                  </a:lnTo>
                  <a:lnTo>
                    <a:pt x="230" y="642"/>
                  </a:lnTo>
                  <a:lnTo>
                    <a:pt x="222" y="646"/>
                  </a:lnTo>
                  <a:lnTo>
                    <a:pt x="222" y="646"/>
                  </a:lnTo>
                  <a:lnTo>
                    <a:pt x="220" y="642"/>
                  </a:lnTo>
                  <a:lnTo>
                    <a:pt x="220" y="638"/>
                  </a:lnTo>
                  <a:lnTo>
                    <a:pt x="218" y="636"/>
                  </a:lnTo>
                  <a:lnTo>
                    <a:pt x="218" y="636"/>
                  </a:lnTo>
                  <a:lnTo>
                    <a:pt x="212" y="634"/>
                  </a:lnTo>
                  <a:lnTo>
                    <a:pt x="212" y="634"/>
                  </a:lnTo>
                  <a:lnTo>
                    <a:pt x="210" y="630"/>
                  </a:lnTo>
                  <a:lnTo>
                    <a:pt x="210" y="628"/>
                  </a:lnTo>
                  <a:lnTo>
                    <a:pt x="208" y="628"/>
                  </a:lnTo>
                  <a:lnTo>
                    <a:pt x="208" y="628"/>
                  </a:lnTo>
                  <a:lnTo>
                    <a:pt x="204" y="630"/>
                  </a:lnTo>
                  <a:lnTo>
                    <a:pt x="198" y="626"/>
                  </a:lnTo>
                  <a:lnTo>
                    <a:pt x="198" y="626"/>
                  </a:lnTo>
                  <a:lnTo>
                    <a:pt x="194" y="626"/>
                  </a:lnTo>
                  <a:lnTo>
                    <a:pt x="190" y="626"/>
                  </a:lnTo>
                  <a:lnTo>
                    <a:pt x="190" y="626"/>
                  </a:lnTo>
                  <a:lnTo>
                    <a:pt x="188" y="626"/>
                  </a:lnTo>
                  <a:lnTo>
                    <a:pt x="186" y="624"/>
                  </a:lnTo>
                  <a:lnTo>
                    <a:pt x="186" y="622"/>
                  </a:lnTo>
                  <a:lnTo>
                    <a:pt x="186" y="620"/>
                  </a:lnTo>
                  <a:lnTo>
                    <a:pt x="186" y="620"/>
                  </a:lnTo>
                  <a:lnTo>
                    <a:pt x="184" y="620"/>
                  </a:lnTo>
                  <a:lnTo>
                    <a:pt x="184" y="618"/>
                  </a:lnTo>
                  <a:lnTo>
                    <a:pt x="182" y="614"/>
                  </a:lnTo>
                  <a:lnTo>
                    <a:pt x="182" y="614"/>
                  </a:lnTo>
                  <a:lnTo>
                    <a:pt x="182" y="612"/>
                  </a:lnTo>
                  <a:lnTo>
                    <a:pt x="180" y="608"/>
                  </a:lnTo>
                  <a:lnTo>
                    <a:pt x="180" y="608"/>
                  </a:lnTo>
                  <a:lnTo>
                    <a:pt x="180" y="606"/>
                  </a:lnTo>
                  <a:lnTo>
                    <a:pt x="178" y="606"/>
                  </a:lnTo>
                  <a:lnTo>
                    <a:pt x="174" y="606"/>
                  </a:lnTo>
                  <a:lnTo>
                    <a:pt x="174" y="606"/>
                  </a:lnTo>
                  <a:lnTo>
                    <a:pt x="170" y="604"/>
                  </a:lnTo>
                  <a:lnTo>
                    <a:pt x="170" y="604"/>
                  </a:lnTo>
                  <a:lnTo>
                    <a:pt x="168" y="606"/>
                  </a:lnTo>
                  <a:lnTo>
                    <a:pt x="168" y="606"/>
                  </a:lnTo>
                  <a:lnTo>
                    <a:pt x="166" y="608"/>
                  </a:lnTo>
                  <a:lnTo>
                    <a:pt x="162" y="608"/>
                  </a:lnTo>
                  <a:lnTo>
                    <a:pt x="160" y="604"/>
                  </a:lnTo>
                  <a:lnTo>
                    <a:pt x="160" y="588"/>
                  </a:lnTo>
                  <a:lnTo>
                    <a:pt x="160" y="588"/>
                  </a:lnTo>
                  <a:lnTo>
                    <a:pt x="158" y="586"/>
                  </a:lnTo>
                  <a:lnTo>
                    <a:pt x="156" y="584"/>
                  </a:lnTo>
                  <a:lnTo>
                    <a:pt x="154" y="584"/>
                  </a:lnTo>
                  <a:lnTo>
                    <a:pt x="154" y="580"/>
                  </a:lnTo>
                  <a:lnTo>
                    <a:pt x="154" y="580"/>
                  </a:lnTo>
                  <a:lnTo>
                    <a:pt x="156" y="578"/>
                  </a:lnTo>
                  <a:lnTo>
                    <a:pt x="158" y="578"/>
                  </a:lnTo>
                  <a:lnTo>
                    <a:pt x="162" y="580"/>
                  </a:lnTo>
                  <a:lnTo>
                    <a:pt x="164" y="580"/>
                  </a:lnTo>
                  <a:lnTo>
                    <a:pt x="164" y="580"/>
                  </a:lnTo>
                  <a:lnTo>
                    <a:pt x="166" y="578"/>
                  </a:lnTo>
                  <a:lnTo>
                    <a:pt x="166" y="576"/>
                  </a:lnTo>
                  <a:lnTo>
                    <a:pt x="164" y="570"/>
                  </a:lnTo>
                  <a:lnTo>
                    <a:pt x="164" y="570"/>
                  </a:lnTo>
                  <a:lnTo>
                    <a:pt x="160" y="566"/>
                  </a:lnTo>
                  <a:lnTo>
                    <a:pt x="156" y="562"/>
                  </a:lnTo>
                  <a:lnTo>
                    <a:pt x="156" y="562"/>
                  </a:lnTo>
                  <a:lnTo>
                    <a:pt x="154" y="560"/>
                  </a:lnTo>
                  <a:lnTo>
                    <a:pt x="154" y="558"/>
                  </a:lnTo>
                  <a:lnTo>
                    <a:pt x="154" y="550"/>
                  </a:lnTo>
                  <a:lnTo>
                    <a:pt x="154" y="550"/>
                  </a:lnTo>
                  <a:lnTo>
                    <a:pt x="152" y="544"/>
                  </a:lnTo>
                  <a:lnTo>
                    <a:pt x="150" y="540"/>
                  </a:lnTo>
                  <a:lnTo>
                    <a:pt x="150" y="540"/>
                  </a:lnTo>
                  <a:lnTo>
                    <a:pt x="150" y="536"/>
                  </a:lnTo>
                  <a:lnTo>
                    <a:pt x="148" y="536"/>
                  </a:lnTo>
                  <a:lnTo>
                    <a:pt x="146" y="534"/>
                  </a:lnTo>
                  <a:lnTo>
                    <a:pt x="146" y="532"/>
                  </a:lnTo>
                  <a:lnTo>
                    <a:pt x="146" y="532"/>
                  </a:lnTo>
                  <a:lnTo>
                    <a:pt x="144" y="530"/>
                  </a:lnTo>
                  <a:lnTo>
                    <a:pt x="142" y="530"/>
                  </a:lnTo>
                  <a:lnTo>
                    <a:pt x="138" y="528"/>
                  </a:lnTo>
                  <a:lnTo>
                    <a:pt x="138" y="528"/>
                  </a:lnTo>
                  <a:lnTo>
                    <a:pt x="132" y="526"/>
                  </a:lnTo>
                  <a:lnTo>
                    <a:pt x="132" y="526"/>
                  </a:lnTo>
                  <a:lnTo>
                    <a:pt x="130" y="526"/>
                  </a:lnTo>
                  <a:lnTo>
                    <a:pt x="126" y="528"/>
                  </a:lnTo>
                  <a:lnTo>
                    <a:pt x="126" y="528"/>
                  </a:lnTo>
                  <a:lnTo>
                    <a:pt x="124" y="528"/>
                  </a:lnTo>
                  <a:lnTo>
                    <a:pt x="124" y="526"/>
                  </a:lnTo>
                  <a:lnTo>
                    <a:pt x="122" y="524"/>
                  </a:lnTo>
                  <a:lnTo>
                    <a:pt x="122" y="524"/>
                  </a:lnTo>
                  <a:lnTo>
                    <a:pt x="120" y="518"/>
                  </a:lnTo>
                  <a:lnTo>
                    <a:pt x="120" y="518"/>
                  </a:lnTo>
                  <a:lnTo>
                    <a:pt x="116" y="512"/>
                  </a:lnTo>
                  <a:lnTo>
                    <a:pt x="116" y="512"/>
                  </a:lnTo>
                  <a:lnTo>
                    <a:pt x="114" y="510"/>
                  </a:lnTo>
                  <a:lnTo>
                    <a:pt x="112" y="510"/>
                  </a:lnTo>
                  <a:lnTo>
                    <a:pt x="112" y="510"/>
                  </a:lnTo>
                  <a:lnTo>
                    <a:pt x="110" y="508"/>
                  </a:lnTo>
                  <a:lnTo>
                    <a:pt x="110" y="508"/>
                  </a:lnTo>
                  <a:lnTo>
                    <a:pt x="110" y="498"/>
                  </a:lnTo>
                  <a:lnTo>
                    <a:pt x="110" y="498"/>
                  </a:lnTo>
                  <a:lnTo>
                    <a:pt x="106" y="500"/>
                  </a:lnTo>
                  <a:lnTo>
                    <a:pt x="104" y="500"/>
                  </a:lnTo>
                  <a:lnTo>
                    <a:pt x="102" y="498"/>
                  </a:lnTo>
                  <a:lnTo>
                    <a:pt x="102" y="498"/>
                  </a:lnTo>
                  <a:lnTo>
                    <a:pt x="102" y="494"/>
                  </a:lnTo>
                  <a:lnTo>
                    <a:pt x="100" y="494"/>
                  </a:lnTo>
                  <a:lnTo>
                    <a:pt x="100" y="494"/>
                  </a:lnTo>
                  <a:lnTo>
                    <a:pt x="102" y="490"/>
                  </a:lnTo>
                  <a:lnTo>
                    <a:pt x="102" y="486"/>
                  </a:lnTo>
                  <a:lnTo>
                    <a:pt x="104" y="486"/>
                  </a:lnTo>
                  <a:lnTo>
                    <a:pt x="104" y="486"/>
                  </a:lnTo>
                  <a:lnTo>
                    <a:pt x="108" y="482"/>
                  </a:lnTo>
                  <a:lnTo>
                    <a:pt x="110" y="480"/>
                  </a:lnTo>
                  <a:lnTo>
                    <a:pt x="110" y="480"/>
                  </a:lnTo>
                  <a:lnTo>
                    <a:pt x="112" y="480"/>
                  </a:lnTo>
                  <a:lnTo>
                    <a:pt x="112" y="480"/>
                  </a:lnTo>
                  <a:lnTo>
                    <a:pt x="114" y="470"/>
                  </a:lnTo>
                  <a:lnTo>
                    <a:pt x="112" y="462"/>
                  </a:lnTo>
                  <a:lnTo>
                    <a:pt x="116" y="460"/>
                  </a:lnTo>
                  <a:lnTo>
                    <a:pt x="116" y="460"/>
                  </a:lnTo>
                  <a:lnTo>
                    <a:pt x="116" y="458"/>
                  </a:lnTo>
                  <a:lnTo>
                    <a:pt x="118" y="456"/>
                  </a:lnTo>
                  <a:lnTo>
                    <a:pt x="118" y="456"/>
                  </a:lnTo>
                  <a:lnTo>
                    <a:pt x="116" y="452"/>
                  </a:lnTo>
                  <a:lnTo>
                    <a:pt x="114" y="450"/>
                  </a:lnTo>
                  <a:lnTo>
                    <a:pt x="114" y="450"/>
                  </a:lnTo>
                  <a:lnTo>
                    <a:pt x="118" y="440"/>
                  </a:lnTo>
                  <a:lnTo>
                    <a:pt x="118" y="440"/>
                  </a:lnTo>
                  <a:lnTo>
                    <a:pt x="120" y="442"/>
                  </a:lnTo>
                  <a:lnTo>
                    <a:pt x="120" y="442"/>
                  </a:lnTo>
                  <a:lnTo>
                    <a:pt x="120" y="442"/>
                  </a:lnTo>
                  <a:lnTo>
                    <a:pt x="122" y="440"/>
                  </a:lnTo>
                  <a:lnTo>
                    <a:pt x="122" y="440"/>
                  </a:lnTo>
                  <a:lnTo>
                    <a:pt x="126" y="442"/>
                  </a:lnTo>
                  <a:lnTo>
                    <a:pt x="130" y="442"/>
                  </a:lnTo>
                  <a:lnTo>
                    <a:pt x="130" y="442"/>
                  </a:lnTo>
                  <a:lnTo>
                    <a:pt x="132" y="440"/>
                  </a:lnTo>
                  <a:lnTo>
                    <a:pt x="136" y="436"/>
                  </a:lnTo>
                  <a:lnTo>
                    <a:pt x="136" y="436"/>
                  </a:lnTo>
                  <a:lnTo>
                    <a:pt x="140" y="438"/>
                  </a:lnTo>
                  <a:lnTo>
                    <a:pt x="142" y="438"/>
                  </a:lnTo>
                  <a:lnTo>
                    <a:pt x="142" y="438"/>
                  </a:lnTo>
                  <a:lnTo>
                    <a:pt x="146" y="438"/>
                  </a:lnTo>
                  <a:lnTo>
                    <a:pt x="148" y="436"/>
                  </a:lnTo>
                  <a:lnTo>
                    <a:pt x="148" y="436"/>
                  </a:lnTo>
                  <a:lnTo>
                    <a:pt x="144" y="436"/>
                  </a:lnTo>
                  <a:lnTo>
                    <a:pt x="144" y="436"/>
                  </a:lnTo>
                  <a:lnTo>
                    <a:pt x="142" y="432"/>
                  </a:lnTo>
                  <a:lnTo>
                    <a:pt x="138" y="428"/>
                  </a:lnTo>
                  <a:lnTo>
                    <a:pt x="138" y="428"/>
                  </a:lnTo>
                  <a:lnTo>
                    <a:pt x="128" y="430"/>
                  </a:lnTo>
                  <a:lnTo>
                    <a:pt x="128" y="430"/>
                  </a:lnTo>
                  <a:lnTo>
                    <a:pt x="116" y="420"/>
                  </a:lnTo>
                  <a:lnTo>
                    <a:pt x="116" y="420"/>
                  </a:lnTo>
                  <a:lnTo>
                    <a:pt x="118" y="418"/>
                  </a:lnTo>
                  <a:lnTo>
                    <a:pt x="118" y="418"/>
                  </a:lnTo>
                  <a:lnTo>
                    <a:pt x="118" y="418"/>
                  </a:lnTo>
                  <a:lnTo>
                    <a:pt x="118" y="416"/>
                  </a:lnTo>
                  <a:lnTo>
                    <a:pt x="118" y="416"/>
                  </a:lnTo>
                  <a:lnTo>
                    <a:pt x="110" y="420"/>
                  </a:lnTo>
                  <a:lnTo>
                    <a:pt x="110" y="420"/>
                  </a:lnTo>
                  <a:lnTo>
                    <a:pt x="110" y="420"/>
                  </a:lnTo>
                  <a:lnTo>
                    <a:pt x="108" y="420"/>
                  </a:lnTo>
                  <a:lnTo>
                    <a:pt x="108" y="420"/>
                  </a:lnTo>
                  <a:lnTo>
                    <a:pt x="116" y="414"/>
                  </a:lnTo>
                  <a:lnTo>
                    <a:pt x="116" y="414"/>
                  </a:lnTo>
                  <a:lnTo>
                    <a:pt x="140" y="398"/>
                  </a:lnTo>
                  <a:lnTo>
                    <a:pt x="156" y="388"/>
                  </a:lnTo>
                  <a:lnTo>
                    <a:pt x="162" y="382"/>
                  </a:lnTo>
                  <a:lnTo>
                    <a:pt x="162" y="382"/>
                  </a:lnTo>
                  <a:lnTo>
                    <a:pt x="162" y="378"/>
                  </a:lnTo>
                  <a:lnTo>
                    <a:pt x="160" y="372"/>
                  </a:lnTo>
                  <a:lnTo>
                    <a:pt x="160" y="372"/>
                  </a:lnTo>
                  <a:lnTo>
                    <a:pt x="160" y="370"/>
                  </a:lnTo>
                  <a:lnTo>
                    <a:pt x="158" y="370"/>
                  </a:lnTo>
                  <a:lnTo>
                    <a:pt x="152" y="368"/>
                  </a:lnTo>
                  <a:lnTo>
                    <a:pt x="152" y="368"/>
                  </a:lnTo>
                  <a:lnTo>
                    <a:pt x="150" y="366"/>
                  </a:lnTo>
                  <a:lnTo>
                    <a:pt x="150" y="364"/>
                  </a:lnTo>
                  <a:lnTo>
                    <a:pt x="150" y="358"/>
                  </a:lnTo>
                  <a:lnTo>
                    <a:pt x="150" y="358"/>
                  </a:lnTo>
                  <a:lnTo>
                    <a:pt x="150" y="354"/>
                  </a:lnTo>
                  <a:lnTo>
                    <a:pt x="154" y="350"/>
                  </a:lnTo>
                  <a:lnTo>
                    <a:pt x="154" y="350"/>
                  </a:lnTo>
                  <a:lnTo>
                    <a:pt x="154" y="348"/>
                  </a:lnTo>
                  <a:lnTo>
                    <a:pt x="154" y="346"/>
                  </a:lnTo>
                  <a:lnTo>
                    <a:pt x="152" y="340"/>
                  </a:lnTo>
                  <a:lnTo>
                    <a:pt x="152" y="340"/>
                  </a:lnTo>
                  <a:lnTo>
                    <a:pt x="150" y="336"/>
                  </a:lnTo>
                  <a:lnTo>
                    <a:pt x="148" y="334"/>
                  </a:lnTo>
                  <a:lnTo>
                    <a:pt x="148" y="334"/>
                  </a:lnTo>
                  <a:lnTo>
                    <a:pt x="144" y="330"/>
                  </a:lnTo>
                  <a:lnTo>
                    <a:pt x="144" y="326"/>
                  </a:lnTo>
                  <a:lnTo>
                    <a:pt x="144" y="326"/>
                  </a:lnTo>
                  <a:lnTo>
                    <a:pt x="142" y="318"/>
                  </a:lnTo>
                  <a:lnTo>
                    <a:pt x="142" y="318"/>
                  </a:lnTo>
                  <a:lnTo>
                    <a:pt x="142" y="314"/>
                  </a:lnTo>
                  <a:lnTo>
                    <a:pt x="142" y="310"/>
                  </a:lnTo>
                  <a:lnTo>
                    <a:pt x="142" y="310"/>
                  </a:lnTo>
                  <a:lnTo>
                    <a:pt x="144" y="308"/>
                  </a:lnTo>
                  <a:lnTo>
                    <a:pt x="142" y="306"/>
                  </a:lnTo>
                  <a:lnTo>
                    <a:pt x="142" y="302"/>
                  </a:lnTo>
                  <a:lnTo>
                    <a:pt x="142" y="302"/>
                  </a:lnTo>
                  <a:lnTo>
                    <a:pt x="142" y="298"/>
                  </a:lnTo>
                  <a:lnTo>
                    <a:pt x="140" y="294"/>
                  </a:lnTo>
                  <a:lnTo>
                    <a:pt x="140" y="294"/>
                  </a:lnTo>
                  <a:lnTo>
                    <a:pt x="134" y="268"/>
                  </a:lnTo>
                  <a:lnTo>
                    <a:pt x="134" y="268"/>
                  </a:lnTo>
                  <a:lnTo>
                    <a:pt x="134" y="266"/>
                  </a:lnTo>
                  <a:lnTo>
                    <a:pt x="136" y="262"/>
                  </a:lnTo>
                  <a:lnTo>
                    <a:pt x="142" y="256"/>
                  </a:lnTo>
                  <a:lnTo>
                    <a:pt x="142" y="256"/>
                  </a:lnTo>
                  <a:lnTo>
                    <a:pt x="142" y="252"/>
                  </a:lnTo>
                  <a:lnTo>
                    <a:pt x="140" y="248"/>
                  </a:lnTo>
                  <a:lnTo>
                    <a:pt x="138" y="244"/>
                  </a:lnTo>
                  <a:lnTo>
                    <a:pt x="138" y="244"/>
                  </a:lnTo>
                  <a:lnTo>
                    <a:pt x="136" y="246"/>
                  </a:lnTo>
                  <a:lnTo>
                    <a:pt x="134" y="244"/>
                  </a:lnTo>
                  <a:lnTo>
                    <a:pt x="134" y="244"/>
                  </a:lnTo>
                  <a:lnTo>
                    <a:pt x="132" y="240"/>
                  </a:lnTo>
                  <a:lnTo>
                    <a:pt x="132" y="234"/>
                  </a:lnTo>
                  <a:lnTo>
                    <a:pt x="134" y="226"/>
                  </a:lnTo>
                  <a:lnTo>
                    <a:pt x="138" y="222"/>
                  </a:lnTo>
                  <a:lnTo>
                    <a:pt x="138" y="224"/>
                  </a:lnTo>
                  <a:lnTo>
                    <a:pt x="138" y="224"/>
                  </a:lnTo>
                  <a:lnTo>
                    <a:pt x="140" y="226"/>
                  </a:lnTo>
                  <a:lnTo>
                    <a:pt x="140" y="226"/>
                  </a:lnTo>
                  <a:lnTo>
                    <a:pt x="142" y="226"/>
                  </a:lnTo>
                  <a:lnTo>
                    <a:pt x="142" y="226"/>
                  </a:lnTo>
                  <a:lnTo>
                    <a:pt x="144" y="220"/>
                  </a:lnTo>
                  <a:lnTo>
                    <a:pt x="144" y="216"/>
                  </a:lnTo>
                  <a:lnTo>
                    <a:pt x="144" y="216"/>
                  </a:lnTo>
                  <a:lnTo>
                    <a:pt x="144" y="210"/>
                  </a:lnTo>
                  <a:lnTo>
                    <a:pt x="142" y="208"/>
                  </a:lnTo>
                  <a:lnTo>
                    <a:pt x="142" y="208"/>
                  </a:lnTo>
                  <a:lnTo>
                    <a:pt x="144" y="208"/>
                  </a:lnTo>
                  <a:lnTo>
                    <a:pt x="146" y="208"/>
                  </a:lnTo>
                  <a:lnTo>
                    <a:pt x="146" y="208"/>
                  </a:lnTo>
                  <a:lnTo>
                    <a:pt x="146" y="208"/>
                  </a:lnTo>
                  <a:lnTo>
                    <a:pt x="148" y="206"/>
                  </a:lnTo>
                  <a:lnTo>
                    <a:pt x="152" y="204"/>
                  </a:lnTo>
                  <a:lnTo>
                    <a:pt x="156" y="202"/>
                  </a:lnTo>
                  <a:lnTo>
                    <a:pt x="156" y="202"/>
                  </a:lnTo>
                  <a:lnTo>
                    <a:pt x="160" y="202"/>
                  </a:lnTo>
                  <a:lnTo>
                    <a:pt x="160" y="202"/>
                  </a:lnTo>
                  <a:lnTo>
                    <a:pt x="162" y="204"/>
                  </a:lnTo>
                  <a:lnTo>
                    <a:pt x="164" y="206"/>
                  </a:lnTo>
                  <a:lnTo>
                    <a:pt x="164" y="202"/>
                  </a:lnTo>
                  <a:lnTo>
                    <a:pt x="164" y="202"/>
                  </a:lnTo>
                  <a:lnTo>
                    <a:pt x="168" y="202"/>
                  </a:lnTo>
                  <a:lnTo>
                    <a:pt x="168" y="202"/>
                  </a:lnTo>
                  <a:lnTo>
                    <a:pt x="168" y="200"/>
                  </a:lnTo>
                  <a:lnTo>
                    <a:pt x="168" y="200"/>
                  </a:lnTo>
                  <a:lnTo>
                    <a:pt x="170" y="200"/>
                  </a:lnTo>
                  <a:lnTo>
                    <a:pt x="170" y="200"/>
                  </a:lnTo>
                  <a:lnTo>
                    <a:pt x="180" y="206"/>
                  </a:lnTo>
                  <a:lnTo>
                    <a:pt x="180" y="206"/>
                  </a:lnTo>
                  <a:lnTo>
                    <a:pt x="172" y="210"/>
                  </a:lnTo>
                  <a:lnTo>
                    <a:pt x="172" y="210"/>
                  </a:lnTo>
                  <a:lnTo>
                    <a:pt x="172" y="212"/>
                  </a:lnTo>
                  <a:lnTo>
                    <a:pt x="172" y="212"/>
                  </a:lnTo>
                  <a:lnTo>
                    <a:pt x="178" y="214"/>
                  </a:lnTo>
                  <a:lnTo>
                    <a:pt x="182" y="214"/>
                  </a:lnTo>
                  <a:lnTo>
                    <a:pt x="182" y="214"/>
                  </a:lnTo>
                  <a:lnTo>
                    <a:pt x="186" y="214"/>
                  </a:lnTo>
                  <a:lnTo>
                    <a:pt x="186" y="214"/>
                  </a:lnTo>
                  <a:lnTo>
                    <a:pt x="188" y="214"/>
                  </a:lnTo>
                  <a:lnTo>
                    <a:pt x="190" y="214"/>
                  </a:lnTo>
                  <a:lnTo>
                    <a:pt x="190" y="214"/>
                  </a:lnTo>
                  <a:lnTo>
                    <a:pt x="190" y="216"/>
                  </a:lnTo>
                  <a:lnTo>
                    <a:pt x="190" y="216"/>
                  </a:lnTo>
                  <a:lnTo>
                    <a:pt x="196" y="216"/>
                  </a:lnTo>
                  <a:lnTo>
                    <a:pt x="204" y="218"/>
                  </a:lnTo>
                  <a:lnTo>
                    <a:pt x="204" y="218"/>
                  </a:lnTo>
                  <a:lnTo>
                    <a:pt x="208" y="222"/>
                  </a:lnTo>
                  <a:lnTo>
                    <a:pt x="208" y="222"/>
                  </a:lnTo>
                  <a:lnTo>
                    <a:pt x="210" y="222"/>
                  </a:lnTo>
                  <a:lnTo>
                    <a:pt x="214" y="222"/>
                  </a:lnTo>
                  <a:lnTo>
                    <a:pt x="214" y="222"/>
                  </a:lnTo>
                  <a:lnTo>
                    <a:pt x="216" y="224"/>
                  </a:lnTo>
                  <a:lnTo>
                    <a:pt x="218" y="226"/>
                  </a:lnTo>
                  <a:lnTo>
                    <a:pt x="218" y="226"/>
                  </a:lnTo>
                  <a:lnTo>
                    <a:pt x="220" y="226"/>
                  </a:lnTo>
                  <a:lnTo>
                    <a:pt x="222" y="226"/>
                  </a:lnTo>
                  <a:lnTo>
                    <a:pt x="222" y="226"/>
                  </a:lnTo>
                  <a:lnTo>
                    <a:pt x="226" y="228"/>
                  </a:lnTo>
                  <a:lnTo>
                    <a:pt x="232" y="230"/>
                  </a:lnTo>
                  <a:lnTo>
                    <a:pt x="232" y="230"/>
                  </a:lnTo>
                  <a:lnTo>
                    <a:pt x="238" y="232"/>
                  </a:lnTo>
                  <a:lnTo>
                    <a:pt x="238" y="232"/>
                  </a:lnTo>
                  <a:lnTo>
                    <a:pt x="242" y="236"/>
                  </a:lnTo>
                  <a:lnTo>
                    <a:pt x="242" y="236"/>
                  </a:lnTo>
                  <a:lnTo>
                    <a:pt x="248" y="236"/>
                  </a:lnTo>
                  <a:lnTo>
                    <a:pt x="248" y="236"/>
                  </a:lnTo>
                  <a:lnTo>
                    <a:pt x="256" y="242"/>
                  </a:lnTo>
                  <a:lnTo>
                    <a:pt x="262" y="250"/>
                  </a:lnTo>
                  <a:lnTo>
                    <a:pt x="262" y="250"/>
                  </a:lnTo>
                  <a:lnTo>
                    <a:pt x="266" y="248"/>
                  </a:lnTo>
                  <a:lnTo>
                    <a:pt x="266" y="248"/>
                  </a:lnTo>
                  <a:lnTo>
                    <a:pt x="268" y="250"/>
                  </a:lnTo>
                  <a:lnTo>
                    <a:pt x="270" y="254"/>
                  </a:lnTo>
                  <a:lnTo>
                    <a:pt x="270" y="254"/>
                  </a:lnTo>
                  <a:lnTo>
                    <a:pt x="276" y="254"/>
                  </a:lnTo>
                  <a:lnTo>
                    <a:pt x="286" y="264"/>
                  </a:lnTo>
                  <a:lnTo>
                    <a:pt x="286" y="264"/>
                  </a:lnTo>
                  <a:lnTo>
                    <a:pt x="288" y="270"/>
                  </a:lnTo>
                  <a:lnTo>
                    <a:pt x="288" y="274"/>
                  </a:lnTo>
                  <a:lnTo>
                    <a:pt x="286" y="280"/>
                  </a:lnTo>
                  <a:lnTo>
                    <a:pt x="284" y="282"/>
                  </a:lnTo>
                  <a:lnTo>
                    <a:pt x="284" y="282"/>
                  </a:lnTo>
                  <a:lnTo>
                    <a:pt x="282" y="284"/>
                  </a:lnTo>
                  <a:lnTo>
                    <a:pt x="280" y="286"/>
                  </a:lnTo>
                  <a:lnTo>
                    <a:pt x="280" y="286"/>
                  </a:lnTo>
                  <a:lnTo>
                    <a:pt x="280" y="288"/>
                  </a:lnTo>
                  <a:lnTo>
                    <a:pt x="278" y="288"/>
                  </a:lnTo>
                  <a:lnTo>
                    <a:pt x="276" y="288"/>
                  </a:lnTo>
                  <a:lnTo>
                    <a:pt x="276" y="288"/>
                  </a:lnTo>
                  <a:lnTo>
                    <a:pt x="272" y="294"/>
                  </a:lnTo>
                  <a:lnTo>
                    <a:pt x="272" y="294"/>
                  </a:lnTo>
                  <a:lnTo>
                    <a:pt x="266" y="296"/>
                  </a:lnTo>
                  <a:lnTo>
                    <a:pt x="266" y="296"/>
                  </a:lnTo>
                  <a:lnTo>
                    <a:pt x="262" y="298"/>
                  </a:lnTo>
                  <a:lnTo>
                    <a:pt x="262" y="298"/>
                  </a:lnTo>
                  <a:lnTo>
                    <a:pt x="258" y="298"/>
                  </a:lnTo>
                  <a:lnTo>
                    <a:pt x="256" y="298"/>
                  </a:lnTo>
                  <a:lnTo>
                    <a:pt x="256" y="298"/>
                  </a:lnTo>
                  <a:lnTo>
                    <a:pt x="244" y="296"/>
                  </a:lnTo>
                  <a:lnTo>
                    <a:pt x="232" y="296"/>
                  </a:lnTo>
                  <a:lnTo>
                    <a:pt x="232" y="296"/>
                  </a:lnTo>
                  <a:lnTo>
                    <a:pt x="226" y="292"/>
                  </a:lnTo>
                  <a:lnTo>
                    <a:pt x="226" y="292"/>
                  </a:lnTo>
                  <a:lnTo>
                    <a:pt x="218" y="292"/>
                  </a:lnTo>
                  <a:lnTo>
                    <a:pt x="216" y="290"/>
                  </a:lnTo>
                  <a:lnTo>
                    <a:pt x="216" y="290"/>
                  </a:lnTo>
                  <a:lnTo>
                    <a:pt x="212" y="288"/>
                  </a:lnTo>
                  <a:lnTo>
                    <a:pt x="208" y="288"/>
                  </a:lnTo>
                  <a:lnTo>
                    <a:pt x="208" y="288"/>
                  </a:lnTo>
                  <a:lnTo>
                    <a:pt x="204" y="280"/>
                  </a:lnTo>
                  <a:lnTo>
                    <a:pt x="202" y="282"/>
                  </a:lnTo>
                  <a:lnTo>
                    <a:pt x="202" y="282"/>
                  </a:lnTo>
                  <a:lnTo>
                    <a:pt x="202" y="286"/>
                  </a:lnTo>
                  <a:lnTo>
                    <a:pt x="200" y="286"/>
                  </a:lnTo>
                  <a:lnTo>
                    <a:pt x="200" y="286"/>
                  </a:lnTo>
                  <a:lnTo>
                    <a:pt x="200" y="284"/>
                  </a:lnTo>
                  <a:lnTo>
                    <a:pt x="200" y="284"/>
                  </a:lnTo>
                  <a:lnTo>
                    <a:pt x="194" y="282"/>
                  </a:lnTo>
                  <a:lnTo>
                    <a:pt x="194" y="282"/>
                  </a:lnTo>
                  <a:lnTo>
                    <a:pt x="192" y="278"/>
                  </a:lnTo>
                  <a:lnTo>
                    <a:pt x="192" y="278"/>
                  </a:lnTo>
                  <a:lnTo>
                    <a:pt x="188" y="278"/>
                  </a:lnTo>
                  <a:lnTo>
                    <a:pt x="182" y="278"/>
                  </a:lnTo>
                  <a:lnTo>
                    <a:pt x="182" y="278"/>
                  </a:lnTo>
                  <a:lnTo>
                    <a:pt x="180" y="274"/>
                  </a:lnTo>
                  <a:lnTo>
                    <a:pt x="178" y="270"/>
                  </a:lnTo>
                  <a:lnTo>
                    <a:pt x="178" y="270"/>
                  </a:lnTo>
                  <a:lnTo>
                    <a:pt x="172" y="268"/>
                  </a:lnTo>
                  <a:lnTo>
                    <a:pt x="172" y="268"/>
                  </a:lnTo>
                  <a:lnTo>
                    <a:pt x="170" y="270"/>
                  </a:lnTo>
                  <a:lnTo>
                    <a:pt x="172" y="270"/>
                  </a:lnTo>
                  <a:lnTo>
                    <a:pt x="172" y="270"/>
                  </a:lnTo>
                  <a:lnTo>
                    <a:pt x="176" y="278"/>
                  </a:lnTo>
                  <a:lnTo>
                    <a:pt x="178" y="280"/>
                  </a:lnTo>
                  <a:lnTo>
                    <a:pt x="176" y="282"/>
                  </a:lnTo>
                  <a:lnTo>
                    <a:pt x="176" y="282"/>
                  </a:lnTo>
                  <a:lnTo>
                    <a:pt x="182" y="282"/>
                  </a:lnTo>
                  <a:lnTo>
                    <a:pt x="184" y="284"/>
                  </a:lnTo>
                  <a:lnTo>
                    <a:pt x="180" y="286"/>
                  </a:lnTo>
                  <a:lnTo>
                    <a:pt x="180" y="288"/>
                  </a:lnTo>
                  <a:lnTo>
                    <a:pt x="180" y="288"/>
                  </a:lnTo>
                  <a:lnTo>
                    <a:pt x="182" y="290"/>
                  </a:lnTo>
                  <a:lnTo>
                    <a:pt x="182" y="292"/>
                  </a:lnTo>
                  <a:lnTo>
                    <a:pt x="182" y="292"/>
                  </a:lnTo>
                  <a:lnTo>
                    <a:pt x="186" y="292"/>
                  </a:lnTo>
                  <a:lnTo>
                    <a:pt x="188" y="290"/>
                  </a:lnTo>
                  <a:lnTo>
                    <a:pt x="188" y="294"/>
                  </a:lnTo>
                  <a:lnTo>
                    <a:pt x="188" y="294"/>
                  </a:lnTo>
                  <a:lnTo>
                    <a:pt x="182" y="294"/>
                  </a:lnTo>
                  <a:lnTo>
                    <a:pt x="182" y="294"/>
                  </a:lnTo>
                  <a:lnTo>
                    <a:pt x="186" y="296"/>
                  </a:lnTo>
                  <a:lnTo>
                    <a:pt x="186" y="296"/>
                  </a:lnTo>
                  <a:lnTo>
                    <a:pt x="196" y="298"/>
                  </a:lnTo>
                  <a:lnTo>
                    <a:pt x="198" y="300"/>
                  </a:lnTo>
                  <a:lnTo>
                    <a:pt x="198" y="300"/>
                  </a:lnTo>
                  <a:lnTo>
                    <a:pt x="202" y="300"/>
                  </a:lnTo>
                  <a:lnTo>
                    <a:pt x="206" y="300"/>
                  </a:lnTo>
                  <a:lnTo>
                    <a:pt x="206" y="300"/>
                  </a:lnTo>
                  <a:lnTo>
                    <a:pt x="206" y="304"/>
                  </a:lnTo>
                  <a:lnTo>
                    <a:pt x="208" y="306"/>
                  </a:lnTo>
                  <a:lnTo>
                    <a:pt x="208" y="306"/>
                  </a:lnTo>
                  <a:lnTo>
                    <a:pt x="212" y="306"/>
                  </a:lnTo>
                  <a:lnTo>
                    <a:pt x="212" y="306"/>
                  </a:lnTo>
                  <a:lnTo>
                    <a:pt x="212" y="308"/>
                  </a:lnTo>
                  <a:lnTo>
                    <a:pt x="212" y="310"/>
                  </a:lnTo>
                  <a:lnTo>
                    <a:pt x="212" y="310"/>
                  </a:lnTo>
                  <a:lnTo>
                    <a:pt x="210" y="312"/>
                  </a:lnTo>
                  <a:lnTo>
                    <a:pt x="210" y="318"/>
                  </a:lnTo>
                  <a:lnTo>
                    <a:pt x="210" y="318"/>
                  </a:lnTo>
                  <a:lnTo>
                    <a:pt x="212" y="322"/>
                  </a:lnTo>
                  <a:lnTo>
                    <a:pt x="212" y="322"/>
                  </a:lnTo>
                  <a:lnTo>
                    <a:pt x="214" y="342"/>
                  </a:lnTo>
                  <a:lnTo>
                    <a:pt x="214" y="342"/>
                  </a:lnTo>
                  <a:lnTo>
                    <a:pt x="216" y="342"/>
                  </a:lnTo>
                  <a:lnTo>
                    <a:pt x="218" y="344"/>
                  </a:lnTo>
                  <a:lnTo>
                    <a:pt x="220" y="342"/>
                  </a:lnTo>
                  <a:lnTo>
                    <a:pt x="220" y="342"/>
                  </a:lnTo>
                  <a:lnTo>
                    <a:pt x="220" y="342"/>
                  </a:lnTo>
                  <a:lnTo>
                    <a:pt x="220" y="342"/>
                  </a:lnTo>
                  <a:lnTo>
                    <a:pt x="222" y="340"/>
                  </a:lnTo>
                  <a:lnTo>
                    <a:pt x="222" y="340"/>
                  </a:lnTo>
                  <a:lnTo>
                    <a:pt x="226" y="344"/>
                  </a:lnTo>
                  <a:lnTo>
                    <a:pt x="226" y="344"/>
                  </a:lnTo>
                  <a:lnTo>
                    <a:pt x="226" y="352"/>
                  </a:lnTo>
                  <a:lnTo>
                    <a:pt x="226" y="352"/>
                  </a:lnTo>
                  <a:lnTo>
                    <a:pt x="234" y="350"/>
                  </a:lnTo>
                  <a:lnTo>
                    <a:pt x="240" y="352"/>
                  </a:lnTo>
                  <a:lnTo>
                    <a:pt x="240" y="352"/>
                  </a:lnTo>
                  <a:lnTo>
                    <a:pt x="244" y="354"/>
                  </a:lnTo>
                  <a:lnTo>
                    <a:pt x="244" y="356"/>
                  </a:lnTo>
                  <a:lnTo>
                    <a:pt x="244" y="356"/>
                  </a:lnTo>
                  <a:lnTo>
                    <a:pt x="246" y="356"/>
                  </a:lnTo>
                  <a:lnTo>
                    <a:pt x="248" y="354"/>
                  </a:lnTo>
                  <a:lnTo>
                    <a:pt x="248" y="352"/>
                  </a:lnTo>
                  <a:lnTo>
                    <a:pt x="248" y="352"/>
                  </a:lnTo>
                  <a:lnTo>
                    <a:pt x="252" y="352"/>
                  </a:lnTo>
                  <a:lnTo>
                    <a:pt x="252" y="352"/>
                  </a:lnTo>
                  <a:lnTo>
                    <a:pt x="252" y="350"/>
                  </a:lnTo>
                  <a:lnTo>
                    <a:pt x="252" y="338"/>
                  </a:lnTo>
                  <a:lnTo>
                    <a:pt x="252" y="338"/>
                  </a:lnTo>
                  <a:lnTo>
                    <a:pt x="246" y="336"/>
                  </a:lnTo>
                  <a:lnTo>
                    <a:pt x="246" y="336"/>
                  </a:lnTo>
                  <a:lnTo>
                    <a:pt x="242" y="330"/>
                  </a:lnTo>
                  <a:lnTo>
                    <a:pt x="240" y="324"/>
                  </a:lnTo>
                  <a:lnTo>
                    <a:pt x="240" y="324"/>
                  </a:lnTo>
                  <a:lnTo>
                    <a:pt x="244" y="324"/>
                  </a:lnTo>
                  <a:lnTo>
                    <a:pt x="244" y="324"/>
                  </a:lnTo>
                  <a:lnTo>
                    <a:pt x="244" y="318"/>
                  </a:lnTo>
                  <a:lnTo>
                    <a:pt x="244" y="318"/>
                  </a:lnTo>
                  <a:lnTo>
                    <a:pt x="242" y="318"/>
                  </a:lnTo>
                  <a:lnTo>
                    <a:pt x="242" y="316"/>
                  </a:lnTo>
                  <a:lnTo>
                    <a:pt x="244" y="316"/>
                  </a:lnTo>
                  <a:lnTo>
                    <a:pt x="248" y="316"/>
                  </a:lnTo>
                  <a:lnTo>
                    <a:pt x="248" y="316"/>
                  </a:lnTo>
                  <a:lnTo>
                    <a:pt x="250" y="318"/>
                  </a:lnTo>
                  <a:lnTo>
                    <a:pt x="252" y="320"/>
                  </a:lnTo>
                  <a:lnTo>
                    <a:pt x="252" y="320"/>
                  </a:lnTo>
                  <a:lnTo>
                    <a:pt x="260" y="324"/>
                  </a:lnTo>
                  <a:lnTo>
                    <a:pt x="260" y="324"/>
                  </a:lnTo>
                  <a:lnTo>
                    <a:pt x="260" y="326"/>
                  </a:lnTo>
                  <a:lnTo>
                    <a:pt x="260" y="326"/>
                  </a:lnTo>
                  <a:lnTo>
                    <a:pt x="264" y="328"/>
                  </a:lnTo>
                  <a:lnTo>
                    <a:pt x="268" y="328"/>
                  </a:lnTo>
                  <a:lnTo>
                    <a:pt x="268" y="328"/>
                  </a:lnTo>
                  <a:lnTo>
                    <a:pt x="272" y="330"/>
                  </a:lnTo>
                  <a:lnTo>
                    <a:pt x="272" y="330"/>
                  </a:lnTo>
                  <a:lnTo>
                    <a:pt x="284" y="332"/>
                  </a:lnTo>
                  <a:lnTo>
                    <a:pt x="284" y="332"/>
                  </a:lnTo>
                  <a:lnTo>
                    <a:pt x="282" y="328"/>
                  </a:lnTo>
                  <a:lnTo>
                    <a:pt x="280" y="322"/>
                  </a:lnTo>
                  <a:lnTo>
                    <a:pt x="280" y="322"/>
                  </a:lnTo>
                  <a:lnTo>
                    <a:pt x="276" y="318"/>
                  </a:lnTo>
                  <a:lnTo>
                    <a:pt x="274" y="316"/>
                  </a:lnTo>
                  <a:lnTo>
                    <a:pt x="272" y="314"/>
                  </a:lnTo>
                  <a:lnTo>
                    <a:pt x="272" y="314"/>
                  </a:lnTo>
                  <a:lnTo>
                    <a:pt x="272" y="310"/>
                  </a:lnTo>
                  <a:lnTo>
                    <a:pt x="272" y="310"/>
                  </a:lnTo>
                  <a:lnTo>
                    <a:pt x="278" y="306"/>
                  </a:lnTo>
                  <a:lnTo>
                    <a:pt x="284" y="302"/>
                  </a:lnTo>
                  <a:lnTo>
                    <a:pt x="284" y="302"/>
                  </a:lnTo>
                  <a:lnTo>
                    <a:pt x="286" y="296"/>
                  </a:lnTo>
                  <a:lnTo>
                    <a:pt x="286" y="296"/>
                  </a:lnTo>
                  <a:lnTo>
                    <a:pt x="288" y="296"/>
                  </a:lnTo>
                  <a:lnTo>
                    <a:pt x="292" y="296"/>
                  </a:lnTo>
                  <a:lnTo>
                    <a:pt x="292" y="296"/>
                  </a:lnTo>
                  <a:lnTo>
                    <a:pt x="296" y="292"/>
                  </a:lnTo>
                  <a:lnTo>
                    <a:pt x="298" y="290"/>
                  </a:lnTo>
                  <a:lnTo>
                    <a:pt x="302" y="290"/>
                  </a:lnTo>
                  <a:lnTo>
                    <a:pt x="302" y="290"/>
                  </a:lnTo>
                  <a:lnTo>
                    <a:pt x="306" y="294"/>
                  </a:lnTo>
                  <a:lnTo>
                    <a:pt x="306" y="294"/>
                  </a:lnTo>
                  <a:lnTo>
                    <a:pt x="310" y="294"/>
                  </a:lnTo>
                  <a:lnTo>
                    <a:pt x="310" y="294"/>
                  </a:lnTo>
                  <a:lnTo>
                    <a:pt x="314" y="300"/>
                  </a:lnTo>
                  <a:lnTo>
                    <a:pt x="314" y="302"/>
                  </a:lnTo>
                  <a:lnTo>
                    <a:pt x="314" y="302"/>
                  </a:lnTo>
                  <a:lnTo>
                    <a:pt x="320" y="302"/>
                  </a:lnTo>
                  <a:lnTo>
                    <a:pt x="320" y="302"/>
                  </a:lnTo>
                  <a:lnTo>
                    <a:pt x="320" y="294"/>
                  </a:lnTo>
                  <a:lnTo>
                    <a:pt x="324" y="286"/>
                  </a:lnTo>
                  <a:lnTo>
                    <a:pt x="324" y="286"/>
                  </a:lnTo>
                  <a:lnTo>
                    <a:pt x="328" y="282"/>
                  </a:lnTo>
                  <a:lnTo>
                    <a:pt x="328" y="282"/>
                  </a:lnTo>
                  <a:lnTo>
                    <a:pt x="328" y="280"/>
                  </a:lnTo>
                  <a:lnTo>
                    <a:pt x="328" y="280"/>
                  </a:lnTo>
                  <a:lnTo>
                    <a:pt x="328" y="280"/>
                  </a:lnTo>
                  <a:lnTo>
                    <a:pt x="328" y="276"/>
                  </a:lnTo>
                  <a:lnTo>
                    <a:pt x="328" y="276"/>
                  </a:lnTo>
                  <a:lnTo>
                    <a:pt x="324" y="272"/>
                  </a:lnTo>
                  <a:lnTo>
                    <a:pt x="322" y="270"/>
                  </a:lnTo>
                  <a:lnTo>
                    <a:pt x="322" y="266"/>
                  </a:lnTo>
                  <a:lnTo>
                    <a:pt x="322" y="266"/>
                  </a:lnTo>
                  <a:lnTo>
                    <a:pt x="324" y="264"/>
                  </a:lnTo>
                  <a:lnTo>
                    <a:pt x="326" y="260"/>
                  </a:lnTo>
                  <a:lnTo>
                    <a:pt x="326" y="260"/>
                  </a:lnTo>
                  <a:lnTo>
                    <a:pt x="328" y="260"/>
                  </a:lnTo>
                  <a:lnTo>
                    <a:pt x="328" y="260"/>
                  </a:lnTo>
                  <a:lnTo>
                    <a:pt x="328" y="256"/>
                  </a:lnTo>
                  <a:lnTo>
                    <a:pt x="328" y="256"/>
                  </a:lnTo>
                  <a:lnTo>
                    <a:pt x="330" y="256"/>
                  </a:lnTo>
                  <a:lnTo>
                    <a:pt x="330" y="256"/>
                  </a:lnTo>
                  <a:lnTo>
                    <a:pt x="332" y="250"/>
                  </a:lnTo>
                  <a:lnTo>
                    <a:pt x="332" y="246"/>
                  </a:lnTo>
                  <a:lnTo>
                    <a:pt x="332" y="246"/>
                  </a:lnTo>
                  <a:lnTo>
                    <a:pt x="328" y="242"/>
                  </a:lnTo>
                  <a:lnTo>
                    <a:pt x="322" y="236"/>
                  </a:lnTo>
                  <a:lnTo>
                    <a:pt x="322" y="236"/>
                  </a:lnTo>
                  <a:lnTo>
                    <a:pt x="322" y="232"/>
                  </a:lnTo>
                  <a:lnTo>
                    <a:pt x="322" y="232"/>
                  </a:lnTo>
                  <a:lnTo>
                    <a:pt x="328" y="236"/>
                  </a:lnTo>
                  <a:lnTo>
                    <a:pt x="336" y="238"/>
                  </a:lnTo>
                  <a:lnTo>
                    <a:pt x="338" y="240"/>
                  </a:lnTo>
                  <a:lnTo>
                    <a:pt x="338" y="240"/>
                  </a:lnTo>
                  <a:lnTo>
                    <a:pt x="344" y="240"/>
                  </a:lnTo>
                  <a:lnTo>
                    <a:pt x="350" y="242"/>
                  </a:lnTo>
                  <a:lnTo>
                    <a:pt x="350" y="242"/>
                  </a:lnTo>
                  <a:lnTo>
                    <a:pt x="354" y="244"/>
                  </a:lnTo>
                  <a:lnTo>
                    <a:pt x="356" y="248"/>
                  </a:lnTo>
                  <a:lnTo>
                    <a:pt x="360" y="254"/>
                  </a:lnTo>
                  <a:lnTo>
                    <a:pt x="360" y="254"/>
                  </a:lnTo>
                  <a:lnTo>
                    <a:pt x="362" y="256"/>
                  </a:lnTo>
                  <a:lnTo>
                    <a:pt x="362" y="256"/>
                  </a:lnTo>
                  <a:lnTo>
                    <a:pt x="362" y="260"/>
                  </a:lnTo>
                  <a:lnTo>
                    <a:pt x="362" y="260"/>
                  </a:lnTo>
                  <a:lnTo>
                    <a:pt x="366" y="262"/>
                  </a:lnTo>
                  <a:lnTo>
                    <a:pt x="364" y="266"/>
                  </a:lnTo>
                  <a:lnTo>
                    <a:pt x="364" y="266"/>
                  </a:lnTo>
                  <a:lnTo>
                    <a:pt x="350" y="266"/>
                  </a:lnTo>
                  <a:lnTo>
                    <a:pt x="350" y="266"/>
                  </a:lnTo>
                  <a:lnTo>
                    <a:pt x="348" y="272"/>
                  </a:lnTo>
                  <a:lnTo>
                    <a:pt x="348" y="272"/>
                  </a:lnTo>
                  <a:lnTo>
                    <a:pt x="346" y="274"/>
                  </a:lnTo>
                  <a:lnTo>
                    <a:pt x="346" y="274"/>
                  </a:lnTo>
                  <a:lnTo>
                    <a:pt x="346" y="278"/>
                  </a:lnTo>
                  <a:lnTo>
                    <a:pt x="346" y="278"/>
                  </a:lnTo>
                  <a:lnTo>
                    <a:pt x="348" y="282"/>
                  </a:lnTo>
                  <a:lnTo>
                    <a:pt x="348" y="282"/>
                  </a:lnTo>
                  <a:lnTo>
                    <a:pt x="350" y="292"/>
                  </a:lnTo>
                  <a:lnTo>
                    <a:pt x="350" y="292"/>
                  </a:lnTo>
                  <a:lnTo>
                    <a:pt x="356" y="292"/>
                  </a:lnTo>
                  <a:lnTo>
                    <a:pt x="362" y="290"/>
                  </a:lnTo>
                  <a:lnTo>
                    <a:pt x="362" y="290"/>
                  </a:lnTo>
                  <a:lnTo>
                    <a:pt x="370" y="288"/>
                  </a:lnTo>
                  <a:lnTo>
                    <a:pt x="370" y="288"/>
                  </a:lnTo>
                  <a:lnTo>
                    <a:pt x="370" y="286"/>
                  </a:lnTo>
                  <a:lnTo>
                    <a:pt x="370" y="286"/>
                  </a:lnTo>
                  <a:lnTo>
                    <a:pt x="376" y="286"/>
                  </a:lnTo>
                  <a:lnTo>
                    <a:pt x="376" y="286"/>
                  </a:lnTo>
                  <a:lnTo>
                    <a:pt x="376" y="274"/>
                  </a:lnTo>
                  <a:lnTo>
                    <a:pt x="378" y="264"/>
                  </a:lnTo>
                  <a:lnTo>
                    <a:pt x="378" y="264"/>
                  </a:lnTo>
                  <a:lnTo>
                    <a:pt x="380" y="266"/>
                  </a:lnTo>
                  <a:lnTo>
                    <a:pt x="382" y="266"/>
                  </a:lnTo>
                  <a:lnTo>
                    <a:pt x="382" y="266"/>
                  </a:lnTo>
                  <a:lnTo>
                    <a:pt x="388" y="262"/>
                  </a:lnTo>
                  <a:lnTo>
                    <a:pt x="388" y="262"/>
                  </a:lnTo>
                  <a:lnTo>
                    <a:pt x="388" y="258"/>
                  </a:lnTo>
                  <a:lnTo>
                    <a:pt x="388" y="258"/>
                  </a:lnTo>
                  <a:lnTo>
                    <a:pt x="398" y="258"/>
                  </a:lnTo>
                  <a:lnTo>
                    <a:pt x="406" y="256"/>
                  </a:lnTo>
                  <a:lnTo>
                    <a:pt x="406" y="256"/>
                  </a:lnTo>
                  <a:lnTo>
                    <a:pt x="408" y="252"/>
                  </a:lnTo>
                  <a:lnTo>
                    <a:pt x="408" y="252"/>
                  </a:lnTo>
                  <a:lnTo>
                    <a:pt x="414" y="252"/>
                  </a:lnTo>
                  <a:lnTo>
                    <a:pt x="414" y="252"/>
                  </a:lnTo>
                  <a:lnTo>
                    <a:pt x="418" y="248"/>
                  </a:lnTo>
                  <a:lnTo>
                    <a:pt x="418" y="248"/>
                  </a:lnTo>
                  <a:lnTo>
                    <a:pt x="424" y="248"/>
                  </a:lnTo>
                  <a:lnTo>
                    <a:pt x="424" y="248"/>
                  </a:lnTo>
                  <a:lnTo>
                    <a:pt x="426" y="244"/>
                  </a:lnTo>
                  <a:lnTo>
                    <a:pt x="426" y="244"/>
                  </a:lnTo>
                  <a:lnTo>
                    <a:pt x="432" y="244"/>
                  </a:lnTo>
                  <a:lnTo>
                    <a:pt x="436" y="244"/>
                  </a:lnTo>
                  <a:lnTo>
                    <a:pt x="436" y="244"/>
                  </a:lnTo>
                  <a:lnTo>
                    <a:pt x="436" y="246"/>
                  </a:lnTo>
                  <a:lnTo>
                    <a:pt x="438" y="248"/>
                  </a:lnTo>
                  <a:lnTo>
                    <a:pt x="438" y="246"/>
                  </a:lnTo>
                  <a:lnTo>
                    <a:pt x="438" y="246"/>
                  </a:lnTo>
                  <a:lnTo>
                    <a:pt x="438" y="244"/>
                  </a:lnTo>
                  <a:lnTo>
                    <a:pt x="438" y="244"/>
                  </a:lnTo>
                  <a:lnTo>
                    <a:pt x="438" y="242"/>
                  </a:lnTo>
                  <a:lnTo>
                    <a:pt x="438" y="240"/>
                  </a:lnTo>
                  <a:lnTo>
                    <a:pt x="438" y="240"/>
                  </a:lnTo>
                  <a:lnTo>
                    <a:pt x="446" y="236"/>
                  </a:lnTo>
                  <a:lnTo>
                    <a:pt x="446" y="236"/>
                  </a:lnTo>
                  <a:lnTo>
                    <a:pt x="448" y="234"/>
                  </a:lnTo>
                  <a:lnTo>
                    <a:pt x="450" y="232"/>
                  </a:lnTo>
                  <a:lnTo>
                    <a:pt x="450" y="232"/>
                  </a:lnTo>
                  <a:lnTo>
                    <a:pt x="452" y="232"/>
                  </a:lnTo>
                  <a:lnTo>
                    <a:pt x="452" y="232"/>
                  </a:lnTo>
                  <a:lnTo>
                    <a:pt x="452" y="234"/>
                  </a:lnTo>
                  <a:lnTo>
                    <a:pt x="452" y="234"/>
                  </a:lnTo>
                  <a:lnTo>
                    <a:pt x="452" y="234"/>
                  </a:lnTo>
                  <a:lnTo>
                    <a:pt x="452" y="236"/>
                  </a:lnTo>
                  <a:lnTo>
                    <a:pt x="452" y="236"/>
                  </a:lnTo>
                  <a:lnTo>
                    <a:pt x="450" y="238"/>
                  </a:lnTo>
                  <a:lnTo>
                    <a:pt x="452" y="238"/>
                  </a:lnTo>
                  <a:lnTo>
                    <a:pt x="456" y="238"/>
                  </a:lnTo>
                  <a:lnTo>
                    <a:pt x="456" y="238"/>
                  </a:lnTo>
                  <a:lnTo>
                    <a:pt x="456" y="242"/>
                  </a:lnTo>
                  <a:lnTo>
                    <a:pt x="456" y="242"/>
                  </a:lnTo>
                  <a:lnTo>
                    <a:pt x="460" y="244"/>
                  </a:lnTo>
                  <a:lnTo>
                    <a:pt x="460" y="244"/>
                  </a:lnTo>
                  <a:lnTo>
                    <a:pt x="460" y="248"/>
                  </a:lnTo>
                  <a:lnTo>
                    <a:pt x="460" y="248"/>
                  </a:lnTo>
                  <a:lnTo>
                    <a:pt x="452" y="248"/>
                  </a:lnTo>
                  <a:lnTo>
                    <a:pt x="452" y="248"/>
                  </a:lnTo>
                  <a:lnTo>
                    <a:pt x="450" y="250"/>
                  </a:lnTo>
                  <a:lnTo>
                    <a:pt x="450" y="250"/>
                  </a:lnTo>
                  <a:lnTo>
                    <a:pt x="450" y="252"/>
                  </a:lnTo>
                  <a:lnTo>
                    <a:pt x="450" y="252"/>
                  </a:lnTo>
                  <a:lnTo>
                    <a:pt x="462" y="252"/>
                  </a:lnTo>
                  <a:lnTo>
                    <a:pt x="462" y="252"/>
                  </a:lnTo>
                  <a:lnTo>
                    <a:pt x="468" y="248"/>
                  </a:lnTo>
                  <a:lnTo>
                    <a:pt x="468" y="248"/>
                  </a:lnTo>
                  <a:lnTo>
                    <a:pt x="470" y="248"/>
                  </a:lnTo>
                  <a:lnTo>
                    <a:pt x="470" y="250"/>
                  </a:lnTo>
                  <a:lnTo>
                    <a:pt x="470" y="250"/>
                  </a:lnTo>
                  <a:lnTo>
                    <a:pt x="474" y="252"/>
                  </a:lnTo>
                  <a:lnTo>
                    <a:pt x="474" y="252"/>
                  </a:lnTo>
                  <a:lnTo>
                    <a:pt x="474" y="252"/>
                  </a:lnTo>
                  <a:lnTo>
                    <a:pt x="476" y="250"/>
                  </a:lnTo>
                  <a:lnTo>
                    <a:pt x="476" y="250"/>
                  </a:lnTo>
                  <a:lnTo>
                    <a:pt x="474" y="246"/>
                  </a:lnTo>
                  <a:lnTo>
                    <a:pt x="474" y="246"/>
                  </a:lnTo>
                  <a:lnTo>
                    <a:pt x="482" y="242"/>
                  </a:lnTo>
                  <a:lnTo>
                    <a:pt x="490" y="240"/>
                  </a:lnTo>
                  <a:lnTo>
                    <a:pt x="490" y="240"/>
                  </a:lnTo>
                  <a:lnTo>
                    <a:pt x="494" y="240"/>
                  </a:lnTo>
                  <a:lnTo>
                    <a:pt x="498" y="240"/>
                  </a:lnTo>
                  <a:lnTo>
                    <a:pt x="506" y="246"/>
                  </a:lnTo>
                  <a:lnTo>
                    <a:pt x="506" y="246"/>
                  </a:lnTo>
                  <a:lnTo>
                    <a:pt x="510" y="246"/>
                  </a:lnTo>
                  <a:lnTo>
                    <a:pt x="510" y="246"/>
                  </a:lnTo>
                  <a:lnTo>
                    <a:pt x="512" y="242"/>
                  </a:lnTo>
                  <a:lnTo>
                    <a:pt x="512" y="242"/>
                  </a:lnTo>
                  <a:lnTo>
                    <a:pt x="510" y="240"/>
                  </a:lnTo>
                  <a:lnTo>
                    <a:pt x="510" y="240"/>
                  </a:lnTo>
                  <a:lnTo>
                    <a:pt x="510" y="240"/>
                  </a:lnTo>
                  <a:lnTo>
                    <a:pt x="510" y="238"/>
                  </a:lnTo>
                  <a:lnTo>
                    <a:pt x="510" y="238"/>
                  </a:lnTo>
                  <a:lnTo>
                    <a:pt x="512" y="238"/>
                  </a:lnTo>
                  <a:lnTo>
                    <a:pt x="512" y="238"/>
                  </a:lnTo>
                  <a:lnTo>
                    <a:pt x="512" y="240"/>
                  </a:lnTo>
                  <a:lnTo>
                    <a:pt x="512" y="240"/>
                  </a:lnTo>
                  <a:lnTo>
                    <a:pt x="514" y="240"/>
                  </a:lnTo>
                  <a:lnTo>
                    <a:pt x="518" y="238"/>
                  </a:lnTo>
                  <a:lnTo>
                    <a:pt x="524" y="234"/>
                  </a:lnTo>
                  <a:lnTo>
                    <a:pt x="524" y="234"/>
                  </a:lnTo>
                  <a:lnTo>
                    <a:pt x="530" y="234"/>
                  </a:lnTo>
                  <a:lnTo>
                    <a:pt x="530" y="234"/>
                  </a:lnTo>
                  <a:lnTo>
                    <a:pt x="528" y="248"/>
                  </a:lnTo>
                  <a:lnTo>
                    <a:pt x="528" y="248"/>
                  </a:lnTo>
                  <a:lnTo>
                    <a:pt x="536" y="254"/>
                  </a:lnTo>
                  <a:lnTo>
                    <a:pt x="536" y="254"/>
                  </a:lnTo>
                  <a:lnTo>
                    <a:pt x="538" y="244"/>
                  </a:lnTo>
                  <a:lnTo>
                    <a:pt x="538" y="244"/>
                  </a:lnTo>
                  <a:lnTo>
                    <a:pt x="542" y="242"/>
                  </a:lnTo>
                  <a:lnTo>
                    <a:pt x="542" y="242"/>
                  </a:lnTo>
                  <a:lnTo>
                    <a:pt x="544" y="244"/>
                  </a:lnTo>
                  <a:lnTo>
                    <a:pt x="546" y="244"/>
                  </a:lnTo>
                  <a:lnTo>
                    <a:pt x="550" y="244"/>
                  </a:lnTo>
                  <a:lnTo>
                    <a:pt x="550" y="244"/>
                  </a:lnTo>
                  <a:lnTo>
                    <a:pt x="552" y="242"/>
                  </a:lnTo>
                  <a:lnTo>
                    <a:pt x="552" y="242"/>
                  </a:lnTo>
                  <a:lnTo>
                    <a:pt x="552" y="232"/>
                  </a:lnTo>
                  <a:lnTo>
                    <a:pt x="552" y="226"/>
                  </a:lnTo>
                  <a:lnTo>
                    <a:pt x="550" y="222"/>
                  </a:lnTo>
                  <a:lnTo>
                    <a:pt x="550" y="222"/>
                  </a:lnTo>
                  <a:lnTo>
                    <a:pt x="548" y="220"/>
                  </a:lnTo>
                  <a:lnTo>
                    <a:pt x="548" y="220"/>
                  </a:lnTo>
                  <a:lnTo>
                    <a:pt x="548" y="218"/>
                  </a:lnTo>
                  <a:lnTo>
                    <a:pt x="548" y="218"/>
                  </a:lnTo>
                  <a:lnTo>
                    <a:pt x="554" y="216"/>
                  </a:lnTo>
                  <a:lnTo>
                    <a:pt x="554" y="216"/>
                  </a:lnTo>
                  <a:lnTo>
                    <a:pt x="556" y="212"/>
                  </a:lnTo>
                  <a:lnTo>
                    <a:pt x="556" y="212"/>
                  </a:lnTo>
                  <a:lnTo>
                    <a:pt x="562" y="212"/>
                  </a:lnTo>
                  <a:lnTo>
                    <a:pt x="566" y="214"/>
                  </a:lnTo>
                  <a:lnTo>
                    <a:pt x="566" y="214"/>
                  </a:lnTo>
                  <a:lnTo>
                    <a:pt x="572" y="214"/>
                  </a:lnTo>
                  <a:lnTo>
                    <a:pt x="576" y="212"/>
                  </a:lnTo>
                  <a:lnTo>
                    <a:pt x="576" y="210"/>
                  </a:lnTo>
                  <a:lnTo>
                    <a:pt x="578" y="210"/>
                  </a:lnTo>
                  <a:lnTo>
                    <a:pt x="578" y="210"/>
                  </a:lnTo>
                  <a:lnTo>
                    <a:pt x="582" y="210"/>
                  </a:lnTo>
                  <a:lnTo>
                    <a:pt x="584" y="210"/>
                  </a:lnTo>
                  <a:lnTo>
                    <a:pt x="586" y="214"/>
                  </a:lnTo>
                  <a:lnTo>
                    <a:pt x="586" y="214"/>
                  </a:lnTo>
                  <a:lnTo>
                    <a:pt x="588" y="214"/>
                  </a:lnTo>
                  <a:lnTo>
                    <a:pt x="590" y="214"/>
                  </a:lnTo>
                  <a:lnTo>
                    <a:pt x="590" y="214"/>
                  </a:lnTo>
                  <a:lnTo>
                    <a:pt x="590" y="216"/>
                  </a:lnTo>
                  <a:lnTo>
                    <a:pt x="592" y="218"/>
                  </a:lnTo>
                  <a:lnTo>
                    <a:pt x="592" y="218"/>
                  </a:lnTo>
                  <a:lnTo>
                    <a:pt x="600" y="218"/>
                  </a:lnTo>
                  <a:lnTo>
                    <a:pt x="606" y="220"/>
                  </a:lnTo>
                  <a:lnTo>
                    <a:pt x="606" y="220"/>
                  </a:lnTo>
                  <a:lnTo>
                    <a:pt x="604" y="232"/>
                  </a:lnTo>
                  <a:lnTo>
                    <a:pt x="606" y="232"/>
                  </a:lnTo>
                  <a:lnTo>
                    <a:pt x="610" y="224"/>
                  </a:lnTo>
                  <a:lnTo>
                    <a:pt x="610" y="224"/>
                  </a:lnTo>
                  <a:lnTo>
                    <a:pt x="622" y="228"/>
                  </a:lnTo>
                  <a:lnTo>
                    <a:pt x="622" y="228"/>
                  </a:lnTo>
                  <a:lnTo>
                    <a:pt x="620" y="230"/>
                  </a:lnTo>
                  <a:lnTo>
                    <a:pt x="620" y="230"/>
                  </a:lnTo>
                  <a:lnTo>
                    <a:pt x="620" y="232"/>
                  </a:lnTo>
                  <a:lnTo>
                    <a:pt x="620" y="232"/>
                  </a:lnTo>
                  <a:lnTo>
                    <a:pt x="626" y="234"/>
                  </a:lnTo>
                  <a:lnTo>
                    <a:pt x="632" y="236"/>
                  </a:lnTo>
                  <a:lnTo>
                    <a:pt x="638" y="244"/>
                  </a:lnTo>
                  <a:lnTo>
                    <a:pt x="638" y="244"/>
                  </a:lnTo>
                  <a:lnTo>
                    <a:pt x="640" y="248"/>
                  </a:lnTo>
                  <a:lnTo>
                    <a:pt x="640" y="248"/>
                  </a:lnTo>
                  <a:lnTo>
                    <a:pt x="642" y="248"/>
                  </a:lnTo>
                  <a:lnTo>
                    <a:pt x="644" y="248"/>
                  </a:lnTo>
                  <a:lnTo>
                    <a:pt x="644" y="248"/>
                  </a:lnTo>
                  <a:lnTo>
                    <a:pt x="646" y="254"/>
                  </a:lnTo>
                  <a:lnTo>
                    <a:pt x="646" y="254"/>
                  </a:lnTo>
                  <a:lnTo>
                    <a:pt x="648" y="254"/>
                  </a:lnTo>
                  <a:lnTo>
                    <a:pt x="652" y="252"/>
                  </a:lnTo>
                  <a:lnTo>
                    <a:pt x="652" y="252"/>
                  </a:lnTo>
                  <a:lnTo>
                    <a:pt x="654" y="244"/>
                  </a:lnTo>
                  <a:lnTo>
                    <a:pt x="656" y="236"/>
                  </a:lnTo>
                  <a:lnTo>
                    <a:pt x="654" y="236"/>
                  </a:lnTo>
                  <a:lnTo>
                    <a:pt x="654" y="236"/>
                  </a:lnTo>
                  <a:lnTo>
                    <a:pt x="652" y="238"/>
                  </a:lnTo>
                  <a:lnTo>
                    <a:pt x="652" y="238"/>
                  </a:lnTo>
                  <a:lnTo>
                    <a:pt x="652" y="238"/>
                  </a:lnTo>
                  <a:lnTo>
                    <a:pt x="648" y="230"/>
                  </a:lnTo>
                  <a:lnTo>
                    <a:pt x="648" y="230"/>
                  </a:lnTo>
                  <a:lnTo>
                    <a:pt x="648" y="230"/>
                  </a:lnTo>
                  <a:lnTo>
                    <a:pt x="648" y="228"/>
                  </a:lnTo>
                  <a:lnTo>
                    <a:pt x="648" y="228"/>
                  </a:lnTo>
                  <a:lnTo>
                    <a:pt x="648" y="226"/>
                  </a:lnTo>
                  <a:lnTo>
                    <a:pt x="648" y="224"/>
                  </a:lnTo>
                  <a:lnTo>
                    <a:pt x="652" y="222"/>
                  </a:lnTo>
                  <a:lnTo>
                    <a:pt x="652" y="222"/>
                  </a:lnTo>
                  <a:lnTo>
                    <a:pt x="652" y="218"/>
                  </a:lnTo>
                  <a:lnTo>
                    <a:pt x="652" y="218"/>
                  </a:lnTo>
                  <a:lnTo>
                    <a:pt x="648" y="218"/>
                  </a:lnTo>
                  <a:lnTo>
                    <a:pt x="648" y="218"/>
                  </a:lnTo>
                  <a:lnTo>
                    <a:pt x="648" y="218"/>
                  </a:lnTo>
                  <a:lnTo>
                    <a:pt x="648" y="218"/>
                  </a:lnTo>
                  <a:lnTo>
                    <a:pt x="648" y="218"/>
                  </a:lnTo>
                  <a:lnTo>
                    <a:pt x="646" y="220"/>
                  </a:lnTo>
                  <a:lnTo>
                    <a:pt x="646" y="220"/>
                  </a:lnTo>
                  <a:lnTo>
                    <a:pt x="642" y="216"/>
                  </a:lnTo>
                  <a:lnTo>
                    <a:pt x="638" y="214"/>
                  </a:lnTo>
                  <a:lnTo>
                    <a:pt x="638" y="214"/>
                  </a:lnTo>
                  <a:lnTo>
                    <a:pt x="636" y="214"/>
                  </a:lnTo>
                  <a:lnTo>
                    <a:pt x="634" y="216"/>
                  </a:lnTo>
                  <a:lnTo>
                    <a:pt x="634" y="216"/>
                  </a:lnTo>
                  <a:lnTo>
                    <a:pt x="636" y="206"/>
                  </a:lnTo>
                  <a:lnTo>
                    <a:pt x="638" y="204"/>
                  </a:lnTo>
                  <a:lnTo>
                    <a:pt x="642" y="200"/>
                  </a:lnTo>
                  <a:lnTo>
                    <a:pt x="642" y="200"/>
                  </a:lnTo>
                  <a:lnTo>
                    <a:pt x="642" y="196"/>
                  </a:lnTo>
                  <a:lnTo>
                    <a:pt x="640" y="190"/>
                  </a:lnTo>
                  <a:lnTo>
                    <a:pt x="640" y="190"/>
                  </a:lnTo>
                  <a:lnTo>
                    <a:pt x="636" y="182"/>
                  </a:lnTo>
                  <a:lnTo>
                    <a:pt x="636" y="182"/>
                  </a:lnTo>
                  <a:lnTo>
                    <a:pt x="636" y="176"/>
                  </a:lnTo>
                  <a:lnTo>
                    <a:pt x="636" y="172"/>
                  </a:lnTo>
                  <a:lnTo>
                    <a:pt x="636" y="172"/>
                  </a:lnTo>
                  <a:lnTo>
                    <a:pt x="646" y="166"/>
                  </a:lnTo>
                  <a:lnTo>
                    <a:pt x="646" y="166"/>
                  </a:lnTo>
                  <a:lnTo>
                    <a:pt x="648" y="164"/>
                  </a:lnTo>
                  <a:lnTo>
                    <a:pt x="650" y="158"/>
                  </a:lnTo>
                  <a:lnTo>
                    <a:pt x="650" y="158"/>
                  </a:lnTo>
                  <a:lnTo>
                    <a:pt x="656" y="152"/>
                  </a:lnTo>
                  <a:lnTo>
                    <a:pt x="662" y="146"/>
                  </a:lnTo>
                  <a:lnTo>
                    <a:pt x="662" y="146"/>
                  </a:lnTo>
                  <a:lnTo>
                    <a:pt x="664" y="138"/>
                  </a:lnTo>
                  <a:lnTo>
                    <a:pt x="668" y="132"/>
                  </a:lnTo>
                  <a:lnTo>
                    <a:pt x="668" y="132"/>
                  </a:lnTo>
                  <a:lnTo>
                    <a:pt x="672" y="130"/>
                  </a:lnTo>
                  <a:lnTo>
                    <a:pt x="674" y="128"/>
                  </a:lnTo>
                  <a:lnTo>
                    <a:pt x="676" y="124"/>
                  </a:lnTo>
                  <a:lnTo>
                    <a:pt x="676" y="124"/>
                  </a:lnTo>
                  <a:lnTo>
                    <a:pt x="678" y="126"/>
                  </a:lnTo>
                  <a:lnTo>
                    <a:pt x="678" y="126"/>
                  </a:lnTo>
                  <a:lnTo>
                    <a:pt x="678" y="126"/>
                  </a:lnTo>
                  <a:lnTo>
                    <a:pt x="694" y="126"/>
                  </a:lnTo>
                  <a:lnTo>
                    <a:pt x="694" y="126"/>
                  </a:lnTo>
                  <a:lnTo>
                    <a:pt x="700" y="124"/>
                  </a:lnTo>
                  <a:lnTo>
                    <a:pt x="700" y="124"/>
                  </a:lnTo>
                  <a:lnTo>
                    <a:pt x="706" y="128"/>
                  </a:lnTo>
                  <a:lnTo>
                    <a:pt x="706" y="128"/>
                  </a:lnTo>
                  <a:lnTo>
                    <a:pt x="710" y="128"/>
                  </a:lnTo>
                  <a:lnTo>
                    <a:pt x="710" y="128"/>
                  </a:lnTo>
                  <a:lnTo>
                    <a:pt x="710" y="134"/>
                  </a:lnTo>
                  <a:lnTo>
                    <a:pt x="710" y="134"/>
                  </a:lnTo>
                  <a:lnTo>
                    <a:pt x="714" y="138"/>
                  </a:lnTo>
                  <a:lnTo>
                    <a:pt x="714" y="138"/>
                  </a:lnTo>
                  <a:lnTo>
                    <a:pt x="714" y="140"/>
                  </a:lnTo>
                  <a:lnTo>
                    <a:pt x="712" y="140"/>
                  </a:lnTo>
                  <a:lnTo>
                    <a:pt x="712" y="140"/>
                  </a:lnTo>
                  <a:lnTo>
                    <a:pt x="712" y="144"/>
                  </a:lnTo>
                  <a:lnTo>
                    <a:pt x="714" y="146"/>
                  </a:lnTo>
                  <a:lnTo>
                    <a:pt x="714" y="146"/>
                  </a:lnTo>
                  <a:lnTo>
                    <a:pt x="710" y="150"/>
                  </a:lnTo>
                  <a:lnTo>
                    <a:pt x="710" y="150"/>
                  </a:lnTo>
                  <a:lnTo>
                    <a:pt x="710" y="158"/>
                  </a:lnTo>
                  <a:lnTo>
                    <a:pt x="710" y="162"/>
                  </a:lnTo>
                  <a:lnTo>
                    <a:pt x="708" y="166"/>
                  </a:lnTo>
                  <a:lnTo>
                    <a:pt x="708" y="166"/>
                  </a:lnTo>
                  <a:lnTo>
                    <a:pt x="704" y="172"/>
                  </a:lnTo>
                  <a:lnTo>
                    <a:pt x="702" y="174"/>
                  </a:lnTo>
                  <a:lnTo>
                    <a:pt x="702" y="180"/>
                  </a:lnTo>
                  <a:lnTo>
                    <a:pt x="702" y="180"/>
                  </a:lnTo>
                  <a:lnTo>
                    <a:pt x="702" y="182"/>
                  </a:lnTo>
                  <a:lnTo>
                    <a:pt x="704" y="186"/>
                  </a:lnTo>
                  <a:lnTo>
                    <a:pt x="712" y="188"/>
                  </a:lnTo>
                  <a:lnTo>
                    <a:pt x="712" y="188"/>
                  </a:lnTo>
                  <a:lnTo>
                    <a:pt x="710" y="196"/>
                  </a:lnTo>
                  <a:lnTo>
                    <a:pt x="710" y="196"/>
                  </a:lnTo>
                  <a:lnTo>
                    <a:pt x="714" y="198"/>
                  </a:lnTo>
                  <a:lnTo>
                    <a:pt x="714" y="198"/>
                  </a:lnTo>
                  <a:lnTo>
                    <a:pt x="714" y="206"/>
                  </a:lnTo>
                  <a:lnTo>
                    <a:pt x="714" y="206"/>
                  </a:lnTo>
                  <a:lnTo>
                    <a:pt x="708" y="214"/>
                  </a:lnTo>
                  <a:lnTo>
                    <a:pt x="708" y="214"/>
                  </a:lnTo>
                  <a:lnTo>
                    <a:pt x="708" y="216"/>
                  </a:lnTo>
                  <a:lnTo>
                    <a:pt x="710" y="218"/>
                  </a:lnTo>
                  <a:lnTo>
                    <a:pt x="708" y="222"/>
                  </a:lnTo>
                  <a:lnTo>
                    <a:pt x="708" y="222"/>
                  </a:lnTo>
                  <a:lnTo>
                    <a:pt x="708" y="226"/>
                  </a:lnTo>
                  <a:lnTo>
                    <a:pt x="712" y="228"/>
                  </a:lnTo>
                  <a:lnTo>
                    <a:pt x="712" y="228"/>
                  </a:lnTo>
                  <a:lnTo>
                    <a:pt x="716" y="236"/>
                  </a:lnTo>
                  <a:lnTo>
                    <a:pt x="722" y="242"/>
                  </a:lnTo>
                  <a:lnTo>
                    <a:pt x="722" y="242"/>
                  </a:lnTo>
                  <a:lnTo>
                    <a:pt x="718" y="254"/>
                  </a:lnTo>
                  <a:lnTo>
                    <a:pt x="718" y="260"/>
                  </a:lnTo>
                  <a:lnTo>
                    <a:pt x="722" y="266"/>
                  </a:lnTo>
                  <a:lnTo>
                    <a:pt x="722" y="266"/>
                  </a:lnTo>
                  <a:lnTo>
                    <a:pt x="716" y="268"/>
                  </a:lnTo>
                  <a:lnTo>
                    <a:pt x="716" y="268"/>
                  </a:lnTo>
                  <a:lnTo>
                    <a:pt x="716" y="274"/>
                  </a:lnTo>
                  <a:lnTo>
                    <a:pt x="716" y="274"/>
                  </a:lnTo>
                  <a:lnTo>
                    <a:pt x="712" y="276"/>
                  </a:lnTo>
                  <a:lnTo>
                    <a:pt x="712" y="280"/>
                  </a:lnTo>
                  <a:lnTo>
                    <a:pt x="712" y="280"/>
                  </a:lnTo>
                  <a:lnTo>
                    <a:pt x="708" y="284"/>
                  </a:lnTo>
                  <a:lnTo>
                    <a:pt x="708" y="284"/>
                  </a:lnTo>
                  <a:lnTo>
                    <a:pt x="700" y="280"/>
                  </a:lnTo>
                  <a:lnTo>
                    <a:pt x="700" y="280"/>
                  </a:lnTo>
                  <a:lnTo>
                    <a:pt x="696" y="286"/>
                  </a:lnTo>
                  <a:lnTo>
                    <a:pt x="696" y="286"/>
                  </a:lnTo>
                  <a:lnTo>
                    <a:pt x="692" y="288"/>
                  </a:lnTo>
                  <a:lnTo>
                    <a:pt x="684" y="288"/>
                  </a:lnTo>
                  <a:lnTo>
                    <a:pt x="670" y="288"/>
                  </a:lnTo>
                  <a:lnTo>
                    <a:pt x="670" y="288"/>
                  </a:lnTo>
                  <a:lnTo>
                    <a:pt x="670" y="292"/>
                  </a:lnTo>
                  <a:lnTo>
                    <a:pt x="670" y="292"/>
                  </a:lnTo>
                  <a:lnTo>
                    <a:pt x="678" y="296"/>
                  </a:lnTo>
                  <a:lnTo>
                    <a:pt x="682" y="300"/>
                  </a:lnTo>
                  <a:lnTo>
                    <a:pt x="688" y="300"/>
                  </a:lnTo>
                  <a:lnTo>
                    <a:pt x="690" y="298"/>
                  </a:lnTo>
                  <a:lnTo>
                    <a:pt x="690" y="298"/>
                  </a:lnTo>
                  <a:lnTo>
                    <a:pt x="696" y="298"/>
                  </a:lnTo>
                  <a:lnTo>
                    <a:pt x="702" y="298"/>
                  </a:lnTo>
                  <a:lnTo>
                    <a:pt x="702" y="298"/>
                  </a:lnTo>
                  <a:lnTo>
                    <a:pt x="702" y="302"/>
                  </a:lnTo>
                  <a:lnTo>
                    <a:pt x="702" y="302"/>
                  </a:lnTo>
                  <a:lnTo>
                    <a:pt x="706" y="304"/>
                  </a:lnTo>
                  <a:lnTo>
                    <a:pt x="706" y="304"/>
                  </a:lnTo>
                  <a:lnTo>
                    <a:pt x="708" y="312"/>
                  </a:lnTo>
                  <a:lnTo>
                    <a:pt x="708" y="312"/>
                  </a:lnTo>
                  <a:lnTo>
                    <a:pt x="710" y="312"/>
                  </a:lnTo>
                  <a:lnTo>
                    <a:pt x="714" y="312"/>
                  </a:lnTo>
                  <a:lnTo>
                    <a:pt x="714" y="312"/>
                  </a:lnTo>
                  <a:lnTo>
                    <a:pt x="714" y="312"/>
                  </a:lnTo>
                  <a:lnTo>
                    <a:pt x="716" y="314"/>
                  </a:lnTo>
                  <a:lnTo>
                    <a:pt x="716" y="314"/>
                  </a:lnTo>
                  <a:lnTo>
                    <a:pt x="712" y="296"/>
                  </a:lnTo>
                  <a:lnTo>
                    <a:pt x="712" y="296"/>
                  </a:lnTo>
                  <a:lnTo>
                    <a:pt x="704" y="294"/>
                  </a:lnTo>
                  <a:lnTo>
                    <a:pt x="704" y="294"/>
                  </a:lnTo>
                  <a:lnTo>
                    <a:pt x="706" y="290"/>
                  </a:lnTo>
                  <a:lnTo>
                    <a:pt x="706" y="290"/>
                  </a:lnTo>
                  <a:lnTo>
                    <a:pt x="716" y="288"/>
                  </a:lnTo>
                  <a:lnTo>
                    <a:pt x="716" y="288"/>
                  </a:lnTo>
                  <a:lnTo>
                    <a:pt x="722" y="286"/>
                  </a:lnTo>
                  <a:lnTo>
                    <a:pt x="726" y="286"/>
                  </a:lnTo>
                  <a:lnTo>
                    <a:pt x="734" y="274"/>
                  </a:lnTo>
                  <a:lnTo>
                    <a:pt x="734" y="274"/>
                  </a:lnTo>
                  <a:lnTo>
                    <a:pt x="734" y="270"/>
                  </a:lnTo>
                  <a:lnTo>
                    <a:pt x="734" y="270"/>
                  </a:lnTo>
                  <a:lnTo>
                    <a:pt x="734" y="268"/>
                  </a:lnTo>
                  <a:lnTo>
                    <a:pt x="734" y="268"/>
                  </a:lnTo>
                  <a:lnTo>
                    <a:pt x="736" y="262"/>
                  </a:lnTo>
                  <a:lnTo>
                    <a:pt x="736" y="262"/>
                  </a:lnTo>
                  <a:lnTo>
                    <a:pt x="738" y="258"/>
                  </a:lnTo>
                  <a:lnTo>
                    <a:pt x="738" y="252"/>
                  </a:lnTo>
                  <a:lnTo>
                    <a:pt x="738" y="252"/>
                  </a:lnTo>
                  <a:lnTo>
                    <a:pt x="734" y="248"/>
                  </a:lnTo>
                  <a:lnTo>
                    <a:pt x="734" y="248"/>
                  </a:lnTo>
                  <a:lnTo>
                    <a:pt x="736" y="244"/>
                  </a:lnTo>
                  <a:lnTo>
                    <a:pt x="736" y="244"/>
                  </a:lnTo>
                  <a:lnTo>
                    <a:pt x="738" y="240"/>
                  </a:lnTo>
                  <a:lnTo>
                    <a:pt x="738" y="236"/>
                  </a:lnTo>
                  <a:lnTo>
                    <a:pt x="738" y="236"/>
                  </a:lnTo>
                  <a:lnTo>
                    <a:pt x="742" y="236"/>
                  </a:lnTo>
                  <a:lnTo>
                    <a:pt x="746" y="234"/>
                  </a:lnTo>
                  <a:lnTo>
                    <a:pt x="756" y="232"/>
                  </a:lnTo>
                  <a:lnTo>
                    <a:pt x="756" y="232"/>
                  </a:lnTo>
                  <a:lnTo>
                    <a:pt x="758" y="228"/>
                  </a:lnTo>
                  <a:lnTo>
                    <a:pt x="758" y="228"/>
                  </a:lnTo>
                  <a:lnTo>
                    <a:pt x="766" y="228"/>
                  </a:lnTo>
                  <a:lnTo>
                    <a:pt x="766" y="228"/>
                  </a:lnTo>
                  <a:lnTo>
                    <a:pt x="770" y="240"/>
                  </a:lnTo>
                  <a:lnTo>
                    <a:pt x="770" y="240"/>
                  </a:lnTo>
                  <a:lnTo>
                    <a:pt x="772" y="244"/>
                  </a:lnTo>
                  <a:lnTo>
                    <a:pt x="772" y="244"/>
                  </a:lnTo>
                  <a:lnTo>
                    <a:pt x="774" y="250"/>
                  </a:lnTo>
                  <a:lnTo>
                    <a:pt x="774" y="256"/>
                  </a:lnTo>
                  <a:lnTo>
                    <a:pt x="770" y="270"/>
                  </a:lnTo>
                  <a:lnTo>
                    <a:pt x="770" y="270"/>
                  </a:lnTo>
                  <a:lnTo>
                    <a:pt x="776" y="276"/>
                  </a:lnTo>
                  <a:lnTo>
                    <a:pt x="776" y="276"/>
                  </a:lnTo>
                  <a:lnTo>
                    <a:pt x="782" y="280"/>
                  </a:lnTo>
                  <a:lnTo>
                    <a:pt x="782" y="280"/>
                  </a:lnTo>
                  <a:lnTo>
                    <a:pt x="784" y="278"/>
                  </a:lnTo>
                  <a:lnTo>
                    <a:pt x="782" y="278"/>
                  </a:lnTo>
                  <a:lnTo>
                    <a:pt x="782" y="278"/>
                  </a:lnTo>
                  <a:lnTo>
                    <a:pt x="782" y="272"/>
                  </a:lnTo>
                  <a:lnTo>
                    <a:pt x="782" y="272"/>
                  </a:lnTo>
                  <a:lnTo>
                    <a:pt x="788" y="270"/>
                  </a:lnTo>
                  <a:lnTo>
                    <a:pt x="788" y="270"/>
                  </a:lnTo>
                  <a:lnTo>
                    <a:pt x="790" y="274"/>
                  </a:lnTo>
                  <a:lnTo>
                    <a:pt x="790" y="274"/>
                  </a:lnTo>
                  <a:lnTo>
                    <a:pt x="798" y="276"/>
                  </a:lnTo>
                  <a:lnTo>
                    <a:pt x="806" y="276"/>
                  </a:lnTo>
                  <a:lnTo>
                    <a:pt x="806" y="276"/>
                  </a:lnTo>
                  <a:lnTo>
                    <a:pt x="804" y="272"/>
                  </a:lnTo>
                  <a:lnTo>
                    <a:pt x="804" y="272"/>
                  </a:lnTo>
                  <a:lnTo>
                    <a:pt x="796" y="270"/>
                  </a:lnTo>
                  <a:lnTo>
                    <a:pt x="788" y="268"/>
                  </a:lnTo>
                  <a:lnTo>
                    <a:pt x="788" y="268"/>
                  </a:lnTo>
                  <a:lnTo>
                    <a:pt x="784" y="264"/>
                  </a:lnTo>
                  <a:lnTo>
                    <a:pt x="784" y="264"/>
                  </a:lnTo>
                  <a:lnTo>
                    <a:pt x="780" y="264"/>
                  </a:lnTo>
                  <a:lnTo>
                    <a:pt x="780" y="264"/>
                  </a:lnTo>
                  <a:lnTo>
                    <a:pt x="780" y="258"/>
                  </a:lnTo>
                  <a:lnTo>
                    <a:pt x="780" y="256"/>
                  </a:lnTo>
                  <a:lnTo>
                    <a:pt x="788" y="252"/>
                  </a:lnTo>
                  <a:lnTo>
                    <a:pt x="788" y="252"/>
                  </a:lnTo>
                  <a:lnTo>
                    <a:pt x="786" y="248"/>
                  </a:lnTo>
                  <a:lnTo>
                    <a:pt x="786" y="248"/>
                  </a:lnTo>
                  <a:lnTo>
                    <a:pt x="784" y="244"/>
                  </a:lnTo>
                  <a:lnTo>
                    <a:pt x="784" y="242"/>
                  </a:lnTo>
                  <a:lnTo>
                    <a:pt x="784" y="242"/>
                  </a:lnTo>
                  <a:lnTo>
                    <a:pt x="780" y="240"/>
                  </a:lnTo>
                  <a:lnTo>
                    <a:pt x="780" y="240"/>
                  </a:lnTo>
                  <a:lnTo>
                    <a:pt x="778" y="234"/>
                  </a:lnTo>
                  <a:lnTo>
                    <a:pt x="776" y="228"/>
                  </a:lnTo>
                  <a:lnTo>
                    <a:pt x="776" y="228"/>
                  </a:lnTo>
                  <a:lnTo>
                    <a:pt x="766" y="224"/>
                  </a:lnTo>
                  <a:lnTo>
                    <a:pt x="752" y="222"/>
                  </a:lnTo>
                  <a:lnTo>
                    <a:pt x="752" y="222"/>
                  </a:lnTo>
                  <a:lnTo>
                    <a:pt x="748" y="224"/>
                  </a:lnTo>
                  <a:lnTo>
                    <a:pt x="744" y="226"/>
                  </a:lnTo>
                  <a:lnTo>
                    <a:pt x="744" y="226"/>
                  </a:lnTo>
                  <a:lnTo>
                    <a:pt x="736" y="226"/>
                  </a:lnTo>
                  <a:lnTo>
                    <a:pt x="736" y="226"/>
                  </a:lnTo>
                  <a:lnTo>
                    <a:pt x="734" y="226"/>
                  </a:lnTo>
                  <a:lnTo>
                    <a:pt x="734" y="228"/>
                  </a:lnTo>
                  <a:lnTo>
                    <a:pt x="734" y="228"/>
                  </a:lnTo>
                  <a:lnTo>
                    <a:pt x="732" y="228"/>
                  </a:lnTo>
                  <a:lnTo>
                    <a:pt x="730" y="228"/>
                  </a:lnTo>
                  <a:lnTo>
                    <a:pt x="730" y="228"/>
                  </a:lnTo>
                  <a:lnTo>
                    <a:pt x="730" y="220"/>
                  </a:lnTo>
                  <a:lnTo>
                    <a:pt x="728" y="218"/>
                  </a:lnTo>
                  <a:lnTo>
                    <a:pt x="728" y="218"/>
                  </a:lnTo>
                  <a:lnTo>
                    <a:pt x="726" y="210"/>
                  </a:lnTo>
                  <a:lnTo>
                    <a:pt x="726" y="210"/>
                  </a:lnTo>
                  <a:lnTo>
                    <a:pt x="728" y="206"/>
                  </a:lnTo>
                  <a:lnTo>
                    <a:pt x="730" y="202"/>
                  </a:lnTo>
                  <a:lnTo>
                    <a:pt x="730" y="202"/>
                  </a:lnTo>
                  <a:lnTo>
                    <a:pt x="730" y="196"/>
                  </a:lnTo>
                  <a:lnTo>
                    <a:pt x="726" y="190"/>
                  </a:lnTo>
                  <a:lnTo>
                    <a:pt x="726" y="190"/>
                  </a:lnTo>
                  <a:lnTo>
                    <a:pt x="722" y="186"/>
                  </a:lnTo>
                  <a:lnTo>
                    <a:pt x="722" y="186"/>
                  </a:lnTo>
                  <a:lnTo>
                    <a:pt x="722" y="182"/>
                  </a:lnTo>
                  <a:lnTo>
                    <a:pt x="722" y="182"/>
                  </a:lnTo>
                  <a:lnTo>
                    <a:pt x="724" y="180"/>
                  </a:lnTo>
                  <a:lnTo>
                    <a:pt x="726" y="176"/>
                  </a:lnTo>
                  <a:lnTo>
                    <a:pt x="726" y="176"/>
                  </a:lnTo>
                  <a:lnTo>
                    <a:pt x="726" y="174"/>
                  </a:lnTo>
                  <a:lnTo>
                    <a:pt x="726" y="170"/>
                  </a:lnTo>
                  <a:lnTo>
                    <a:pt x="726" y="170"/>
                  </a:lnTo>
                  <a:lnTo>
                    <a:pt x="728" y="168"/>
                  </a:lnTo>
                  <a:lnTo>
                    <a:pt x="730" y="168"/>
                  </a:lnTo>
                  <a:lnTo>
                    <a:pt x="730" y="168"/>
                  </a:lnTo>
                  <a:lnTo>
                    <a:pt x="734" y="164"/>
                  </a:lnTo>
                  <a:lnTo>
                    <a:pt x="736" y="158"/>
                  </a:lnTo>
                  <a:lnTo>
                    <a:pt x="736" y="158"/>
                  </a:lnTo>
                  <a:lnTo>
                    <a:pt x="738" y="150"/>
                  </a:lnTo>
                  <a:lnTo>
                    <a:pt x="738" y="144"/>
                  </a:lnTo>
                  <a:lnTo>
                    <a:pt x="734" y="132"/>
                  </a:lnTo>
                  <a:lnTo>
                    <a:pt x="734" y="132"/>
                  </a:lnTo>
                  <a:lnTo>
                    <a:pt x="738" y="130"/>
                  </a:lnTo>
                  <a:lnTo>
                    <a:pt x="738" y="130"/>
                  </a:lnTo>
                  <a:lnTo>
                    <a:pt x="742" y="138"/>
                  </a:lnTo>
                  <a:lnTo>
                    <a:pt x="742" y="138"/>
                  </a:lnTo>
                  <a:lnTo>
                    <a:pt x="742" y="140"/>
                  </a:lnTo>
                  <a:lnTo>
                    <a:pt x="740" y="142"/>
                  </a:lnTo>
                  <a:lnTo>
                    <a:pt x="740" y="142"/>
                  </a:lnTo>
                  <a:lnTo>
                    <a:pt x="740" y="144"/>
                  </a:lnTo>
                  <a:lnTo>
                    <a:pt x="742" y="146"/>
                  </a:lnTo>
                  <a:lnTo>
                    <a:pt x="744" y="150"/>
                  </a:lnTo>
                  <a:lnTo>
                    <a:pt x="744" y="150"/>
                  </a:lnTo>
                  <a:lnTo>
                    <a:pt x="742" y="154"/>
                  </a:lnTo>
                  <a:lnTo>
                    <a:pt x="742" y="154"/>
                  </a:lnTo>
                  <a:lnTo>
                    <a:pt x="740" y="158"/>
                  </a:lnTo>
                  <a:lnTo>
                    <a:pt x="740" y="160"/>
                  </a:lnTo>
                  <a:lnTo>
                    <a:pt x="742" y="160"/>
                  </a:lnTo>
                  <a:lnTo>
                    <a:pt x="742" y="160"/>
                  </a:lnTo>
                  <a:lnTo>
                    <a:pt x="742" y="166"/>
                  </a:lnTo>
                  <a:lnTo>
                    <a:pt x="742" y="166"/>
                  </a:lnTo>
                  <a:lnTo>
                    <a:pt x="746" y="172"/>
                  </a:lnTo>
                  <a:lnTo>
                    <a:pt x="748" y="176"/>
                  </a:lnTo>
                  <a:lnTo>
                    <a:pt x="744" y="180"/>
                  </a:lnTo>
                  <a:lnTo>
                    <a:pt x="744" y="180"/>
                  </a:lnTo>
                  <a:lnTo>
                    <a:pt x="744" y="180"/>
                  </a:lnTo>
                  <a:lnTo>
                    <a:pt x="748" y="184"/>
                  </a:lnTo>
                  <a:lnTo>
                    <a:pt x="752" y="186"/>
                  </a:lnTo>
                  <a:lnTo>
                    <a:pt x="752" y="186"/>
                  </a:lnTo>
                  <a:lnTo>
                    <a:pt x="754" y="186"/>
                  </a:lnTo>
                  <a:lnTo>
                    <a:pt x="756" y="184"/>
                  </a:lnTo>
                  <a:lnTo>
                    <a:pt x="758" y="182"/>
                  </a:lnTo>
                  <a:lnTo>
                    <a:pt x="758" y="182"/>
                  </a:lnTo>
                  <a:lnTo>
                    <a:pt x="764" y="182"/>
                  </a:lnTo>
                  <a:lnTo>
                    <a:pt x="766" y="184"/>
                  </a:lnTo>
                  <a:lnTo>
                    <a:pt x="766" y="184"/>
                  </a:lnTo>
                  <a:lnTo>
                    <a:pt x="778" y="182"/>
                  </a:lnTo>
                  <a:lnTo>
                    <a:pt x="780" y="184"/>
                  </a:lnTo>
                  <a:lnTo>
                    <a:pt x="780" y="184"/>
                  </a:lnTo>
                  <a:lnTo>
                    <a:pt x="782" y="182"/>
                  </a:lnTo>
                  <a:lnTo>
                    <a:pt x="782" y="182"/>
                  </a:lnTo>
                  <a:lnTo>
                    <a:pt x="780" y="178"/>
                  </a:lnTo>
                  <a:lnTo>
                    <a:pt x="780" y="178"/>
                  </a:lnTo>
                  <a:lnTo>
                    <a:pt x="776" y="178"/>
                  </a:lnTo>
                  <a:lnTo>
                    <a:pt x="776" y="178"/>
                  </a:lnTo>
                  <a:lnTo>
                    <a:pt x="774" y="174"/>
                  </a:lnTo>
                  <a:lnTo>
                    <a:pt x="774" y="174"/>
                  </a:lnTo>
                  <a:lnTo>
                    <a:pt x="768" y="174"/>
                  </a:lnTo>
                  <a:lnTo>
                    <a:pt x="768" y="174"/>
                  </a:lnTo>
                  <a:lnTo>
                    <a:pt x="766" y="170"/>
                  </a:lnTo>
                  <a:lnTo>
                    <a:pt x="766" y="170"/>
                  </a:lnTo>
                  <a:lnTo>
                    <a:pt x="764" y="170"/>
                  </a:lnTo>
                  <a:lnTo>
                    <a:pt x="760" y="168"/>
                  </a:lnTo>
                  <a:lnTo>
                    <a:pt x="760" y="168"/>
                  </a:lnTo>
                  <a:lnTo>
                    <a:pt x="764" y="158"/>
                  </a:lnTo>
                  <a:lnTo>
                    <a:pt x="764" y="158"/>
                  </a:lnTo>
                  <a:lnTo>
                    <a:pt x="774" y="160"/>
                  </a:lnTo>
                  <a:lnTo>
                    <a:pt x="782" y="164"/>
                  </a:lnTo>
                  <a:lnTo>
                    <a:pt x="782" y="164"/>
                  </a:lnTo>
                  <a:lnTo>
                    <a:pt x="782" y="164"/>
                  </a:lnTo>
                  <a:lnTo>
                    <a:pt x="784" y="164"/>
                  </a:lnTo>
                  <a:lnTo>
                    <a:pt x="784" y="164"/>
                  </a:lnTo>
                  <a:lnTo>
                    <a:pt x="788" y="162"/>
                  </a:lnTo>
                  <a:lnTo>
                    <a:pt x="790" y="156"/>
                  </a:lnTo>
                  <a:lnTo>
                    <a:pt x="790" y="156"/>
                  </a:lnTo>
                  <a:lnTo>
                    <a:pt x="786" y="154"/>
                  </a:lnTo>
                  <a:lnTo>
                    <a:pt x="786" y="154"/>
                  </a:lnTo>
                  <a:lnTo>
                    <a:pt x="780" y="154"/>
                  </a:lnTo>
                  <a:lnTo>
                    <a:pt x="780" y="154"/>
                  </a:lnTo>
                  <a:lnTo>
                    <a:pt x="790" y="148"/>
                  </a:lnTo>
                  <a:lnTo>
                    <a:pt x="794" y="146"/>
                  </a:lnTo>
                  <a:lnTo>
                    <a:pt x="802" y="146"/>
                  </a:lnTo>
                  <a:lnTo>
                    <a:pt x="802" y="146"/>
                  </a:lnTo>
                  <a:lnTo>
                    <a:pt x="812" y="150"/>
                  </a:lnTo>
                  <a:lnTo>
                    <a:pt x="812" y="150"/>
                  </a:lnTo>
                  <a:lnTo>
                    <a:pt x="816" y="154"/>
                  </a:lnTo>
                  <a:lnTo>
                    <a:pt x="816" y="154"/>
                  </a:lnTo>
                  <a:lnTo>
                    <a:pt x="820" y="154"/>
                  </a:lnTo>
                  <a:lnTo>
                    <a:pt x="820" y="154"/>
                  </a:lnTo>
                  <a:lnTo>
                    <a:pt x="822" y="158"/>
                  </a:lnTo>
                  <a:lnTo>
                    <a:pt x="826" y="162"/>
                  </a:lnTo>
                  <a:lnTo>
                    <a:pt x="826" y="162"/>
                  </a:lnTo>
                  <a:lnTo>
                    <a:pt x="832" y="162"/>
                  </a:lnTo>
                  <a:lnTo>
                    <a:pt x="836" y="162"/>
                  </a:lnTo>
                  <a:lnTo>
                    <a:pt x="842" y="162"/>
                  </a:lnTo>
                  <a:lnTo>
                    <a:pt x="848" y="162"/>
                  </a:lnTo>
                  <a:lnTo>
                    <a:pt x="848" y="162"/>
                  </a:lnTo>
                  <a:lnTo>
                    <a:pt x="850" y="164"/>
                  </a:lnTo>
                  <a:lnTo>
                    <a:pt x="850" y="166"/>
                  </a:lnTo>
                  <a:lnTo>
                    <a:pt x="848" y="168"/>
                  </a:lnTo>
                  <a:lnTo>
                    <a:pt x="844" y="174"/>
                  </a:lnTo>
                  <a:lnTo>
                    <a:pt x="844" y="174"/>
                  </a:lnTo>
                  <a:lnTo>
                    <a:pt x="840" y="178"/>
                  </a:lnTo>
                  <a:lnTo>
                    <a:pt x="840" y="182"/>
                  </a:lnTo>
                  <a:lnTo>
                    <a:pt x="840" y="192"/>
                  </a:lnTo>
                  <a:lnTo>
                    <a:pt x="838" y="194"/>
                  </a:lnTo>
                  <a:lnTo>
                    <a:pt x="838" y="194"/>
                  </a:lnTo>
                  <a:lnTo>
                    <a:pt x="834" y="202"/>
                  </a:lnTo>
                  <a:lnTo>
                    <a:pt x="830" y="210"/>
                  </a:lnTo>
                  <a:lnTo>
                    <a:pt x="830" y="210"/>
                  </a:lnTo>
                  <a:lnTo>
                    <a:pt x="834" y="208"/>
                  </a:lnTo>
                  <a:lnTo>
                    <a:pt x="834" y="208"/>
                  </a:lnTo>
                  <a:lnTo>
                    <a:pt x="840" y="202"/>
                  </a:lnTo>
                  <a:lnTo>
                    <a:pt x="840" y="202"/>
                  </a:lnTo>
                  <a:lnTo>
                    <a:pt x="842" y="202"/>
                  </a:lnTo>
                  <a:lnTo>
                    <a:pt x="842" y="202"/>
                  </a:lnTo>
                  <a:lnTo>
                    <a:pt x="842" y="206"/>
                  </a:lnTo>
                  <a:lnTo>
                    <a:pt x="848" y="210"/>
                  </a:lnTo>
                  <a:lnTo>
                    <a:pt x="848" y="210"/>
                  </a:lnTo>
                  <a:lnTo>
                    <a:pt x="848" y="214"/>
                  </a:lnTo>
                  <a:lnTo>
                    <a:pt x="848" y="214"/>
                  </a:lnTo>
                  <a:lnTo>
                    <a:pt x="858" y="216"/>
                  </a:lnTo>
                  <a:lnTo>
                    <a:pt x="868" y="218"/>
                  </a:lnTo>
                  <a:lnTo>
                    <a:pt x="868" y="218"/>
                  </a:lnTo>
                  <a:lnTo>
                    <a:pt x="870" y="216"/>
                  </a:lnTo>
                  <a:lnTo>
                    <a:pt x="872" y="214"/>
                  </a:lnTo>
                  <a:lnTo>
                    <a:pt x="874" y="214"/>
                  </a:lnTo>
                  <a:lnTo>
                    <a:pt x="874" y="214"/>
                  </a:lnTo>
                  <a:lnTo>
                    <a:pt x="876" y="216"/>
                  </a:lnTo>
                  <a:lnTo>
                    <a:pt x="876" y="216"/>
                  </a:lnTo>
                  <a:lnTo>
                    <a:pt x="880" y="218"/>
                  </a:lnTo>
                  <a:lnTo>
                    <a:pt x="880" y="218"/>
                  </a:lnTo>
                  <a:lnTo>
                    <a:pt x="880" y="224"/>
                  </a:lnTo>
                  <a:lnTo>
                    <a:pt x="880" y="224"/>
                  </a:lnTo>
                  <a:lnTo>
                    <a:pt x="884" y="224"/>
                  </a:lnTo>
                  <a:lnTo>
                    <a:pt x="886" y="226"/>
                  </a:lnTo>
                  <a:lnTo>
                    <a:pt x="886" y="226"/>
                  </a:lnTo>
                  <a:lnTo>
                    <a:pt x="884" y="218"/>
                  </a:lnTo>
                  <a:lnTo>
                    <a:pt x="884" y="216"/>
                  </a:lnTo>
                  <a:lnTo>
                    <a:pt x="880" y="214"/>
                  </a:lnTo>
                  <a:lnTo>
                    <a:pt x="880" y="214"/>
                  </a:lnTo>
                  <a:lnTo>
                    <a:pt x="878" y="214"/>
                  </a:lnTo>
                  <a:lnTo>
                    <a:pt x="876" y="214"/>
                  </a:lnTo>
                  <a:lnTo>
                    <a:pt x="876" y="214"/>
                  </a:lnTo>
                  <a:lnTo>
                    <a:pt x="874" y="210"/>
                  </a:lnTo>
                  <a:lnTo>
                    <a:pt x="874" y="210"/>
                  </a:lnTo>
                  <a:lnTo>
                    <a:pt x="872" y="210"/>
                  </a:lnTo>
                  <a:lnTo>
                    <a:pt x="872" y="210"/>
                  </a:lnTo>
                  <a:lnTo>
                    <a:pt x="868" y="212"/>
                  </a:lnTo>
                  <a:lnTo>
                    <a:pt x="862" y="214"/>
                  </a:lnTo>
                  <a:lnTo>
                    <a:pt x="862" y="214"/>
                  </a:lnTo>
                  <a:lnTo>
                    <a:pt x="850" y="206"/>
                  </a:lnTo>
                  <a:lnTo>
                    <a:pt x="848" y="200"/>
                  </a:lnTo>
                  <a:lnTo>
                    <a:pt x="848" y="200"/>
                  </a:lnTo>
                  <a:lnTo>
                    <a:pt x="858" y="198"/>
                  </a:lnTo>
                  <a:lnTo>
                    <a:pt x="858" y="198"/>
                  </a:lnTo>
                  <a:lnTo>
                    <a:pt x="858" y="190"/>
                  </a:lnTo>
                  <a:lnTo>
                    <a:pt x="858" y="190"/>
                  </a:lnTo>
                  <a:lnTo>
                    <a:pt x="854" y="184"/>
                  </a:lnTo>
                  <a:lnTo>
                    <a:pt x="854" y="180"/>
                  </a:lnTo>
                  <a:lnTo>
                    <a:pt x="854" y="178"/>
                  </a:lnTo>
                  <a:lnTo>
                    <a:pt x="854" y="178"/>
                  </a:lnTo>
                  <a:lnTo>
                    <a:pt x="856" y="172"/>
                  </a:lnTo>
                  <a:lnTo>
                    <a:pt x="858" y="168"/>
                  </a:lnTo>
                  <a:lnTo>
                    <a:pt x="858" y="168"/>
                  </a:lnTo>
                  <a:lnTo>
                    <a:pt x="858" y="166"/>
                  </a:lnTo>
                  <a:lnTo>
                    <a:pt x="858" y="162"/>
                  </a:lnTo>
                  <a:lnTo>
                    <a:pt x="858" y="162"/>
                  </a:lnTo>
                  <a:lnTo>
                    <a:pt x="846" y="158"/>
                  </a:lnTo>
                  <a:lnTo>
                    <a:pt x="846" y="158"/>
                  </a:lnTo>
                  <a:lnTo>
                    <a:pt x="846" y="154"/>
                  </a:lnTo>
                  <a:lnTo>
                    <a:pt x="842" y="152"/>
                  </a:lnTo>
                  <a:lnTo>
                    <a:pt x="842" y="152"/>
                  </a:lnTo>
                  <a:lnTo>
                    <a:pt x="838" y="152"/>
                  </a:lnTo>
                  <a:lnTo>
                    <a:pt x="834" y="152"/>
                  </a:lnTo>
                  <a:lnTo>
                    <a:pt x="832" y="150"/>
                  </a:lnTo>
                  <a:lnTo>
                    <a:pt x="832" y="150"/>
                  </a:lnTo>
                  <a:lnTo>
                    <a:pt x="826" y="146"/>
                  </a:lnTo>
                  <a:lnTo>
                    <a:pt x="822" y="144"/>
                  </a:lnTo>
                  <a:lnTo>
                    <a:pt x="820" y="138"/>
                  </a:lnTo>
                  <a:lnTo>
                    <a:pt x="822" y="130"/>
                  </a:lnTo>
                  <a:lnTo>
                    <a:pt x="822" y="130"/>
                  </a:lnTo>
                  <a:lnTo>
                    <a:pt x="824" y="122"/>
                  </a:lnTo>
                  <a:lnTo>
                    <a:pt x="824" y="122"/>
                  </a:lnTo>
                  <a:lnTo>
                    <a:pt x="824" y="120"/>
                  </a:lnTo>
                  <a:lnTo>
                    <a:pt x="824" y="118"/>
                  </a:lnTo>
                  <a:lnTo>
                    <a:pt x="824" y="118"/>
                  </a:lnTo>
                  <a:lnTo>
                    <a:pt x="828" y="110"/>
                  </a:lnTo>
                  <a:lnTo>
                    <a:pt x="828" y="110"/>
                  </a:lnTo>
                  <a:lnTo>
                    <a:pt x="830" y="110"/>
                  </a:lnTo>
                  <a:lnTo>
                    <a:pt x="832" y="110"/>
                  </a:lnTo>
                  <a:lnTo>
                    <a:pt x="834" y="108"/>
                  </a:lnTo>
                  <a:lnTo>
                    <a:pt x="834" y="108"/>
                  </a:lnTo>
                  <a:lnTo>
                    <a:pt x="840" y="108"/>
                  </a:lnTo>
                  <a:lnTo>
                    <a:pt x="844" y="108"/>
                  </a:lnTo>
                  <a:lnTo>
                    <a:pt x="848" y="106"/>
                  </a:lnTo>
                  <a:lnTo>
                    <a:pt x="848" y="106"/>
                  </a:lnTo>
                  <a:lnTo>
                    <a:pt x="852" y="106"/>
                  </a:lnTo>
                  <a:lnTo>
                    <a:pt x="858" y="108"/>
                  </a:lnTo>
                  <a:lnTo>
                    <a:pt x="858" y="108"/>
                  </a:lnTo>
                  <a:lnTo>
                    <a:pt x="862" y="104"/>
                  </a:lnTo>
                  <a:lnTo>
                    <a:pt x="866" y="104"/>
                  </a:lnTo>
                  <a:lnTo>
                    <a:pt x="870" y="104"/>
                  </a:lnTo>
                  <a:lnTo>
                    <a:pt x="870" y="104"/>
                  </a:lnTo>
                  <a:lnTo>
                    <a:pt x="874" y="106"/>
                  </a:lnTo>
                  <a:lnTo>
                    <a:pt x="876" y="108"/>
                  </a:lnTo>
                  <a:lnTo>
                    <a:pt x="878" y="108"/>
                  </a:lnTo>
                  <a:lnTo>
                    <a:pt x="880" y="106"/>
                  </a:lnTo>
                  <a:lnTo>
                    <a:pt x="880" y="106"/>
                  </a:lnTo>
                  <a:lnTo>
                    <a:pt x="882" y="106"/>
                  </a:lnTo>
                  <a:lnTo>
                    <a:pt x="886" y="106"/>
                  </a:lnTo>
                  <a:lnTo>
                    <a:pt x="886" y="106"/>
                  </a:lnTo>
                  <a:lnTo>
                    <a:pt x="890" y="104"/>
                  </a:lnTo>
                  <a:lnTo>
                    <a:pt x="896" y="104"/>
                  </a:lnTo>
                  <a:lnTo>
                    <a:pt x="896" y="104"/>
                  </a:lnTo>
                  <a:lnTo>
                    <a:pt x="900" y="104"/>
                  </a:lnTo>
                  <a:lnTo>
                    <a:pt x="902" y="106"/>
                  </a:lnTo>
                  <a:lnTo>
                    <a:pt x="902" y="108"/>
                  </a:lnTo>
                  <a:lnTo>
                    <a:pt x="900" y="112"/>
                  </a:lnTo>
                  <a:lnTo>
                    <a:pt x="900" y="112"/>
                  </a:lnTo>
                  <a:lnTo>
                    <a:pt x="900" y="112"/>
                  </a:lnTo>
                  <a:lnTo>
                    <a:pt x="902" y="114"/>
                  </a:lnTo>
                  <a:lnTo>
                    <a:pt x="908" y="114"/>
                  </a:lnTo>
                  <a:lnTo>
                    <a:pt x="908" y="114"/>
                  </a:lnTo>
                  <a:lnTo>
                    <a:pt x="908" y="114"/>
                  </a:lnTo>
                  <a:lnTo>
                    <a:pt x="908" y="110"/>
                  </a:lnTo>
                  <a:lnTo>
                    <a:pt x="906" y="104"/>
                  </a:lnTo>
                  <a:lnTo>
                    <a:pt x="902" y="96"/>
                  </a:lnTo>
                  <a:lnTo>
                    <a:pt x="902" y="96"/>
                  </a:lnTo>
                  <a:lnTo>
                    <a:pt x="898" y="94"/>
                  </a:lnTo>
                  <a:lnTo>
                    <a:pt x="894" y="92"/>
                  </a:lnTo>
                  <a:lnTo>
                    <a:pt x="894" y="92"/>
                  </a:lnTo>
                  <a:lnTo>
                    <a:pt x="894" y="88"/>
                  </a:lnTo>
                  <a:lnTo>
                    <a:pt x="894" y="88"/>
                  </a:lnTo>
                  <a:lnTo>
                    <a:pt x="900" y="88"/>
                  </a:lnTo>
                  <a:lnTo>
                    <a:pt x="906" y="88"/>
                  </a:lnTo>
                  <a:lnTo>
                    <a:pt x="906" y="86"/>
                  </a:lnTo>
                  <a:lnTo>
                    <a:pt x="906" y="86"/>
                  </a:lnTo>
                  <a:lnTo>
                    <a:pt x="904" y="84"/>
                  </a:lnTo>
                  <a:lnTo>
                    <a:pt x="902" y="82"/>
                  </a:lnTo>
                  <a:lnTo>
                    <a:pt x="902" y="82"/>
                  </a:lnTo>
                  <a:lnTo>
                    <a:pt x="900" y="80"/>
                  </a:lnTo>
                  <a:lnTo>
                    <a:pt x="896" y="80"/>
                  </a:lnTo>
                  <a:lnTo>
                    <a:pt x="896" y="80"/>
                  </a:lnTo>
                  <a:lnTo>
                    <a:pt x="898" y="76"/>
                  </a:lnTo>
                  <a:lnTo>
                    <a:pt x="898" y="76"/>
                  </a:lnTo>
                  <a:lnTo>
                    <a:pt x="908" y="82"/>
                  </a:lnTo>
                  <a:lnTo>
                    <a:pt x="908" y="82"/>
                  </a:lnTo>
                  <a:lnTo>
                    <a:pt x="910" y="74"/>
                  </a:lnTo>
                  <a:lnTo>
                    <a:pt x="912" y="70"/>
                  </a:lnTo>
                  <a:lnTo>
                    <a:pt x="912" y="70"/>
                  </a:lnTo>
                  <a:lnTo>
                    <a:pt x="916" y="70"/>
                  </a:lnTo>
                  <a:lnTo>
                    <a:pt x="916" y="70"/>
                  </a:lnTo>
                  <a:lnTo>
                    <a:pt x="918" y="66"/>
                  </a:lnTo>
                  <a:lnTo>
                    <a:pt x="918" y="66"/>
                  </a:lnTo>
                  <a:lnTo>
                    <a:pt x="914" y="64"/>
                  </a:lnTo>
                  <a:lnTo>
                    <a:pt x="914" y="64"/>
                  </a:lnTo>
                  <a:lnTo>
                    <a:pt x="910" y="64"/>
                  </a:lnTo>
                  <a:lnTo>
                    <a:pt x="910" y="64"/>
                  </a:lnTo>
                  <a:lnTo>
                    <a:pt x="910" y="62"/>
                  </a:lnTo>
                  <a:lnTo>
                    <a:pt x="910" y="62"/>
                  </a:lnTo>
                  <a:lnTo>
                    <a:pt x="916" y="62"/>
                  </a:lnTo>
                  <a:lnTo>
                    <a:pt x="922" y="62"/>
                  </a:lnTo>
                  <a:lnTo>
                    <a:pt x="924" y="60"/>
                  </a:lnTo>
                  <a:lnTo>
                    <a:pt x="924" y="60"/>
                  </a:lnTo>
                  <a:lnTo>
                    <a:pt x="932" y="60"/>
                  </a:lnTo>
                  <a:lnTo>
                    <a:pt x="932" y="58"/>
                  </a:lnTo>
                  <a:lnTo>
                    <a:pt x="932" y="58"/>
                  </a:lnTo>
                  <a:lnTo>
                    <a:pt x="938" y="58"/>
                  </a:lnTo>
                  <a:lnTo>
                    <a:pt x="938" y="58"/>
                  </a:lnTo>
                  <a:lnTo>
                    <a:pt x="942" y="54"/>
                  </a:lnTo>
                  <a:lnTo>
                    <a:pt x="946" y="52"/>
                  </a:lnTo>
                  <a:lnTo>
                    <a:pt x="946" y="52"/>
                  </a:lnTo>
                  <a:lnTo>
                    <a:pt x="950" y="54"/>
                  </a:lnTo>
                  <a:lnTo>
                    <a:pt x="952" y="54"/>
                  </a:lnTo>
                  <a:lnTo>
                    <a:pt x="952" y="54"/>
                  </a:lnTo>
                  <a:lnTo>
                    <a:pt x="960" y="52"/>
                  </a:lnTo>
                  <a:lnTo>
                    <a:pt x="960" y="52"/>
                  </a:lnTo>
                  <a:lnTo>
                    <a:pt x="964" y="52"/>
                  </a:lnTo>
                  <a:lnTo>
                    <a:pt x="970" y="52"/>
                  </a:lnTo>
                  <a:lnTo>
                    <a:pt x="970" y="52"/>
                  </a:lnTo>
                  <a:lnTo>
                    <a:pt x="976" y="48"/>
                  </a:lnTo>
                  <a:lnTo>
                    <a:pt x="976" y="48"/>
                  </a:lnTo>
                  <a:lnTo>
                    <a:pt x="982" y="48"/>
                  </a:lnTo>
                  <a:lnTo>
                    <a:pt x="988" y="48"/>
                  </a:lnTo>
                  <a:lnTo>
                    <a:pt x="988" y="48"/>
                  </a:lnTo>
                  <a:lnTo>
                    <a:pt x="992" y="46"/>
                  </a:lnTo>
                  <a:lnTo>
                    <a:pt x="992" y="44"/>
                  </a:lnTo>
                  <a:lnTo>
                    <a:pt x="992" y="42"/>
                  </a:lnTo>
                  <a:lnTo>
                    <a:pt x="996" y="42"/>
                  </a:lnTo>
                  <a:lnTo>
                    <a:pt x="996" y="42"/>
                  </a:lnTo>
                  <a:lnTo>
                    <a:pt x="998" y="42"/>
                  </a:lnTo>
                  <a:lnTo>
                    <a:pt x="1000" y="44"/>
                  </a:lnTo>
                  <a:lnTo>
                    <a:pt x="1000" y="44"/>
                  </a:lnTo>
                  <a:lnTo>
                    <a:pt x="1002" y="42"/>
                  </a:lnTo>
                  <a:lnTo>
                    <a:pt x="1002" y="42"/>
                  </a:lnTo>
                  <a:lnTo>
                    <a:pt x="1004" y="42"/>
                  </a:lnTo>
                  <a:lnTo>
                    <a:pt x="1004" y="42"/>
                  </a:lnTo>
                  <a:lnTo>
                    <a:pt x="1010" y="42"/>
                  </a:lnTo>
                  <a:lnTo>
                    <a:pt x="1010" y="42"/>
                  </a:lnTo>
                  <a:lnTo>
                    <a:pt x="1012" y="44"/>
                  </a:lnTo>
                  <a:lnTo>
                    <a:pt x="1014" y="44"/>
                  </a:lnTo>
                  <a:lnTo>
                    <a:pt x="1014" y="44"/>
                  </a:lnTo>
                  <a:lnTo>
                    <a:pt x="1016" y="40"/>
                  </a:lnTo>
                  <a:lnTo>
                    <a:pt x="1016" y="40"/>
                  </a:lnTo>
                  <a:lnTo>
                    <a:pt x="1024" y="44"/>
                  </a:lnTo>
                  <a:lnTo>
                    <a:pt x="1024" y="44"/>
                  </a:lnTo>
                  <a:lnTo>
                    <a:pt x="1028" y="42"/>
                  </a:lnTo>
                  <a:lnTo>
                    <a:pt x="1030" y="42"/>
                  </a:lnTo>
                  <a:lnTo>
                    <a:pt x="1034" y="42"/>
                  </a:lnTo>
                  <a:lnTo>
                    <a:pt x="1034" y="42"/>
                  </a:lnTo>
                  <a:lnTo>
                    <a:pt x="1036" y="46"/>
                  </a:lnTo>
                  <a:lnTo>
                    <a:pt x="1036" y="46"/>
                  </a:lnTo>
                  <a:lnTo>
                    <a:pt x="1036" y="46"/>
                  </a:lnTo>
                  <a:lnTo>
                    <a:pt x="1036" y="46"/>
                  </a:lnTo>
                  <a:lnTo>
                    <a:pt x="1032" y="50"/>
                  </a:lnTo>
                  <a:lnTo>
                    <a:pt x="1028" y="54"/>
                  </a:lnTo>
                  <a:lnTo>
                    <a:pt x="1028" y="56"/>
                  </a:lnTo>
                  <a:lnTo>
                    <a:pt x="1028" y="56"/>
                  </a:lnTo>
                  <a:lnTo>
                    <a:pt x="1036" y="54"/>
                  </a:lnTo>
                  <a:lnTo>
                    <a:pt x="1036" y="54"/>
                  </a:lnTo>
                  <a:lnTo>
                    <a:pt x="1038" y="50"/>
                  </a:lnTo>
                  <a:lnTo>
                    <a:pt x="1040" y="50"/>
                  </a:lnTo>
                  <a:lnTo>
                    <a:pt x="1040" y="50"/>
                  </a:lnTo>
                  <a:lnTo>
                    <a:pt x="1040" y="54"/>
                  </a:lnTo>
                  <a:lnTo>
                    <a:pt x="1042" y="54"/>
                  </a:lnTo>
                  <a:lnTo>
                    <a:pt x="1042" y="54"/>
                  </a:lnTo>
                  <a:lnTo>
                    <a:pt x="1044" y="50"/>
                  </a:lnTo>
                  <a:lnTo>
                    <a:pt x="1044" y="50"/>
                  </a:lnTo>
                  <a:lnTo>
                    <a:pt x="1048" y="50"/>
                  </a:lnTo>
                  <a:lnTo>
                    <a:pt x="1048" y="52"/>
                  </a:lnTo>
                  <a:lnTo>
                    <a:pt x="1048" y="52"/>
                  </a:lnTo>
                  <a:lnTo>
                    <a:pt x="1056" y="46"/>
                  </a:lnTo>
                  <a:lnTo>
                    <a:pt x="1056" y="46"/>
                  </a:lnTo>
                  <a:lnTo>
                    <a:pt x="1062" y="42"/>
                  </a:lnTo>
                  <a:lnTo>
                    <a:pt x="1064" y="40"/>
                  </a:lnTo>
                  <a:lnTo>
                    <a:pt x="1068" y="44"/>
                  </a:lnTo>
                  <a:lnTo>
                    <a:pt x="1068" y="44"/>
                  </a:lnTo>
                  <a:lnTo>
                    <a:pt x="1070" y="46"/>
                  </a:lnTo>
                  <a:lnTo>
                    <a:pt x="1068" y="50"/>
                  </a:lnTo>
                  <a:lnTo>
                    <a:pt x="1068" y="54"/>
                  </a:lnTo>
                  <a:lnTo>
                    <a:pt x="1070" y="56"/>
                  </a:lnTo>
                  <a:lnTo>
                    <a:pt x="1070" y="52"/>
                  </a:lnTo>
                  <a:lnTo>
                    <a:pt x="1070" y="52"/>
                  </a:lnTo>
                  <a:lnTo>
                    <a:pt x="1074" y="52"/>
                  </a:lnTo>
                  <a:lnTo>
                    <a:pt x="1074" y="52"/>
                  </a:lnTo>
                  <a:lnTo>
                    <a:pt x="1072" y="44"/>
                  </a:lnTo>
                  <a:lnTo>
                    <a:pt x="1072" y="42"/>
                  </a:lnTo>
                  <a:lnTo>
                    <a:pt x="1070" y="40"/>
                  </a:lnTo>
                  <a:lnTo>
                    <a:pt x="1070" y="40"/>
                  </a:lnTo>
                  <a:lnTo>
                    <a:pt x="1066" y="38"/>
                  </a:lnTo>
                  <a:lnTo>
                    <a:pt x="1066" y="38"/>
                  </a:lnTo>
                  <a:lnTo>
                    <a:pt x="1064" y="36"/>
                  </a:lnTo>
                  <a:lnTo>
                    <a:pt x="1064" y="36"/>
                  </a:lnTo>
                  <a:lnTo>
                    <a:pt x="1084" y="36"/>
                  </a:lnTo>
                  <a:lnTo>
                    <a:pt x="1084" y="36"/>
                  </a:lnTo>
                  <a:lnTo>
                    <a:pt x="1086" y="34"/>
                  </a:lnTo>
                  <a:lnTo>
                    <a:pt x="1090" y="32"/>
                  </a:lnTo>
                  <a:lnTo>
                    <a:pt x="1090" y="32"/>
                  </a:lnTo>
                  <a:lnTo>
                    <a:pt x="1094" y="38"/>
                  </a:lnTo>
                  <a:lnTo>
                    <a:pt x="1094" y="38"/>
                  </a:lnTo>
                  <a:lnTo>
                    <a:pt x="1098" y="38"/>
                  </a:lnTo>
                  <a:lnTo>
                    <a:pt x="1098" y="38"/>
                  </a:lnTo>
                  <a:lnTo>
                    <a:pt x="1094" y="32"/>
                  </a:lnTo>
                  <a:lnTo>
                    <a:pt x="1090" y="28"/>
                  </a:lnTo>
                  <a:lnTo>
                    <a:pt x="1090" y="28"/>
                  </a:lnTo>
                  <a:lnTo>
                    <a:pt x="1090" y="22"/>
                  </a:lnTo>
                  <a:lnTo>
                    <a:pt x="1092" y="22"/>
                  </a:lnTo>
                  <a:lnTo>
                    <a:pt x="1092" y="22"/>
                  </a:lnTo>
                  <a:lnTo>
                    <a:pt x="1102" y="14"/>
                  </a:lnTo>
                  <a:lnTo>
                    <a:pt x="1102" y="14"/>
                  </a:lnTo>
                  <a:lnTo>
                    <a:pt x="1104" y="12"/>
                  </a:lnTo>
                  <a:lnTo>
                    <a:pt x="1104" y="12"/>
                  </a:lnTo>
                  <a:lnTo>
                    <a:pt x="1104" y="10"/>
                  </a:lnTo>
                  <a:lnTo>
                    <a:pt x="1104" y="8"/>
                  </a:lnTo>
                  <a:lnTo>
                    <a:pt x="1104" y="8"/>
                  </a:lnTo>
                  <a:lnTo>
                    <a:pt x="1108" y="6"/>
                  </a:lnTo>
                  <a:lnTo>
                    <a:pt x="1112" y="6"/>
                  </a:lnTo>
                  <a:lnTo>
                    <a:pt x="1114" y="4"/>
                  </a:lnTo>
                  <a:lnTo>
                    <a:pt x="1114" y="4"/>
                  </a:lnTo>
                  <a:lnTo>
                    <a:pt x="1118" y="4"/>
                  </a:lnTo>
                  <a:lnTo>
                    <a:pt x="1120" y="6"/>
                  </a:lnTo>
                  <a:lnTo>
                    <a:pt x="1122" y="6"/>
                  </a:lnTo>
                  <a:lnTo>
                    <a:pt x="1124" y="8"/>
                  </a:lnTo>
                  <a:lnTo>
                    <a:pt x="1124" y="8"/>
                  </a:lnTo>
                  <a:lnTo>
                    <a:pt x="1126" y="6"/>
                  </a:lnTo>
                  <a:lnTo>
                    <a:pt x="1128" y="4"/>
                  </a:lnTo>
                  <a:lnTo>
                    <a:pt x="1130" y="2"/>
                  </a:lnTo>
                  <a:lnTo>
                    <a:pt x="1130" y="2"/>
                  </a:lnTo>
                  <a:lnTo>
                    <a:pt x="1132" y="0"/>
                  </a:lnTo>
                  <a:lnTo>
                    <a:pt x="1134" y="2"/>
                  </a:lnTo>
                  <a:lnTo>
                    <a:pt x="1138" y="4"/>
                  </a:lnTo>
                  <a:lnTo>
                    <a:pt x="1138" y="4"/>
                  </a:lnTo>
                  <a:lnTo>
                    <a:pt x="1142" y="2"/>
                  </a:lnTo>
                  <a:lnTo>
                    <a:pt x="1146" y="2"/>
                  </a:lnTo>
                  <a:lnTo>
                    <a:pt x="1146" y="2"/>
                  </a:lnTo>
                  <a:lnTo>
                    <a:pt x="1146" y="6"/>
                  </a:lnTo>
                  <a:lnTo>
                    <a:pt x="1146" y="8"/>
                  </a:lnTo>
                  <a:lnTo>
                    <a:pt x="1146" y="8"/>
                  </a:lnTo>
                  <a:lnTo>
                    <a:pt x="1150" y="8"/>
                  </a:lnTo>
                  <a:lnTo>
                    <a:pt x="1154" y="8"/>
                  </a:lnTo>
                  <a:lnTo>
                    <a:pt x="1154" y="8"/>
                  </a:lnTo>
                  <a:lnTo>
                    <a:pt x="1156" y="10"/>
                  </a:lnTo>
                  <a:lnTo>
                    <a:pt x="1156" y="12"/>
                  </a:lnTo>
                  <a:lnTo>
                    <a:pt x="1156" y="12"/>
                  </a:lnTo>
                  <a:lnTo>
                    <a:pt x="1152" y="12"/>
                  </a:lnTo>
                  <a:lnTo>
                    <a:pt x="1152" y="12"/>
                  </a:lnTo>
                  <a:lnTo>
                    <a:pt x="1150" y="16"/>
                  </a:lnTo>
                  <a:lnTo>
                    <a:pt x="1148" y="20"/>
                  </a:lnTo>
                  <a:lnTo>
                    <a:pt x="1148" y="20"/>
                  </a:lnTo>
                  <a:lnTo>
                    <a:pt x="1152" y="18"/>
                  </a:lnTo>
                  <a:lnTo>
                    <a:pt x="1154" y="18"/>
                  </a:lnTo>
                  <a:lnTo>
                    <a:pt x="1154" y="20"/>
                  </a:lnTo>
                  <a:lnTo>
                    <a:pt x="1154" y="20"/>
                  </a:lnTo>
                  <a:lnTo>
                    <a:pt x="1154" y="20"/>
                  </a:lnTo>
                  <a:lnTo>
                    <a:pt x="1154" y="22"/>
                  </a:lnTo>
                  <a:lnTo>
                    <a:pt x="1154" y="22"/>
                  </a:lnTo>
                  <a:lnTo>
                    <a:pt x="1154" y="22"/>
                  </a:lnTo>
                  <a:lnTo>
                    <a:pt x="1158" y="22"/>
                  </a:lnTo>
                  <a:lnTo>
                    <a:pt x="1160" y="20"/>
                  </a:lnTo>
                  <a:lnTo>
                    <a:pt x="1162" y="20"/>
                  </a:lnTo>
                  <a:lnTo>
                    <a:pt x="1166" y="20"/>
                  </a:lnTo>
                  <a:lnTo>
                    <a:pt x="1168" y="22"/>
                  </a:lnTo>
                  <a:lnTo>
                    <a:pt x="1168" y="22"/>
                  </a:lnTo>
                  <a:lnTo>
                    <a:pt x="1176" y="24"/>
                  </a:lnTo>
                  <a:lnTo>
                    <a:pt x="1176" y="24"/>
                  </a:lnTo>
                  <a:lnTo>
                    <a:pt x="1172" y="38"/>
                  </a:lnTo>
                  <a:lnTo>
                    <a:pt x="1172" y="38"/>
                  </a:lnTo>
                  <a:lnTo>
                    <a:pt x="1178" y="36"/>
                  </a:lnTo>
                  <a:lnTo>
                    <a:pt x="1184" y="32"/>
                  </a:lnTo>
                  <a:lnTo>
                    <a:pt x="1184" y="32"/>
                  </a:lnTo>
                  <a:lnTo>
                    <a:pt x="1186" y="30"/>
                  </a:lnTo>
                  <a:lnTo>
                    <a:pt x="1188" y="28"/>
                  </a:lnTo>
                  <a:lnTo>
                    <a:pt x="1188" y="28"/>
                  </a:lnTo>
                  <a:lnTo>
                    <a:pt x="1200" y="26"/>
                  </a:lnTo>
                  <a:lnTo>
                    <a:pt x="1212" y="24"/>
                  </a:lnTo>
                  <a:lnTo>
                    <a:pt x="1212" y="24"/>
                  </a:lnTo>
                  <a:lnTo>
                    <a:pt x="1214" y="26"/>
                  </a:lnTo>
                  <a:lnTo>
                    <a:pt x="1216" y="26"/>
                  </a:lnTo>
                  <a:lnTo>
                    <a:pt x="1216" y="26"/>
                  </a:lnTo>
                  <a:lnTo>
                    <a:pt x="1220" y="24"/>
                  </a:lnTo>
                  <a:lnTo>
                    <a:pt x="1220" y="24"/>
                  </a:lnTo>
                  <a:lnTo>
                    <a:pt x="1228" y="24"/>
                  </a:lnTo>
                  <a:lnTo>
                    <a:pt x="1228" y="24"/>
                  </a:lnTo>
                  <a:lnTo>
                    <a:pt x="1230" y="22"/>
                  </a:lnTo>
                  <a:lnTo>
                    <a:pt x="1232" y="22"/>
                  </a:lnTo>
                  <a:lnTo>
                    <a:pt x="1232" y="22"/>
                  </a:lnTo>
                  <a:lnTo>
                    <a:pt x="1234" y="26"/>
                  </a:lnTo>
                  <a:lnTo>
                    <a:pt x="1236" y="28"/>
                  </a:lnTo>
                  <a:lnTo>
                    <a:pt x="1236" y="34"/>
                  </a:lnTo>
                  <a:lnTo>
                    <a:pt x="1236" y="34"/>
                  </a:lnTo>
                  <a:lnTo>
                    <a:pt x="1238" y="36"/>
                  </a:lnTo>
                  <a:lnTo>
                    <a:pt x="1244" y="38"/>
                  </a:lnTo>
                  <a:lnTo>
                    <a:pt x="1252" y="40"/>
                  </a:lnTo>
                  <a:lnTo>
                    <a:pt x="1252" y="40"/>
                  </a:lnTo>
                  <a:lnTo>
                    <a:pt x="1254" y="50"/>
                  </a:lnTo>
                  <a:lnTo>
                    <a:pt x="1254" y="50"/>
                  </a:lnTo>
                  <a:lnTo>
                    <a:pt x="1258" y="50"/>
                  </a:lnTo>
                  <a:lnTo>
                    <a:pt x="1258" y="50"/>
                  </a:lnTo>
                  <a:lnTo>
                    <a:pt x="1260" y="54"/>
                  </a:lnTo>
                  <a:lnTo>
                    <a:pt x="1260" y="56"/>
                  </a:lnTo>
                  <a:lnTo>
                    <a:pt x="1258" y="64"/>
                  </a:lnTo>
                  <a:lnTo>
                    <a:pt x="1258" y="64"/>
                  </a:lnTo>
                  <a:lnTo>
                    <a:pt x="1252" y="62"/>
                  </a:lnTo>
                  <a:lnTo>
                    <a:pt x="1252" y="62"/>
                  </a:lnTo>
                  <a:lnTo>
                    <a:pt x="1252" y="60"/>
                  </a:lnTo>
                  <a:lnTo>
                    <a:pt x="1252" y="60"/>
                  </a:lnTo>
                  <a:lnTo>
                    <a:pt x="1250" y="62"/>
                  </a:lnTo>
                  <a:lnTo>
                    <a:pt x="1250" y="62"/>
                  </a:lnTo>
                  <a:lnTo>
                    <a:pt x="1250" y="64"/>
                  </a:lnTo>
                  <a:lnTo>
                    <a:pt x="1250" y="64"/>
                  </a:lnTo>
                  <a:lnTo>
                    <a:pt x="1258" y="70"/>
                  </a:lnTo>
                  <a:lnTo>
                    <a:pt x="1262" y="76"/>
                  </a:lnTo>
                  <a:lnTo>
                    <a:pt x="1260" y="78"/>
                  </a:lnTo>
                  <a:lnTo>
                    <a:pt x="1258" y="80"/>
                  </a:lnTo>
                  <a:lnTo>
                    <a:pt x="1258" y="80"/>
                  </a:lnTo>
                  <a:lnTo>
                    <a:pt x="1246" y="84"/>
                  </a:lnTo>
                  <a:lnTo>
                    <a:pt x="1232" y="88"/>
                  </a:lnTo>
                  <a:lnTo>
                    <a:pt x="1232" y="88"/>
                  </a:lnTo>
                  <a:lnTo>
                    <a:pt x="1224" y="88"/>
                  </a:lnTo>
                  <a:lnTo>
                    <a:pt x="1224" y="88"/>
                  </a:lnTo>
                  <a:lnTo>
                    <a:pt x="1220" y="92"/>
                  </a:lnTo>
                  <a:lnTo>
                    <a:pt x="1220" y="92"/>
                  </a:lnTo>
                  <a:lnTo>
                    <a:pt x="1208" y="94"/>
                  </a:lnTo>
                  <a:lnTo>
                    <a:pt x="1208" y="94"/>
                  </a:lnTo>
                  <a:lnTo>
                    <a:pt x="1204" y="94"/>
                  </a:lnTo>
                  <a:lnTo>
                    <a:pt x="1202" y="94"/>
                  </a:lnTo>
                  <a:lnTo>
                    <a:pt x="1202" y="94"/>
                  </a:lnTo>
                  <a:lnTo>
                    <a:pt x="1200" y="98"/>
                  </a:lnTo>
                  <a:lnTo>
                    <a:pt x="1200" y="98"/>
                  </a:lnTo>
                  <a:lnTo>
                    <a:pt x="1196" y="102"/>
                  </a:lnTo>
                  <a:lnTo>
                    <a:pt x="1196" y="102"/>
                  </a:lnTo>
                  <a:lnTo>
                    <a:pt x="1198" y="112"/>
                  </a:lnTo>
                  <a:lnTo>
                    <a:pt x="1198" y="112"/>
                  </a:lnTo>
                  <a:lnTo>
                    <a:pt x="1192" y="112"/>
                  </a:lnTo>
                  <a:lnTo>
                    <a:pt x="1192" y="112"/>
                  </a:lnTo>
                  <a:lnTo>
                    <a:pt x="1188" y="116"/>
                  </a:lnTo>
                  <a:lnTo>
                    <a:pt x="1186" y="122"/>
                  </a:lnTo>
                  <a:lnTo>
                    <a:pt x="1186" y="122"/>
                  </a:lnTo>
                  <a:lnTo>
                    <a:pt x="1182" y="122"/>
                  </a:lnTo>
                  <a:lnTo>
                    <a:pt x="1178" y="124"/>
                  </a:lnTo>
                  <a:lnTo>
                    <a:pt x="1178" y="124"/>
                  </a:lnTo>
                  <a:lnTo>
                    <a:pt x="1174" y="126"/>
                  </a:lnTo>
                  <a:lnTo>
                    <a:pt x="1174" y="126"/>
                  </a:lnTo>
                  <a:lnTo>
                    <a:pt x="1170" y="128"/>
                  </a:lnTo>
                  <a:lnTo>
                    <a:pt x="1166" y="128"/>
                  </a:lnTo>
                  <a:lnTo>
                    <a:pt x="1166" y="128"/>
                  </a:lnTo>
                  <a:lnTo>
                    <a:pt x="1164" y="130"/>
                  </a:lnTo>
                  <a:lnTo>
                    <a:pt x="1164" y="132"/>
                  </a:lnTo>
                  <a:lnTo>
                    <a:pt x="1162" y="136"/>
                  </a:lnTo>
                  <a:lnTo>
                    <a:pt x="1162" y="136"/>
                  </a:lnTo>
                  <a:lnTo>
                    <a:pt x="1156" y="138"/>
                  </a:lnTo>
                  <a:lnTo>
                    <a:pt x="1150" y="140"/>
                  </a:lnTo>
                  <a:lnTo>
                    <a:pt x="1138" y="142"/>
                  </a:lnTo>
                  <a:lnTo>
                    <a:pt x="1136" y="144"/>
                  </a:lnTo>
                  <a:lnTo>
                    <a:pt x="1136" y="144"/>
                  </a:lnTo>
                  <a:lnTo>
                    <a:pt x="1148" y="142"/>
                  </a:lnTo>
                  <a:lnTo>
                    <a:pt x="1162" y="142"/>
                  </a:lnTo>
                  <a:lnTo>
                    <a:pt x="1166" y="138"/>
                  </a:lnTo>
                  <a:lnTo>
                    <a:pt x="1166" y="138"/>
                  </a:lnTo>
                  <a:lnTo>
                    <a:pt x="1166" y="136"/>
                  </a:lnTo>
                  <a:lnTo>
                    <a:pt x="1168" y="134"/>
                  </a:lnTo>
                  <a:lnTo>
                    <a:pt x="1168" y="134"/>
                  </a:lnTo>
                  <a:lnTo>
                    <a:pt x="1168" y="134"/>
                  </a:lnTo>
                  <a:lnTo>
                    <a:pt x="1172" y="132"/>
                  </a:lnTo>
                  <a:lnTo>
                    <a:pt x="1176" y="134"/>
                  </a:lnTo>
                  <a:lnTo>
                    <a:pt x="1184" y="134"/>
                  </a:lnTo>
                  <a:lnTo>
                    <a:pt x="1184" y="134"/>
                  </a:lnTo>
                  <a:lnTo>
                    <a:pt x="1186" y="134"/>
                  </a:lnTo>
                  <a:lnTo>
                    <a:pt x="1186" y="132"/>
                  </a:lnTo>
                  <a:lnTo>
                    <a:pt x="1186" y="132"/>
                  </a:lnTo>
                  <a:lnTo>
                    <a:pt x="1190" y="132"/>
                  </a:lnTo>
                  <a:lnTo>
                    <a:pt x="1194" y="130"/>
                  </a:lnTo>
                  <a:lnTo>
                    <a:pt x="1194" y="130"/>
                  </a:lnTo>
                  <a:lnTo>
                    <a:pt x="1200" y="126"/>
                  </a:lnTo>
                  <a:lnTo>
                    <a:pt x="1200" y="126"/>
                  </a:lnTo>
                  <a:lnTo>
                    <a:pt x="1198" y="124"/>
                  </a:lnTo>
                  <a:lnTo>
                    <a:pt x="1198" y="122"/>
                  </a:lnTo>
                  <a:lnTo>
                    <a:pt x="1198" y="122"/>
                  </a:lnTo>
                  <a:lnTo>
                    <a:pt x="1202" y="126"/>
                  </a:lnTo>
                  <a:lnTo>
                    <a:pt x="1204" y="126"/>
                  </a:lnTo>
                  <a:lnTo>
                    <a:pt x="1208" y="126"/>
                  </a:lnTo>
                  <a:lnTo>
                    <a:pt x="1208" y="126"/>
                  </a:lnTo>
                  <a:lnTo>
                    <a:pt x="1210" y="122"/>
                  </a:lnTo>
                  <a:lnTo>
                    <a:pt x="1210" y="122"/>
                  </a:lnTo>
                  <a:lnTo>
                    <a:pt x="1204" y="122"/>
                  </a:lnTo>
                  <a:lnTo>
                    <a:pt x="1204" y="122"/>
                  </a:lnTo>
                  <a:lnTo>
                    <a:pt x="1202" y="118"/>
                  </a:lnTo>
                  <a:lnTo>
                    <a:pt x="1202" y="118"/>
                  </a:lnTo>
                  <a:lnTo>
                    <a:pt x="1202" y="116"/>
                  </a:lnTo>
                  <a:lnTo>
                    <a:pt x="1202" y="116"/>
                  </a:lnTo>
                  <a:lnTo>
                    <a:pt x="1204" y="116"/>
                  </a:lnTo>
                  <a:lnTo>
                    <a:pt x="1204" y="114"/>
                  </a:lnTo>
                  <a:lnTo>
                    <a:pt x="1204" y="114"/>
                  </a:lnTo>
                  <a:lnTo>
                    <a:pt x="1206" y="112"/>
                  </a:lnTo>
                  <a:lnTo>
                    <a:pt x="1208" y="112"/>
                  </a:lnTo>
                  <a:lnTo>
                    <a:pt x="1208" y="112"/>
                  </a:lnTo>
                  <a:lnTo>
                    <a:pt x="1208" y="108"/>
                  </a:lnTo>
                  <a:lnTo>
                    <a:pt x="1208" y="108"/>
                  </a:lnTo>
                  <a:lnTo>
                    <a:pt x="1212" y="106"/>
                  </a:lnTo>
                  <a:lnTo>
                    <a:pt x="1214" y="106"/>
                  </a:lnTo>
                  <a:lnTo>
                    <a:pt x="1214" y="108"/>
                  </a:lnTo>
                  <a:lnTo>
                    <a:pt x="1216" y="110"/>
                  </a:lnTo>
                  <a:lnTo>
                    <a:pt x="1216" y="110"/>
                  </a:lnTo>
                  <a:lnTo>
                    <a:pt x="1218" y="110"/>
                  </a:lnTo>
                  <a:lnTo>
                    <a:pt x="1218" y="108"/>
                  </a:lnTo>
                  <a:lnTo>
                    <a:pt x="1218" y="108"/>
                  </a:lnTo>
                  <a:lnTo>
                    <a:pt x="1218" y="108"/>
                  </a:lnTo>
                  <a:lnTo>
                    <a:pt x="1218" y="108"/>
                  </a:lnTo>
                  <a:lnTo>
                    <a:pt x="1220" y="104"/>
                  </a:lnTo>
                  <a:lnTo>
                    <a:pt x="1222" y="104"/>
                  </a:lnTo>
                  <a:lnTo>
                    <a:pt x="1222" y="104"/>
                  </a:lnTo>
                  <a:lnTo>
                    <a:pt x="1226" y="112"/>
                  </a:lnTo>
                  <a:lnTo>
                    <a:pt x="1228" y="116"/>
                  </a:lnTo>
                  <a:lnTo>
                    <a:pt x="1232" y="116"/>
                  </a:lnTo>
                  <a:lnTo>
                    <a:pt x="1244" y="116"/>
                  </a:lnTo>
                  <a:lnTo>
                    <a:pt x="1244" y="116"/>
                  </a:lnTo>
                  <a:lnTo>
                    <a:pt x="1244" y="108"/>
                  </a:lnTo>
                  <a:lnTo>
                    <a:pt x="1244" y="108"/>
                  </a:lnTo>
                  <a:lnTo>
                    <a:pt x="1246" y="110"/>
                  </a:lnTo>
                  <a:lnTo>
                    <a:pt x="1246" y="110"/>
                  </a:lnTo>
                  <a:lnTo>
                    <a:pt x="1250" y="112"/>
                  </a:lnTo>
                  <a:lnTo>
                    <a:pt x="1250" y="112"/>
                  </a:lnTo>
                  <a:lnTo>
                    <a:pt x="1250" y="118"/>
                  </a:lnTo>
                  <a:lnTo>
                    <a:pt x="1248" y="120"/>
                  </a:lnTo>
                  <a:lnTo>
                    <a:pt x="1248" y="120"/>
                  </a:lnTo>
                  <a:lnTo>
                    <a:pt x="1248" y="124"/>
                  </a:lnTo>
                  <a:lnTo>
                    <a:pt x="1248" y="124"/>
                  </a:lnTo>
                  <a:lnTo>
                    <a:pt x="1250" y="126"/>
                  </a:lnTo>
                  <a:lnTo>
                    <a:pt x="1250" y="126"/>
                  </a:lnTo>
                  <a:lnTo>
                    <a:pt x="1250" y="122"/>
                  </a:lnTo>
                  <a:lnTo>
                    <a:pt x="1250" y="122"/>
                  </a:lnTo>
                  <a:lnTo>
                    <a:pt x="1254" y="116"/>
                  </a:lnTo>
                  <a:lnTo>
                    <a:pt x="1258" y="114"/>
                  </a:lnTo>
                  <a:lnTo>
                    <a:pt x="1268" y="108"/>
                  </a:lnTo>
                  <a:lnTo>
                    <a:pt x="1268" y="108"/>
                  </a:lnTo>
                  <a:lnTo>
                    <a:pt x="1270" y="104"/>
                  </a:lnTo>
                  <a:lnTo>
                    <a:pt x="1272" y="104"/>
                  </a:lnTo>
                  <a:lnTo>
                    <a:pt x="1272" y="104"/>
                  </a:lnTo>
                  <a:lnTo>
                    <a:pt x="1276" y="104"/>
                  </a:lnTo>
                  <a:lnTo>
                    <a:pt x="1278" y="104"/>
                  </a:lnTo>
                  <a:lnTo>
                    <a:pt x="1284" y="108"/>
                  </a:lnTo>
                  <a:lnTo>
                    <a:pt x="1284" y="108"/>
                  </a:lnTo>
                  <a:lnTo>
                    <a:pt x="1288" y="106"/>
                  </a:lnTo>
                  <a:lnTo>
                    <a:pt x="1292" y="106"/>
                  </a:lnTo>
                  <a:lnTo>
                    <a:pt x="1294" y="110"/>
                  </a:lnTo>
                  <a:lnTo>
                    <a:pt x="1294" y="110"/>
                  </a:lnTo>
                  <a:lnTo>
                    <a:pt x="1300" y="108"/>
                  </a:lnTo>
                  <a:lnTo>
                    <a:pt x="1300" y="108"/>
                  </a:lnTo>
                  <a:lnTo>
                    <a:pt x="1310" y="108"/>
                  </a:lnTo>
                  <a:lnTo>
                    <a:pt x="1316" y="110"/>
                  </a:lnTo>
                  <a:lnTo>
                    <a:pt x="1316" y="110"/>
                  </a:lnTo>
                  <a:lnTo>
                    <a:pt x="1316" y="120"/>
                  </a:lnTo>
                  <a:lnTo>
                    <a:pt x="1314" y="120"/>
                  </a:lnTo>
                  <a:lnTo>
                    <a:pt x="1314" y="120"/>
                  </a:lnTo>
                  <a:lnTo>
                    <a:pt x="1314" y="122"/>
                  </a:lnTo>
                  <a:lnTo>
                    <a:pt x="1314" y="122"/>
                  </a:lnTo>
                  <a:lnTo>
                    <a:pt x="1320" y="126"/>
                  </a:lnTo>
                  <a:lnTo>
                    <a:pt x="1320" y="126"/>
                  </a:lnTo>
                  <a:lnTo>
                    <a:pt x="1324" y="128"/>
                  </a:lnTo>
                  <a:lnTo>
                    <a:pt x="1326" y="128"/>
                  </a:lnTo>
                  <a:lnTo>
                    <a:pt x="1328" y="130"/>
                  </a:lnTo>
                  <a:lnTo>
                    <a:pt x="1328" y="130"/>
                  </a:lnTo>
                  <a:lnTo>
                    <a:pt x="1332" y="130"/>
                  </a:lnTo>
                  <a:lnTo>
                    <a:pt x="1332" y="130"/>
                  </a:lnTo>
                  <a:lnTo>
                    <a:pt x="1338" y="134"/>
                  </a:lnTo>
                  <a:lnTo>
                    <a:pt x="1338" y="134"/>
                  </a:lnTo>
                  <a:lnTo>
                    <a:pt x="1340" y="134"/>
                  </a:lnTo>
                  <a:lnTo>
                    <a:pt x="1340" y="134"/>
                  </a:lnTo>
                  <a:lnTo>
                    <a:pt x="1340" y="132"/>
                  </a:lnTo>
                  <a:lnTo>
                    <a:pt x="1340" y="132"/>
                  </a:lnTo>
                  <a:lnTo>
                    <a:pt x="1344" y="132"/>
                  </a:lnTo>
                  <a:lnTo>
                    <a:pt x="1346" y="132"/>
                  </a:lnTo>
                  <a:lnTo>
                    <a:pt x="1350" y="134"/>
                  </a:lnTo>
                  <a:lnTo>
                    <a:pt x="1352" y="134"/>
                  </a:lnTo>
                  <a:lnTo>
                    <a:pt x="1352" y="134"/>
                  </a:lnTo>
                  <a:lnTo>
                    <a:pt x="1356" y="132"/>
                  </a:lnTo>
                  <a:lnTo>
                    <a:pt x="1356" y="132"/>
                  </a:lnTo>
                  <a:lnTo>
                    <a:pt x="1362" y="136"/>
                  </a:lnTo>
                  <a:lnTo>
                    <a:pt x="1362" y="136"/>
                  </a:lnTo>
                  <a:lnTo>
                    <a:pt x="1366" y="136"/>
                  </a:lnTo>
                  <a:lnTo>
                    <a:pt x="1368" y="134"/>
                  </a:lnTo>
                  <a:lnTo>
                    <a:pt x="1368" y="134"/>
                  </a:lnTo>
                  <a:lnTo>
                    <a:pt x="1370" y="138"/>
                  </a:lnTo>
                  <a:lnTo>
                    <a:pt x="1374" y="140"/>
                  </a:lnTo>
                  <a:lnTo>
                    <a:pt x="1374" y="140"/>
                  </a:lnTo>
                  <a:lnTo>
                    <a:pt x="1380" y="142"/>
                  </a:lnTo>
                  <a:lnTo>
                    <a:pt x="1388" y="142"/>
                  </a:lnTo>
                  <a:lnTo>
                    <a:pt x="1388" y="142"/>
                  </a:lnTo>
                  <a:lnTo>
                    <a:pt x="1386" y="140"/>
                  </a:lnTo>
                  <a:lnTo>
                    <a:pt x="1388" y="138"/>
                  </a:lnTo>
                  <a:lnTo>
                    <a:pt x="1396" y="136"/>
                  </a:lnTo>
                  <a:lnTo>
                    <a:pt x="1396" y="136"/>
                  </a:lnTo>
                  <a:lnTo>
                    <a:pt x="1394" y="134"/>
                  </a:lnTo>
                  <a:lnTo>
                    <a:pt x="1394" y="132"/>
                  </a:lnTo>
                  <a:lnTo>
                    <a:pt x="1394" y="132"/>
                  </a:lnTo>
                  <a:lnTo>
                    <a:pt x="1398" y="130"/>
                  </a:lnTo>
                  <a:lnTo>
                    <a:pt x="1398" y="130"/>
                  </a:lnTo>
                  <a:lnTo>
                    <a:pt x="1396" y="128"/>
                  </a:lnTo>
                  <a:lnTo>
                    <a:pt x="1396" y="128"/>
                  </a:lnTo>
                  <a:lnTo>
                    <a:pt x="1392" y="126"/>
                  </a:lnTo>
                  <a:lnTo>
                    <a:pt x="1392" y="126"/>
                  </a:lnTo>
                  <a:lnTo>
                    <a:pt x="1388" y="126"/>
                  </a:lnTo>
                  <a:lnTo>
                    <a:pt x="1382" y="126"/>
                  </a:lnTo>
                  <a:lnTo>
                    <a:pt x="1382" y="126"/>
                  </a:lnTo>
                  <a:lnTo>
                    <a:pt x="1382" y="122"/>
                  </a:lnTo>
                  <a:lnTo>
                    <a:pt x="1382" y="122"/>
                  </a:lnTo>
                  <a:lnTo>
                    <a:pt x="1378" y="120"/>
                  </a:lnTo>
                  <a:lnTo>
                    <a:pt x="1378" y="120"/>
                  </a:lnTo>
                  <a:lnTo>
                    <a:pt x="1378" y="114"/>
                  </a:lnTo>
                  <a:lnTo>
                    <a:pt x="1378" y="110"/>
                  </a:lnTo>
                  <a:lnTo>
                    <a:pt x="1382" y="106"/>
                  </a:lnTo>
                  <a:lnTo>
                    <a:pt x="1390" y="104"/>
                  </a:lnTo>
                  <a:lnTo>
                    <a:pt x="1390" y="104"/>
                  </a:lnTo>
                  <a:lnTo>
                    <a:pt x="1398" y="104"/>
                  </a:lnTo>
                  <a:lnTo>
                    <a:pt x="1402" y="104"/>
                  </a:lnTo>
                  <a:lnTo>
                    <a:pt x="1406" y="106"/>
                  </a:lnTo>
                  <a:lnTo>
                    <a:pt x="1406" y="106"/>
                  </a:lnTo>
                  <a:lnTo>
                    <a:pt x="1406" y="106"/>
                  </a:lnTo>
                  <a:lnTo>
                    <a:pt x="1406" y="108"/>
                  </a:lnTo>
                  <a:lnTo>
                    <a:pt x="1406" y="108"/>
                  </a:lnTo>
                  <a:lnTo>
                    <a:pt x="1412" y="108"/>
                  </a:lnTo>
                  <a:lnTo>
                    <a:pt x="1412" y="108"/>
                  </a:lnTo>
                  <a:lnTo>
                    <a:pt x="1414" y="112"/>
                  </a:lnTo>
                  <a:lnTo>
                    <a:pt x="1416" y="114"/>
                  </a:lnTo>
                  <a:lnTo>
                    <a:pt x="1416" y="114"/>
                  </a:lnTo>
                  <a:lnTo>
                    <a:pt x="1424" y="114"/>
                  </a:lnTo>
                  <a:lnTo>
                    <a:pt x="1424" y="114"/>
                  </a:lnTo>
                  <a:lnTo>
                    <a:pt x="1424" y="120"/>
                  </a:lnTo>
                  <a:lnTo>
                    <a:pt x="1424" y="120"/>
                  </a:lnTo>
                  <a:lnTo>
                    <a:pt x="1424" y="120"/>
                  </a:lnTo>
                  <a:lnTo>
                    <a:pt x="1420" y="124"/>
                  </a:lnTo>
                  <a:lnTo>
                    <a:pt x="1418" y="126"/>
                  </a:lnTo>
                  <a:lnTo>
                    <a:pt x="1416" y="128"/>
                  </a:lnTo>
                  <a:lnTo>
                    <a:pt x="1416" y="128"/>
                  </a:lnTo>
                  <a:lnTo>
                    <a:pt x="1412" y="128"/>
                  </a:lnTo>
                  <a:lnTo>
                    <a:pt x="1412" y="128"/>
                  </a:lnTo>
                  <a:lnTo>
                    <a:pt x="1408" y="130"/>
                  </a:lnTo>
                  <a:lnTo>
                    <a:pt x="1408" y="130"/>
                  </a:lnTo>
                  <a:lnTo>
                    <a:pt x="1402" y="130"/>
                  </a:lnTo>
                  <a:lnTo>
                    <a:pt x="1402" y="130"/>
                  </a:lnTo>
                  <a:lnTo>
                    <a:pt x="1402" y="134"/>
                  </a:lnTo>
                  <a:lnTo>
                    <a:pt x="1402" y="136"/>
                  </a:lnTo>
                  <a:lnTo>
                    <a:pt x="1402" y="136"/>
                  </a:lnTo>
                  <a:lnTo>
                    <a:pt x="1398" y="138"/>
                  </a:lnTo>
                  <a:lnTo>
                    <a:pt x="1396" y="138"/>
                  </a:lnTo>
                  <a:lnTo>
                    <a:pt x="1400" y="138"/>
                  </a:lnTo>
                  <a:lnTo>
                    <a:pt x="1400" y="138"/>
                  </a:lnTo>
                  <a:lnTo>
                    <a:pt x="1404" y="138"/>
                  </a:lnTo>
                  <a:lnTo>
                    <a:pt x="1404" y="138"/>
                  </a:lnTo>
                  <a:lnTo>
                    <a:pt x="1406" y="140"/>
                  </a:lnTo>
                  <a:lnTo>
                    <a:pt x="1406" y="140"/>
                  </a:lnTo>
                  <a:lnTo>
                    <a:pt x="1404" y="144"/>
                  </a:lnTo>
                  <a:lnTo>
                    <a:pt x="1404" y="144"/>
                  </a:lnTo>
                  <a:lnTo>
                    <a:pt x="1402" y="144"/>
                  </a:lnTo>
                  <a:lnTo>
                    <a:pt x="1402" y="144"/>
                  </a:lnTo>
                  <a:lnTo>
                    <a:pt x="1406" y="144"/>
                  </a:lnTo>
                  <a:lnTo>
                    <a:pt x="1406" y="144"/>
                  </a:lnTo>
                  <a:lnTo>
                    <a:pt x="1410" y="148"/>
                  </a:lnTo>
                  <a:lnTo>
                    <a:pt x="1412" y="148"/>
                  </a:lnTo>
                  <a:lnTo>
                    <a:pt x="1412" y="144"/>
                  </a:lnTo>
                  <a:lnTo>
                    <a:pt x="1412" y="144"/>
                  </a:lnTo>
                  <a:lnTo>
                    <a:pt x="1420" y="142"/>
                  </a:lnTo>
                  <a:lnTo>
                    <a:pt x="1420" y="142"/>
                  </a:lnTo>
                  <a:lnTo>
                    <a:pt x="1422" y="150"/>
                  </a:lnTo>
                  <a:lnTo>
                    <a:pt x="1422" y="150"/>
                  </a:lnTo>
                  <a:lnTo>
                    <a:pt x="1414" y="148"/>
                  </a:lnTo>
                  <a:lnTo>
                    <a:pt x="1414" y="148"/>
                  </a:lnTo>
                  <a:lnTo>
                    <a:pt x="1412" y="148"/>
                  </a:lnTo>
                  <a:lnTo>
                    <a:pt x="1414" y="150"/>
                  </a:lnTo>
                  <a:lnTo>
                    <a:pt x="1420" y="152"/>
                  </a:lnTo>
                  <a:lnTo>
                    <a:pt x="1420" y="152"/>
                  </a:lnTo>
                  <a:lnTo>
                    <a:pt x="1426" y="152"/>
                  </a:lnTo>
                  <a:lnTo>
                    <a:pt x="1426" y="152"/>
                  </a:lnTo>
                  <a:lnTo>
                    <a:pt x="1428" y="156"/>
                  </a:lnTo>
                  <a:lnTo>
                    <a:pt x="1430" y="160"/>
                  </a:lnTo>
                  <a:lnTo>
                    <a:pt x="1432" y="164"/>
                  </a:lnTo>
                  <a:lnTo>
                    <a:pt x="1434" y="166"/>
                  </a:lnTo>
                  <a:lnTo>
                    <a:pt x="1434" y="166"/>
                  </a:lnTo>
                  <a:lnTo>
                    <a:pt x="1434" y="166"/>
                  </a:lnTo>
                  <a:lnTo>
                    <a:pt x="1434" y="164"/>
                  </a:lnTo>
                  <a:lnTo>
                    <a:pt x="1434" y="164"/>
                  </a:lnTo>
                  <a:lnTo>
                    <a:pt x="1434" y="166"/>
                  </a:lnTo>
                  <a:lnTo>
                    <a:pt x="1434" y="164"/>
                  </a:lnTo>
                  <a:lnTo>
                    <a:pt x="1436" y="162"/>
                  </a:lnTo>
                  <a:lnTo>
                    <a:pt x="1436" y="162"/>
                  </a:lnTo>
                  <a:lnTo>
                    <a:pt x="1432" y="158"/>
                  </a:lnTo>
                  <a:lnTo>
                    <a:pt x="1432" y="154"/>
                  </a:lnTo>
                  <a:lnTo>
                    <a:pt x="1434" y="152"/>
                  </a:lnTo>
                  <a:lnTo>
                    <a:pt x="1434" y="152"/>
                  </a:lnTo>
                  <a:lnTo>
                    <a:pt x="1436" y="150"/>
                  </a:lnTo>
                  <a:lnTo>
                    <a:pt x="1438" y="150"/>
                  </a:lnTo>
                  <a:lnTo>
                    <a:pt x="1438" y="150"/>
                  </a:lnTo>
                  <a:lnTo>
                    <a:pt x="1446" y="158"/>
                  </a:lnTo>
                  <a:lnTo>
                    <a:pt x="1450" y="162"/>
                  </a:lnTo>
                  <a:lnTo>
                    <a:pt x="1454" y="166"/>
                  </a:lnTo>
                  <a:lnTo>
                    <a:pt x="1454" y="166"/>
                  </a:lnTo>
                  <a:lnTo>
                    <a:pt x="1458" y="166"/>
                  </a:lnTo>
                  <a:lnTo>
                    <a:pt x="1458" y="166"/>
                  </a:lnTo>
                  <a:lnTo>
                    <a:pt x="1460" y="164"/>
                  </a:lnTo>
                  <a:lnTo>
                    <a:pt x="1460" y="164"/>
                  </a:lnTo>
                  <a:lnTo>
                    <a:pt x="1458" y="164"/>
                  </a:lnTo>
                  <a:lnTo>
                    <a:pt x="1458" y="162"/>
                  </a:lnTo>
                  <a:lnTo>
                    <a:pt x="1460" y="162"/>
                  </a:lnTo>
                  <a:lnTo>
                    <a:pt x="1460" y="162"/>
                  </a:lnTo>
                  <a:lnTo>
                    <a:pt x="1464" y="168"/>
                  </a:lnTo>
                  <a:lnTo>
                    <a:pt x="1462" y="168"/>
                  </a:lnTo>
                  <a:lnTo>
                    <a:pt x="1458" y="168"/>
                  </a:lnTo>
                  <a:lnTo>
                    <a:pt x="1458" y="168"/>
                  </a:lnTo>
                  <a:lnTo>
                    <a:pt x="1456" y="174"/>
                  </a:lnTo>
                  <a:lnTo>
                    <a:pt x="1456" y="174"/>
                  </a:lnTo>
                  <a:lnTo>
                    <a:pt x="1456" y="174"/>
                  </a:lnTo>
                  <a:lnTo>
                    <a:pt x="1456" y="176"/>
                  </a:lnTo>
                  <a:lnTo>
                    <a:pt x="1456" y="176"/>
                  </a:lnTo>
                  <a:lnTo>
                    <a:pt x="1462" y="174"/>
                  </a:lnTo>
                  <a:lnTo>
                    <a:pt x="1462" y="174"/>
                  </a:lnTo>
                  <a:lnTo>
                    <a:pt x="1468" y="182"/>
                  </a:lnTo>
                  <a:lnTo>
                    <a:pt x="1468" y="182"/>
                  </a:lnTo>
                  <a:lnTo>
                    <a:pt x="1478" y="180"/>
                  </a:lnTo>
                  <a:lnTo>
                    <a:pt x="1478" y="180"/>
                  </a:lnTo>
                  <a:lnTo>
                    <a:pt x="1482" y="186"/>
                  </a:lnTo>
                  <a:lnTo>
                    <a:pt x="1486" y="188"/>
                  </a:lnTo>
                  <a:lnTo>
                    <a:pt x="1488" y="188"/>
                  </a:lnTo>
                  <a:lnTo>
                    <a:pt x="1488" y="186"/>
                  </a:lnTo>
                  <a:lnTo>
                    <a:pt x="1488" y="186"/>
                  </a:lnTo>
                  <a:lnTo>
                    <a:pt x="1492" y="186"/>
                  </a:lnTo>
                  <a:lnTo>
                    <a:pt x="1492" y="186"/>
                  </a:lnTo>
                  <a:lnTo>
                    <a:pt x="1488" y="196"/>
                  </a:lnTo>
                  <a:lnTo>
                    <a:pt x="1488" y="196"/>
                  </a:lnTo>
                  <a:lnTo>
                    <a:pt x="1490" y="196"/>
                  </a:lnTo>
                  <a:lnTo>
                    <a:pt x="1490" y="198"/>
                  </a:lnTo>
                  <a:lnTo>
                    <a:pt x="1490" y="198"/>
                  </a:lnTo>
                  <a:lnTo>
                    <a:pt x="1494" y="196"/>
                  </a:lnTo>
                  <a:lnTo>
                    <a:pt x="1494" y="196"/>
                  </a:lnTo>
                  <a:lnTo>
                    <a:pt x="1496" y="192"/>
                  </a:lnTo>
                  <a:lnTo>
                    <a:pt x="1496" y="192"/>
                  </a:lnTo>
                  <a:lnTo>
                    <a:pt x="1502" y="184"/>
                  </a:lnTo>
                  <a:lnTo>
                    <a:pt x="1504" y="174"/>
                  </a:lnTo>
                  <a:lnTo>
                    <a:pt x="1504" y="174"/>
                  </a:lnTo>
                  <a:lnTo>
                    <a:pt x="1508" y="172"/>
                  </a:lnTo>
                  <a:lnTo>
                    <a:pt x="1508" y="172"/>
                  </a:lnTo>
                  <a:lnTo>
                    <a:pt x="1506" y="168"/>
                  </a:lnTo>
                  <a:lnTo>
                    <a:pt x="1506" y="162"/>
                  </a:lnTo>
                  <a:lnTo>
                    <a:pt x="1512" y="154"/>
                  </a:lnTo>
                  <a:lnTo>
                    <a:pt x="1512" y="154"/>
                  </a:lnTo>
                  <a:lnTo>
                    <a:pt x="1514" y="156"/>
                  </a:lnTo>
                  <a:lnTo>
                    <a:pt x="1514" y="156"/>
                  </a:lnTo>
                  <a:lnTo>
                    <a:pt x="1514" y="160"/>
                  </a:lnTo>
                  <a:lnTo>
                    <a:pt x="1514" y="160"/>
                  </a:lnTo>
                  <a:lnTo>
                    <a:pt x="1514" y="162"/>
                  </a:lnTo>
                  <a:lnTo>
                    <a:pt x="1516" y="162"/>
                  </a:lnTo>
                  <a:lnTo>
                    <a:pt x="1516" y="162"/>
                  </a:lnTo>
                  <a:lnTo>
                    <a:pt x="1518" y="164"/>
                  </a:lnTo>
                  <a:lnTo>
                    <a:pt x="1518" y="164"/>
                  </a:lnTo>
                  <a:lnTo>
                    <a:pt x="1518" y="168"/>
                  </a:lnTo>
                  <a:lnTo>
                    <a:pt x="1518" y="174"/>
                  </a:lnTo>
                  <a:lnTo>
                    <a:pt x="1518" y="174"/>
                  </a:lnTo>
                  <a:lnTo>
                    <a:pt x="1522" y="170"/>
                  </a:lnTo>
                  <a:lnTo>
                    <a:pt x="1522" y="170"/>
                  </a:lnTo>
                  <a:lnTo>
                    <a:pt x="1528" y="170"/>
                  </a:lnTo>
                  <a:lnTo>
                    <a:pt x="1528" y="170"/>
                  </a:lnTo>
                  <a:lnTo>
                    <a:pt x="1536" y="164"/>
                  </a:lnTo>
                  <a:lnTo>
                    <a:pt x="1540" y="162"/>
                  </a:lnTo>
                  <a:lnTo>
                    <a:pt x="1544" y="160"/>
                  </a:lnTo>
                  <a:lnTo>
                    <a:pt x="1544" y="160"/>
                  </a:lnTo>
                  <a:lnTo>
                    <a:pt x="1548" y="164"/>
                  </a:lnTo>
                  <a:lnTo>
                    <a:pt x="1548" y="164"/>
                  </a:lnTo>
                  <a:lnTo>
                    <a:pt x="1552" y="164"/>
                  </a:lnTo>
                  <a:lnTo>
                    <a:pt x="1552" y="164"/>
                  </a:lnTo>
                  <a:lnTo>
                    <a:pt x="1552" y="164"/>
                  </a:lnTo>
                  <a:lnTo>
                    <a:pt x="1566" y="174"/>
                  </a:lnTo>
                  <a:lnTo>
                    <a:pt x="1566" y="174"/>
                  </a:lnTo>
                  <a:lnTo>
                    <a:pt x="1566" y="176"/>
                  </a:lnTo>
                  <a:lnTo>
                    <a:pt x="1566" y="176"/>
                  </a:lnTo>
                  <a:lnTo>
                    <a:pt x="1572" y="176"/>
                  </a:lnTo>
                  <a:lnTo>
                    <a:pt x="1574" y="178"/>
                  </a:lnTo>
                  <a:lnTo>
                    <a:pt x="1574" y="178"/>
                  </a:lnTo>
                  <a:lnTo>
                    <a:pt x="1580" y="178"/>
                  </a:lnTo>
                  <a:lnTo>
                    <a:pt x="1586" y="176"/>
                  </a:lnTo>
                  <a:lnTo>
                    <a:pt x="1586" y="176"/>
                  </a:lnTo>
                  <a:lnTo>
                    <a:pt x="1584" y="172"/>
                  </a:lnTo>
                  <a:lnTo>
                    <a:pt x="1584" y="172"/>
                  </a:lnTo>
                  <a:lnTo>
                    <a:pt x="1584" y="168"/>
                  </a:lnTo>
                  <a:lnTo>
                    <a:pt x="1584" y="168"/>
                  </a:lnTo>
                  <a:lnTo>
                    <a:pt x="1586" y="168"/>
                  </a:lnTo>
                  <a:lnTo>
                    <a:pt x="1586" y="166"/>
                  </a:lnTo>
                  <a:lnTo>
                    <a:pt x="1586" y="166"/>
                  </a:lnTo>
                  <a:lnTo>
                    <a:pt x="1588" y="166"/>
                  </a:lnTo>
                  <a:lnTo>
                    <a:pt x="1588" y="166"/>
                  </a:lnTo>
                  <a:lnTo>
                    <a:pt x="1590" y="166"/>
                  </a:lnTo>
                  <a:lnTo>
                    <a:pt x="1592" y="164"/>
                  </a:lnTo>
                  <a:lnTo>
                    <a:pt x="1592" y="164"/>
                  </a:lnTo>
                  <a:lnTo>
                    <a:pt x="1592" y="166"/>
                  </a:lnTo>
                  <a:lnTo>
                    <a:pt x="1594" y="168"/>
                  </a:lnTo>
                  <a:lnTo>
                    <a:pt x="1594" y="168"/>
                  </a:lnTo>
                  <a:lnTo>
                    <a:pt x="1592" y="174"/>
                  </a:lnTo>
                  <a:lnTo>
                    <a:pt x="1592" y="174"/>
                  </a:lnTo>
                  <a:lnTo>
                    <a:pt x="1596" y="172"/>
                  </a:lnTo>
                  <a:lnTo>
                    <a:pt x="1596" y="172"/>
                  </a:lnTo>
                  <a:lnTo>
                    <a:pt x="1598" y="172"/>
                  </a:lnTo>
                  <a:lnTo>
                    <a:pt x="1600" y="174"/>
                  </a:lnTo>
                  <a:lnTo>
                    <a:pt x="1600" y="174"/>
                  </a:lnTo>
                  <a:lnTo>
                    <a:pt x="1604" y="172"/>
                  </a:lnTo>
                  <a:lnTo>
                    <a:pt x="1606" y="172"/>
                  </a:lnTo>
                  <a:lnTo>
                    <a:pt x="1606" y="172"/>
                  </a:lnTo>
                  <a:lnTo>
                    <a:pt x="1606" y="166"/>
                  </a:lnTo>
                  <a:lnTo>
                    <a:pt x="1606" y="166"/>
                  </a:lnTo>
                  <a:lnTo>
                    <a:pt x="1602" y="164"/>
                  </a:lnTo>
                  <a:lnTo>
                    <a:pt x="1602" y="164"/>
                  </a:lnTo>
                  <a:lnTo>
                    <a:pt x="1602" y="156"/>
                  </a:lnTo>
                  <a:lnTo>
                    <a:pt x="1602" y="152"/>
                  </a:lnTo>
                  <a:lnTo>
                    <a:pt x="1604" y="152"/>
                  </a:lnTo>
                  <a:lnTo>
                    <a:pt x="1610" y="150"/>
                  </a:lnTo>
                  <a:lnTo>
                    <a:pt x="1618" y="152"/>
                  </a:lnTo>
                  <a:lnTo>
                    <a:pt x="1616" y="148"/>
                  </a:lnTo>
                  <a:lnTo>
                    <a:pt x="1616" y="148"/>
                  </a:lnTo>
                  <a:lnTo>
                    <a:pt x="1612" y="148"/>
                  </a:lnTo>
                  <a:lnTo>
                    <a:pt x="1612" y="148"/>
                  </a:lnTo>
                  <a:lnTo>
                    <a:pt x="1604" y="146"/>
                  </a:lnTo>
                  <a:lnTo>
                    <a:pt x="1604" y="146"/>
                  </a:lnTo>
                  <a:lnTo>
                    <a:pt x="1606" y="140"/>
                  </a:lnTo>
                  <a:lnTo>
                    <a:pt x="1606" y="140"/>
                  </a:lnTo>
                  <a:lnTo>
                    <a:pt x="1618" y="140"/>
                  </a:lnTo>
                  <a:lnTo>
                    <a:pt x="1620" y="138"/>
                  </a:lnTo>
                  <a:lnTo>
                    <a:pt x="1620" y="138"/>
                  </a:lnTo>
                  <a:lnTo>
                    <a:pt x="1620" y="136"/>
                  </a:lnTo>
                  <a:lnTo>
                    <a:pt x="1618" y="136"/>
                  </a:lnTo>
                  <a:lnTo>
                    <a:pt x="1618" y="136"/>
                  </a:lnTo>
                  <a:lnTo>
                    <a:pt x="1618" y="134"/>
                  </a:lnTo>
                  <a:lnTo>
                    <a:pt x="1618" y="134"/>
                  </a:lnTo>
                  <a:lnTo>
                    <a:pt x="1614" y="134"/>
                  </a:lnTo>
                  <a:lnTo>
                    <a:pt x="1614" y="134"/>
                  </a:lnTo>
                  <a:lnTo>
                    <a:pt x="1614" y="130"/>
                  </a:lnTo>
                  <a:lnTo>
                    <a:pt x="1614" y="130"/>
                  </a:lnTo>
                  <a:lnTo>
                    <a:pt x="1618" y="130"/>
                  </a:lnTo>
                  <a:lnTo>
                    <a:pt x="1622" y="130"/>
                  </a:lnTo>
                  <a:lnTo>
                    <a:pt x="1622" y="130"/>
                  </a:lnTo>
                  <a:lnTo>
                    <a:pt x="1626" y="134"/>
                  </a:lnTo>
                  <a:lnTo>
                    <a:pt x="1626" y="134"/>
                  </a:lnTo>
                  <a:lnTo>
                    <a:pt x="1634" y="138"/>
                  </a:lnTo>
                  <a:lnTo>
                    <a:pt x="1634" y="138"/>
                  </a:lnTo>
                  <a:lnTo>
                    <a:pt x="1642" y="138"/>
                  </a:lnTo>
                  <a:lnTo>
                    <a:pt x="1642" y="138"/>
                  </a:lnTo>
                  <a:lnTo>
                    <a:pt x="1652" y="142"/>
                  </a:lnTo>
                  <a:lnTo>
                    <a:pt x="1652" y="142"/>
                  </a:lnTo>
                  <a:lnTo>
                    <a:pt x="1656" y="140"/>
                  </a:lnTo>
                  <a:lnTo>
                    <a:pt x="1662" y="140"/>
                  </a:lnTo>
                  <a:lnTo>
                    <a:pt x="1664" y="142"/>
                  </a:lnTo>
                  <a:lnTo>
                    <a:pt x="1664" y="142"/>
                  </a:lnTo>
                  <a:lnTo>
                    <a:pt x="1680" y="146"/>
                  </a:lnTo>
                  <a:lnTo>
                    <a:pt x="1680" y="148"/>
                  </a:lnTo>
                  <a:lnTo>
                    <a:pt x="1680" y="148"/>
                  </a:lnTo>
                  <a:lnTo>
                    <a:pt x="1668" y="146"/>
                  </a:lnTo>
                  <a:lnTo>
                    <a:pt x="1666" y="148"/>
                  </a:lnTo>
                  <a:lnTo>
                    <a:pt x="1666" y="154"/>
                  </a:lnTo>
                  <a:lnTo>
                    <a:pt x="1666" y="154"/>
                  </a:lnTo>
                  <a:lnTo>
                    <a:pt x="1694" y="152"/>
                  </a:lnTo>
                  <a:lnTo>
                    <a:pt x="1694" y="152"/>
                  </a:lnTo>
                  <a:lnTo>
                    <a:pt x="1692" y="162"/>
                  </a:lnTo>
                  <a:lnTo>
                    <a:pt x="1692" y="162"/>
                  </a:lnTo>
                  <a:lnTo>
                    <a:pt x="1690" y="160"/>
                  </a:lnTo>
                  <a:lnTo>
                    <a:pt x="1690" y="158"/>
                  </a:lnTo>
                  <a:lnTo>
                    <a:pt x="1690" y="158"/>
                  </a:lnTo>
                  <a:lnTo>
                    <a:pt x="1690" y="156"/>
                  </a:lnTo>
                  <a:lnTo>
                    <a:pt x="1690" y="156"/>
                  </a:lnTo>
                  <a:lnTo>
                    <a:pt x="1688" y="154"/>
                  </a:lnTo>
                  <a:lnTo>
                    <a:pt x="1688" y="154"/>
                  </a:lnTo>
                  <a:lnTo>
                    <a:pt x="1684" y="162"/>
                  </a:lnTo>
                  <a:lnTo>
                    <a:pt x="1678" y="164"/>
                  </a:lnTo>
                  <a:lnTo>
                    <a:pt x="1678" y="164"/>
                  </a:lnTo>
                  <a:lnTo>
                    <a:pt x="1678" y="166"/>
                  </a:lnTo>
                  <a:lnTo>
                    <a:pt x="1678" y="166"/>
                  </a:lnTo>
                  <a:lnTo>
                    <a:pt x="1682" y="170"/>
                  </a:lnTo>
                  <a:lnTo>
                    <a:pt x="1682" y="170"/>
                  </a:lnTo>
                  <a:lnTo>
                    <a:pt x="1676" y="172"/>
                  </a:lnTo>
                  <a:lnTo>
                    <a:pt x="1676" y="172"/>
                  </a:lnTo>
                  <a:lnTo>
                    <a:pt x="1676" y="174"/>
                  </a:lnTo>
                  <a:lnTo>
                    <a:pt x="1678" y="176"/>
                  </a:lnTo>
                  <a:lnTo>
                    <a:pt x="1678" y="176"/>
                  </a:lnTo>
                  <a:lnTo>
                    <a:pt x="1690" y="174"/>
                  </a:lnTo>
                  <a:lnTo>
                    <a:pt x="1690" y="174"/>
                  </a:lnTo>
                  <a:lnTo>
                    <a:pt x="1692" y="170"/>
                  </a:lnTo>
                  <a:lnTo>
                    <a:pt x="1692" y="170"/>
                  </a:lnTo>
                  <a:lnTo>
                    <a:pt x="1698" y="160"/>
                  </a:lnTo>
                  <a:lnTo>
                    <a:pt x="1702" y="150"/>
                  </a:lnTo>
                  <a:lnTo>
                    <a:pt x="1702" y="150"/>
                  </a:lnTo>
                  <a:lnTo>
                    <a:pt x="1712" y="150"/>
                  </a:lnTo>
                  <a:lnTo>
                    <a:pt x="1722" y="150"/>
                  </a:lnTo>
                  <a:lnTo>
                    <a:pt x="1722" y="150"/>
                  </a:lnTo>
                  <a:lnTo>
                    <a:pt x="1724" y="152"/>
                  </a:lnTo>
                  <a:lnTo>
                    <a:pt x="1726" y="154"/>
                  </a:lnTo>
                  <a:lnTo>
                    <a:pt x="1726" y="154"/>
                  </a:lnTo>
                  <a:lnTo>
                    <a:pt x="1730" y="152"/>
                  </a:lnTo>
                  <a:lnTo>
                    <a:pt x="1732" y="152"/>
                  </a:lnTo>
                  <a:lnTo>
                    <a:pt x="1732" y="152"/>
                  </a:lnTo>
                  <a:lnTo>
                    <a:pt x="1738" y="156"/>
                  </a:lnTo>
                  <a:lnTo>
                    <a:pt x="1744" y="160"/>
                  </a:lnTo>
                  <a:lnTo>
                    <a:pt x="1744" y="160"/>
                  </a:lnTo>
                  <a:lnTo>
                    <a:pt x="1742" y="166"/>
                  </a:lnTo>
                  <a:lnTo>
                    <a:pt x="1742" y="166"/>
                  </a:lnTo>
                  <a:lnTo>
                    <a:pt x="1736" y="168"/>
                  </a:lnTo>
                  <a:lnTo>
                    <a:pt x="1736" y="168"/>
                  </a:lnTo>
                  <a:lnTo>
                    <a:pt x="1734" y="164"/>
                  </a:lnTo>
                  <a:lnTo>
                    <a:pt x="1734" y="164"/>
                  </a:lnTo>
                  <a:lnTo>
                    <a:pt x="1732" y="164"/>
                  </a:lnTo>
                  <a:lnTo>
                    <a:pt x="1732" y="164"/>
                  </a:lnTo>
                  <a:lnTo>
                    <a:pt x="1732" y="166"/>
                  </a:lnTo>
                  <a:lnTo>
                    <a:pt x="1730" y="166"/>
                  </a:lnTo>
                  <a:lnTo>
                    <a:pt x="1730" y="166"/>
                  </a:lnTo>
                  <a:lnTo>
                    <a:pt x="1730" y="172"/>
                  </a:lnTo>
                  <a:lnTo>
                    <a:pt x="1730" y="172"/>
                  </a:lnTo>
                  <a:lnTo>
                    <a:pt x="1736" y="172"/>
                  </a:lnTo>
                  <a:lnTo>
                    <a:pt x="1736" y="176"/>
                  </a:lnTo>
                  <a:lnTo>
                    <a:pt x="1736" y="176"/>
                  </a:lnTo>
                  <a:lnTo>
                    <a:pt x="1730" y="182"/>
                  </a:lnTo>
                  <a:lnTo>
                    <a:pt x="1724" y="190"/>
                  </a:lnTo>
                  <a:lnTo>
                    <a:pt x="1724" y="190"/>
                  </a:lnTo>
                  <a:lnTo>
                    <a:pt x="1732" y="188"/>
                  </a:lnTo>
                  <a:lnTo>
                    <a:pt x="1738" y="190"/>
                  </a:lnTo>
                  <a:lnTo>
                    <a:pt x="1738" y="190"/>
                  </a:lnTo>
                  <a:lnTo>
                    <a:pt x="1742" y="188"/>
                  </a:lnTo>
                  <a:lnTo>
                    <a:pt x="1742" y="188"/>
                  </a:lnTo>
                  <a:lnTo>
                    <a:pt x="1748" y="188"/>
                  </a:lnTo>
                  <a:lnTo>
                    <a:pt x="1754" y="188"/>
                  </a:lnTo>
                  <a:lnTo>
                    <a:pt x="1754" y="188"/>
                  </a:lnTo>
                  <a:lnTo>
                    <a:pt x="1762" y="188"/>
                  </a:lnTo>
                  <a:lnTo>
                    <a:pt x="1768" y="188"/>
                  </a:lnTo>
                  <a:lnTo>
                    <a:pt x="1768" y="188"/>
                  </a:lnTo>
                  <a:lnTo>
                    <a:pt x="1774" y="188"/>
                  </a:lnTo>
                  <a:lnTo>
                    <a:pt x="1778" y="186"/>
                  </a:lnTo>
                  <a:lnTo>
                    <a:pt x="1786" y="182"/>
                  </a:lnTo>
                  <a:lnTo>
                    <a:pt x="1786" y="182"/>
                  </a:lnTo>
                  <a:lnTo>
                    <a:pt x="1790" y="182"/>
                  </a:lnTo>
                  <a:lnTo>
                    <a:pt x="1792" y="184"/>
                  </a:lnTo>
                  <a:lnTo>
                    <a:pt x="1796" y="186"/>
                  </a:lnTo>
                  <a:lnTo>
                    <a:pt x="1796" y="186"/>
                  </a:lnTo>
                  <a:lnTo>
                    <a:pt x="1802" y="186"/>
                  </a:lnTo>
                  <a:lnTo>
                    <a:pt x="1804" y="184"/>
                  </a:lnTo>
                  <a:lnTo>
                    <a:pt x="1812" y="180"/>
                  </a:lnTo>
                  <a:lnTo>
                    <a:pt x="1812" y="180"/>
                  </a:lnTo>
                  <a:lnTo>
                    <a:pt x="1816" y="180"/>
                  </a:lnTo>
                  <a:lnTo>
                    <a:pt x="1820" y="182"/>
                  </a:lnTo>
                  <a:lnTo>
                    <a:pt x="1820" y="182"/>
                  </a:lnTo>
                  <a:lnTo>
                    <a:pt x="1824" y="182"/>
                  </a:lnTo>
                  <a:lnTo>
                    <a:pt x="1828" y="182"/>
                  </a:lnTo>
                  <a:lnTo>
                    <a:pt x="1830" y="184"/>
                  </a:lnTo>
                  <a:lnTo>
                    <a:pt x="1830" y="184"/>
                  </a:lnTo>
                  <a:lnTo>
                    <a:pt x="1834" y="184"/>
                  </a:lnTo>
                  <a:lnTo>
                    <a:pt x="1838" y="182"/>
                  </a:lnTo>
                  <a:lnTo>
                    <a:pt x="1838" y="182"/>
                  </a:lnTo>
                  <a:lnTo>
                    <a:pt x="1842" y="182"/>
                  </a:lnTo>
                  <a:lnTo>
                    <a:pt x="1846" y="184"/>
                  </a:lnTo>
                  <a:lnTo>
                    <a:pt x="1846" y="182"/>
                  </a:lnTo>
                  <a:lnTo>
                    <a:pt x="1846" y="182"/>
                  </a:lnTo>
                  <a:lnTo>
                    <a:pt x="1850" y="180"/>
                  </a:lnTo>
                  <a:lnTo>
                    <a:pt x="1850" y="180"/>
                  </a:lnTo>
                  <a:lnTo>
                    <a:pt x="1856" y="184"/>
                  </a:lnTo>
                  <a:lnTo>
                    <a:pt x="1856" y="184"/>
                  </a:lnTo>
                  <a:lnTo>
                    <a:pt x="1860" y="184"/>
                  </a:lnTo>
                  <a:lnTo>
                    <a:pt x="1864" y="186"/>
                  </a:lnTo>
                  <a:lnTo>
                    <a:pt x="1864" y="186"/>
                  </a:lnTo>
                  <a:lnTo>
                    <a:pt x="1866" y="188"/>
                  </a:lnTo>
                  <a:lnTo>
                    <a:pt x="1868" y="192"/>
                  </a:lnTo>
                  <a:lnTo>
                    <a:pt x="1868" y="192"/>
                  </a:lnTo>
                  <a:lnTo>
                    <a:pt x="1872" y="192"/>
                  </a:lnTo>
                  <a:lnTo>
                    <a:pt x="1872" y="192"/>
                  </a:lnTo>
                  <a:lnTo>
                    <a:pt x="1876" y="196"/>
                  </a:lnTo>
                  <a:lnTo>
                    <a:pt x="1880" y="200"/>
                  </a:lnTo>
                  <a:lnTo>
                    <a:pt x="1880" y="200"/>
                  </a:lnTo>
                  <a:lnTo>
                    <a:pt x="1876" y="202"/>
                  </a:lnTo>
                  <a:lnTo>
                    <a:pt x="1876" y="202"/>
                  </a:lnTo>
                  <a:lnTo>
                    <a:pt x="1876" y="206"/>
                  </a:lnTo>
                  <a:lnTo>
                    <a:pt x="1878" y="206"/>
                  </a:lnTo>
                  <a:lnTo>
                    <a:pt x="1878" y="206"/>
                  </a:lnTo>
                  <a:lnTo>
                    <a:pt x="1878" y="210"/>
                  </a:lnTo>
                  <a:lnTo>
                    <a:pt x="1876" y="212"/>
                  </a:lnTo>
                  <a:lnTo>
                    <a:pt x="1876" y="212"/>
                  </a:lnTo>
                  <a:lnTo>
                    <a:pt x="1880" y="214"/>
                  </a:lnTo>
                  <a:lnTo>
                    <a:pt x="1884" y="214"/>
                  </a:lnTo>
                  <a:lnTo>
                    <a:pt x="1884" y="214"/>
                  </a:lnTo>
                  <a:lnTo>
                    <a:pt x="1884" y="218"/>
                  </a:lnTo>
                  <a:lnTo>
                    <a:pt x="1884" y="218"/>
                  </a:lnTo>
                  <a:lnTo>
                    <a:pt x="1888" y="222"/>
                  </a:lnTo>
                  <a:lnTo>
                    <a:pt x="1888" y="222"/>
                  </a:lnTo>
                  <a:lnTo>
                    <a:pt x="1888" y="226"/>
                  </a:lnTo>
                  <a:lnTo>
                    <a:pt x="1890" y="228"/>
                  </a:lnTo>
                  <a:lnTo>
                    <a:pt x="1890" y="228"/>
                  </a:lnTo>
                  <a:lnTo>
                    <a:pt x="1890" y="232"/>
                  </a:lnTo>
                  <a:lnTo>
                    <a:pt x="1890" y="232"/>
                  </a:lnTo>
                  <a:lnTo>
                    <a:pt x="1892" y="230"/>
                  </a:lnTo>
                  <a:lnTo>
                    <a:pt x="1892" y="230"/>
                  </a:lnTo>
                  <a:lnTo>
                    <a:pt x="1896" y="216"/>
                  </a:lnTo>
                  <a:lnTo>
                    <a:pt x="1896" y="216"/>
                  </a:lnTo>
                  <a:lnTo>
                    <a:pt x="1902" y="214"/>
                  </a:lnTo>
                  <a:lnTo>
                    <a:pt x="1902" y="214"/>
                  </a:lnTo>
                  <a:lnTo>
                    <a:pt x="1910" y="210"/>
                  </a:lnTo>
                  <a:lnTo>
                    <a:pt x="1910" y="210"/>
                  </a:lnTo>
                  <a:lnTo>
                    <a:pt x="1912" y="210"/>
                  </a:lnTo>
                  <a:lnTo>
                    <a:pt x="1914" y="210"/>
                  </a:lnTo>
                  <a:lnTo>
                    <a:pt x="1914" y="210"/>
                  </a:lnTo>
                  <a:lnTo>
                    <a:pt x="1926" y="210"/>
                  </a:lnTo>
                  <a:lnTo>
                    <a:pt x="1936" y="210"/>
                  </a:lnTo>
                  <a:lnTo>
                    <a:pt x="1936" y="210"/>
                  </a:lnTo>
                  <a:lnTo>
                    <a:pt x="1936" y="214"/>
                  </a:lnTo>
                  <a:lnTo>
                    <a:pt x="1936" y="214"/>
                  </a:lnTo>
                  <a:lnTo>
                    <a:pt x="1940" y="214"/>
                  </a:lnTo>
                  <a:lnTo>
                    <a:pt x="1942" y="216"/>
                  </a:lnTo>
                  <a:lnTo>
                    <a:pt x="1942" y="216"/>
                  </a:lnTo>
                  <a:lnTo>
                    <a:pt x="1944" y="212"/>
                  </a:lnTo>
                  <a:lnTo>
                    <a:pt x="1944" y="212"/>
                  </a:lnTo>
                  <a:lnTo>
                    <a:pt x="1956" y="212"/>
                  </a:lnTo>
                  <a:lnTo>
                    <a:pt x="1956" y="212"/>
                  </a:lnTo>
                  <a:lnTo>
                    <a:pt x="1966" y="214"/>
                  </a:lnTo>
                  <a:lnTo>
                    <a:pt x="1966" y="214"/>
                  </a:lnTo>
                  <a:lnTo>
                    <a:pt x="1966" y="218"/>
                  </a:lnTo>
                  <a:lnTo>
                    <a:pt x="1966" y="218"/>
                  </a:lnTo>
                  <a:lnTo>
                    <a:pt x="1968" y="218"/>
                  </a:lnTo>
                  <a:lnTo>
                    <a:pt x="1972" y="216"/>
                  </a:lnTo>
                  <a:lnTo>
                    <a:pt x="1978" y="214"/>
                  </a:lnTo>
                  <a:lnTo>
                    <a:pt x="1978" y="214"/>
                  </a:lnTo>
                  <a:lnTo>
                    <a:pt x="1980" y="216"/>
                  </a:lnTo>
                  <a:lnTo>
                    <a:pt x="1982" y="216"/>
                  </a:lnTo>
                  <a:lnTo>
                    <a:pt x="1982" y="216"/>
                  </a:lnTo>
                  <a:lnTo>
                    <a:pt x="1988" y="210"/>
                  </a:lnTo>
                  <a:lnTo>
                    <a:pt x="1988" y="210"/>
                  </a:lnTo>
                  <a:lnTo>
                    <a:pt x="1988" y="216"/>
                  </a:lnTo>
                  <a:lnTo>
                    <a:pt x="1988" y="222"/>
                  </a:lnTo>
                  <a:lnTo>
                    <a:pt x="1988" y="222"/>
                  </a:lnTo>
                  <a:lnTo>
                    <a:pt x="1990" y="222"/>
                  </a:lnTo>
                  <a:lnTo>
                    <a:pt x="1994" y="224"/>
                  </a:lnTo>
                  <a:lnTo>
                    <a:pt x="1994" y="224"/>
                  </a:lnTo>
                  <a:lnTo>
                    <a:pt x="1996" y="238"/>
                  </a:lnTo>
                  <a:lnTo>
                    <a:pt x="1996" y="238"/>
                  </a:lnTo>
                  <a:lnTo>
                    <a:pt x="2006" y="236"/>
                  </a:lnTo>
                  <a:lnTo>
                    <a:pt x="2006" y="236"/>
                  </a:lnTo>
                  <a:lnTo>
                    <a:pt x="2006" y="234"/>
                  </a:lnTo>
                  <a:lnTo>
                    <a:pt x="2006" y="234"/>
                  </a:lnTo>
                  <a:lnTo>
                    <a:pt x="2010" y="236"/>
                  </a:lnTo>
                  <a:lnTo>
                    <a:pt x="2014" y="234"/>
                  </a:lnTo>
                  <a:lnTo>
                    <a:pt x="2014" y="234"/>
                  </a:lnTo>
                  <a:lnTo>
                    <a:pt x="2014" y="230"/>
                  </a:lnTo>
                  <a:lnTo>
                    <a:pt x="2014" y="230"/>
                  </a:lnTo>
                  <a:lnTo>
                    <a:pt x="2018" y="230"/>
                  </a:lnTo>
                  <a:lnTo>
                    <a:pt x="2018" y="230"/>
                  </a:lnTo>
                  <a:lnTo>
                    <a:pt x="2020" y="226"/>
                  </a:lnTo>
                  <a:lnTo>
                    <a:pt x="2020" y="226"/>
                  </a:lnTo>
                  <a:lnTo>
                    <a:pt x="2024" y="226"/>
                  </a:lnTo>
                  <a:lnTo>
                    <a:pt x="2024" y="226"/>
                  </a:lnTo>
                  <a:lnTo>
                    <a:pt x="2024" y="220"/>
                  </a:lnTo>
                  <a:lnTo>
                    <a:pt x="2024" y="214"/>
                  </a:lnTo>
                  <a:lnTo>
                    <a:pt x="2024" y="214"/>
                  </a:lnTo>
                  <a:lnTo>
                    <a:pt x="2020" y="212"/>
                  </a:lnTo>
                  <a:lnTo>
                    <a:pt x="2020" y="212"/>
                  </a:lnTo>
                  <a:lnTo>
                    <a:pt x="2018" y="212"/>
                  </a:lnTo>
                  <a:lnTo>
                    <a:pt x="2018" y="212"/>
                  </a:lnTo>
                  <a:lnTo>
                    <a:pt x="2018" y="204"/>
                  </a:lnTo>
                  <a:lnTo>
                    <a:pt x="2018" y="198"/>
                  </a:lnTo>
                  <a:lnTo>
                    <a:pt x="2018" y="198"/>
                  </a:lnTo>
                  <a:lnTo>
                    <a:pt x="2022" y="198"/>
                  </a:lnTo>
                  <a:lnTo>
                    <a:pt x="2022" y="198"/>
                  </a:lnTo>
                  <a:lnTo>
                    <a:pt x="2026" y="200"/>
                  </a:lnTo>
                  <a:lnTo>
                    <a:pt x="2026" y="200"/>
                  </a:lnTo>
                  <a:lnTo>
                    <a:pt x="2034" y="200"/>
                  </a:lnTo>
                  <a:lnTo>
                    <a:pt x="2042" y="200"/>
                  </a:lnTo>
                  <a:lnTo>
                    <a:pt x="2042" y="200"/>
                  </a:lnTo>
                  <a:lnTo>
                    <a:pt x="2046" y="202"/>
                  </a:lnTo>
                  <a:lnTo>
                    <a:pt x="2046" y="202"/>
                  </a:lnTo>
                  <a:lnTo>
                    <a:pt x="2050" y="202"/>
                  </a:lnTo>
                  <a:lnTo>
                    <a:pt x="2052" y="200"/>
                  </a:lnTo>
                  <a:lnTo>
                    <a:pt x="2052" y="200"/>
                  </a:lnTo>
                  <a:lnTo>
                    <a:pt x="2056" y="202"/>
                  </a:lnTo>
                  <a:lnTo>
                    <a:pt x="2062" y="202"/>
                  </a:lnTo>
                  <a:lnTo>
                    <a:pt x="2062" y="202"/>
                  </a:lnTo>
                  <a:lnTo>
                    <a:pt x="2068" y="204"/>
                  </a:lnTo>
                  <a:lnTo>
                    <a:pt x="2076" y="202"/>
                  </a:lnTo>
                  <a:lnTo>
                    <a:pt x="2076" y="202"/>
                  </a:lnTo>
                  <a:lnTo>
                    <a:pt x="2076" y="202"/>
                  </a:lnTo>
                  <a:lnTo>
                    <a:pt x="2078" y="200"/>
                  </a:lnTo>
                  <a:lnTo>
                    <a:pt x="2078" y="202"/>
                  </a:lnTo>
                  <a:lnTo>
                    <a:pt x="2084" y="208"/>
                  </a:lnTo>
                  <a:lnTo>
                    <a:pt x="2084" y="208"/>
                  </a:lnTo>
                  <a:lnTo>
                    <a:pt x="2090" y="208"/>
                  </a:lnTo>
                  <a:lnTo>
                    <a:pt x="2096" y="210"/>
                  </a:lnTo>
                  <a:lnTo>
                    <a:pt x="2096" y="210"/>
                  </a:lnTo>
                  <a:lnTo>
                    <a:pt x="2098" y="214"/>
                  </a:lnTo>
                  <a:lnTo>
                    <a:pt x="2102" y="218"/>
                  </a:lnTo>
                  <a:lnTo>
                    <a:pt x="2102" y="218"/>
                  </a:lnTo>
                  <a:lnTo>
                    <a:pt x="2106" y="218"/>
                  </a:lnTo>
                  <a:lnTo>
                    <a:pt x="2108" y="218"/>
                  </a:lnTo>
                  <a:lnTo>
                    <a:pt x="2112" y="216"/>
                  </a:lnTo>
                  <a:lnTo>
                    <a:pt x="2116" y="216"/>
                  </a:lnTo>
                  <a:lnTo>
                    <a:pt x="2116" y="216"/>
                  </a:lnTo>
                  <a:lnTo>
                    <a:pt x="2118" y="218"/>
                  </a:lnTo>
                  <a:lnTo>
                    <a:pt x="2122" y="220"/>
                  </a:lnTo>
                  <a:lnTo>
                    <a:pt x="2122" y="220"/>
                  </a:lnTo>
                  <a:lnTo>
                    <a:pt x="2132" y="220"/>
                  </a:lnTo>
                  <a:lnTo>
                    <a:pt x="2132" y="220"/>
                  </a:lnTo>
                  <a:lnTo>
                    <a:pt x="2136" y="224"/>
                  </a:lnTo>
                  <a:lnTo>
                    <a:pt x="2136" y="224"/>
                  </a:lnTo>
                  <a:lnTo>
                    <a:pt x="2136" y="228"/>
                  </a:lnTo>
                  <a:lnTo>
                    <a:pt x="2136" y="228"/>
                  </a:lnTo>
                  <a:lnTo>
                    <a:pt x="2140" y="230"/>
                  </a:lnTo>
                  <a:lnTo>
                    <a:pt x="2140" y="230"/>
                  </a:lnTo>
                  <a:lnTo>
                    <a:pt x="2144" y="234"/>
                  </a:lnTo>
                  <a:lnTo>
                    <a:pt x="2146" y="242"/>
                  </a:lnTo>
                  <a:lnTo>
                    <a:pt x="2146" y="242"/>
                  </a:lnTo>
                  <a:lnTo>
                    <a:pt x="2158" y="244"/>
                  </a:lnTo>
                  <a:lnTo>
                    <a:pt x="2158" y="246"/>
                  </a:lnTo>
                  <a:lnTo>
                    <a:pt x="2158" y="246"/>
                  </a:lnTo>
                  <a:lnTo>
                    <a:pt x="2162" y="246"/>
                  </a:lnTo>
                  <a:lnTo>
                    <a:pt x="2164" y="246"/>
                  </a:lnTo>
                  <a:lnTo>
                    <a:pt x="2164" y="246"/>
                  </a:lnTo>
                  <a:lnTo>
                    <a:pt x="2168" y="250"/>
                  </a:lnTo>
                  <a:lnTo>
                    <a:pt x="2168" y="250"/>
                  </a:lnTo>
                  <a:lnTo>
                    <a:pt x="2166" y="252"/>
                  </a:lnTo>
                  <a:lnTo>
                    <a:pt x="2166" y="254"/>
                  </a:lnTo>
                  <a:lnTo>
                    <a:pt x="2168" y="254"/>
                  </a:lnTo>
                  <a:lnTo>
                    <a:pt x="2168" y="254"/>
                  </a:lnTo>
                  <a:lnTo>
                    <a:pt x="2174" y="258"/>
                  </a:lnTo>
                  <a:lnTo>
                    <a:pt x="2180" y="262"/>
                  </a:lnTo>
                  <a:lnTo>
                    <a:pt x="2180" y="262"/>
                  </a:lnTo>
                  <a:lnTo>
                    <a:pt x="2184" y="262"/>
                  </a:lnTo>
                  <a:lnTo>
                    <a:pt x="2184" y="262"/>
                  </a:lnTo>
                  <a:lnTo>
                    <a:pt x="2186" y="266"/>
                  </a:lnTo>
                  <a:lnTo>
                    <a:pt x="2186" y="266"/>
                  </a:lnTo>
                  <a:lnTo>
                    <a:pt x="2194" y="268"/>
                  </a:lnTo>
                  <a:lnTo>
                    <a:pt x="2194" y="268"/>
                  </a:lnTo>
                  <a:lnTo>
                    <a:pt x="2196" y="272"/>
                  </a:lnTo>
                  <a:lnTo>
                    <a:pt x="2196" y="272"/>
                  </a:lnTo>
                  <a:lnTo>
                    <a:pt x="2200" y="274"/>
                  </a:lnTo>
                  <a:lnTo>
                    <a:pt x="2204" y="274"/>
                  </a:lnTo>
                  <a:lnTo>
                    <a:pt x="2204" y="274"/>
                  </a:lnTo>
                  <a:lnTo>
                    <a:pt x="2206" y="280"/>
                  </a:lnTo>
                  <a:lnTo>
                    <a:pt x="2206" y="280"/>
                  </a:lnTo>
                  <a:lnTo>
                    <a:pt x="2208" y="282"/>
                  </a:lnTo>
                  <a:lnTo>
                    <a:pt x="2212" y="284"/>
                  </a:lnTo>
                  <a:lnTo>
                    <a:pt x="2212" y="284"/>
                  </a:lnTo>
                  <a:lnTo>
                    <a:pt x="2212" y="290"/>
                  </a:lnTo>
                  <a:lnTo>
                    <a:pt x="2210" y="298"/>
                  </a:lnTo>
                  <a:lnTo>
                    <a:pt x="2210" y="298"/>
                  </a:lnTo>
                  <a:lnTo>
                    <a:pt x="2216" y="300"/>
                  </a:lnTo>
                  <a:lnTo>
                    <a:pt x="2216" y="300"/>
                  </a:lnTo>
                  <a:lnTo>
                    <a:pt x="2214" y="288"/>
                  </a:lnTo>
                  <a:lnTo>
                    <a:pt x="2214" y="288"/>
                  </a:lnTo>
                  <a:lnTo>
                    <a:pt x="2226" y="286"/>
                  </a:lnTo>
                  <a:lnTo>
                    <a:pt x="2238" y="286"/>
                  </a:lnTo>
                  <a:lnTo>
                    <a:pt x="2240" y="288"/>
                  </a:lnTo>
                  <a:lnTo>
                    <a:pt x="2240" y="288"/>
                  </a:lnTo>
                  <a:lnTo>
                    <a:pt x="2244" y="290"/>
                  </a:lnTo>
                  <a:lnTo>
                    <a:pt x="2246" y="290"/>
                  </a:lnTo>
                  <a:lnTo>
                    <a:pt x="2246" y="290"/>
                  </a:lnTo>
                  <a:lnTo>
                    <a:pt x="2248" y="292"/>
                  </a:lnTo>
                  <a:lnTo>
                    <a:pt x="2248" y="296"/>
                  </a:lnTo>
                  <a:lnTo>
                    <a:pt x="2248" y="296"/>
                  </a:lnTo>
                  <a:lnTo>
                    <a:pt x="2254" y="298"/>
                  </a:lnTo>
                  <a:lnTo>
                    <a:pt x="2254" y="298"/>
                  </a:lnTo>
                  <a:lnTo>
                    <a:pt x="2254" y="302"/>
                  </a:lnTo>
                  <a:lnTo>
                    <a:pt x="2254" y="302"/>
                  </a:lnTo>
                  <a:lnTo>
                    <a:pt x="2262" y="306"/>
                  </a:lnTo>
                  <a:lnTo>
                    <a:pt x="2268" y="310"/>
                  </a:lnTo>
                  <a:lnTo>
                    <a:pt x="2268" y="310"/>
                  </a:lnTo>
                  <a:lnTo>
                    <a:pt x="2270" y="312"/>
                  </a:lnTo>
                  <a:lnTo>
                    <a:pt x="2270" y="312"/>
                  </a:lnTo>
                  <a:lnTo>
                    <a:pt x="2274" y="312"/>
                  </a:lnTo>
                  <a:lnTo>
                    <a:pt x="2274" y="314"/>
                  </a:lnTo>
                  <a:lnTo>
                    <a:pt x="2274" y="314"/>
                  </a:lnTo>
                  <a:lnTo>
                    <a:pt x="2270" y="316"/>
                  </a:lnTo>
                  <a:lnTo>
                    <a:pt x="2270" y="316"/>
                  </a:lnTo>
                  <a:close/>
                  <a:moveTo>
                    <a:pt x="26" y="556"/>
                  </a:moveTo>
                  <a:lnTo>
                    <a:pt x="26" y="556"/>
                  </a:lnTo>
                  <a:lnTo>
                    <a:pt x="16" y="546"/>
                  </a:lnTo>
                  <a:lnTo>
                    <a:pt x="16" y="546"/>
                  </a:lnTo>
                  <a:lnTo>
                    <a:pt x="12" y="548"/>
                  </a:lnTo>
                  <a:lnTo>
                    <a:pt x="12" y="548"/>
                  </a:lnTo>
                  <a:lnTo>
                    <a:pt x="14" y="544"/>
                  </a:lnTo>
                  <a:lnTo>
                    <a:pt x="14" y="542"/>
                  </a:lnTo>
                  <a:lnTo>
                    <a:pt x="12" y="542"/>
                  </a:lnTo>
                  <a:lnTo>
                    <a:pt x="12" y="542"/>
                  </a:lnTo>
                  <a:lnTo>
                    <a:pt x="12" y="542"/>
                  </a:lnTo>
                  <a:lnTo>
                    <a:pt x="10" y="542"/>
                  </a:lnTo>
                  <a:lnTo>
                    <a:pt x="12" y="542"/>
                  </a:lnTo>
                  <a:lnTo>
                    <a:pt x="12" y="542"/>
                  </a:lnTo>
                  <a:lnTo>
                    <a:pt x="8" y="546"/>
                  </a:lnTo>
                  <a:lnTo>
                    <a:pt x="6" y="546"/>
                  </a:lnTo>
                  <a:lnTo>
                    <a:pt x="6" y="546"/>
                  </a:lnTo>
                  <a:lnTo>
                    <a:pt x="4" y="554"/>
                  </a:lnTo>
                  <a:lnTo>
                    <a:pt x="4" y="554"/>
                  </a:lnTo>
                  <a:lnTo>
                    <a:pt x="6" y="554"/>
                  </a:lnTo>
                  <a:lnTo>
                    <a:pt x="6" y="554"/>
                  </a:lnTo>
                  <a:lnTo>
                    <a:pt x="4" y="556"/>
                  </a:lnTo>
                  <a:lnTo>
                    <a:pt x="4" y="556"/>
                  </a:lnTo>
                  <a:lnTo>
                    <a:pt x="4" y="560"/>
                  </a:lnTo>
                  <a:lnTo>
                    <a:pt x="4" y="560"/>
                  </a:lnTo>
                  <a:lnTo>
                    <a:pt x="0" y="562"/>
                  </a:lnTo>
                  <a:lnTo>
                    <a:pt x="0" y="562"/>
                  </a:lnTo>
                  <a:lnTo>
                    <a:pt x="0" y="564"/>
                  </a:lnTo>
                  <a:lnTo>
                    <a:pt x="0" y="564"/>
                  </a:lnTo>
                  <a:lnTo>
                    <a:pt x="4" y="568"/>
                  </a:lnTo>
                  <a:lnTo>
                    <a:pt x="14" y="572"/>
                  </a:lnTo>
                  <a:lnTo>
                    <a:pt x="14" y="572"/>
                  </a:lnTo>
                  <a:lnTo>
                    <a:pt x="26" y="574"/>
                  </a:lnTo>
                  <a:lnTo>
                    <a:pt x="32" y="574"/>
                  </a:lnTo>
                  <a:lnTo>
                    <a:pt x="32" y="574"/>
                  </a:lnTo>
                  <a:lnTo>
                    <a:pt x="40" y="574"/>
                  </a:lnTo>
                  <a:lnTo>
                    <a:pt x="46" y="572"/>
                  </a:lnTo>
                  <a:lnTo>
                    <a:pt x="44" y="560"/>
                  </a:lnTo>
                  <a:lnTo>
                    <a:pt x="44" y="560"/>
                  </a:lnTo>
                  <a:lnTo>
                    <a:pt x="36" y="560"/>
                  </a:lnTo>
                  <a:lnTo>
                    <a:pt x="30" y="558"/>
                  </a:lnTo>
                  <a:lnTo>
                    <a:pt x="26" y="556"/>
                  </a:lnTo>
                  <a:lnTo>
                    <a:pt x="26" y="55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7" name="Freeform 103"/>
            <p:cNvSpPr>
              <a:spLocks noChangeAspect="1"/>
            </p:cNvSpPr>
            <p:nvPr/>
          </p:nvSpPr>
          <p:spPr bwMode="gray">
            <a:xfrm>
              <a:off x="4771941" y="3026097"/>
              <a:ext cx="197213" cy="148047"/>
            </a:xfrm>
            <a:custGeom>
              <a:avLst/>
              <a:gdLst/>
              <a:ahLst/>
              <a:cxnLst>
                <a:cxn ang="0">
                  <a:pos x="114" y="60"/>
                </a:cxn>
                <a:cxn ang="0">
                  <a:pos x="108" y="60"/>
                </a:cxn>
                <a:cxn ang="0">
                  <a:pos x="104" y="60"/>
                </a:cxn>
                <a:cxn ang="0">
                  <a:pos x="102" y="60"/>
                </a:cxn>
                <a:cxn ang="0">
                  <a:pos x="96" y="56"/>
                </a:cxn>
                <a:cxn ang="0">
                  <a:pos x="96" y="50"/>
                </a:cxn>
                <a:cxn ang="0">
                  <a:pos x="96" y="48"/>
                </a:cxn>
                <a:cxn ang="0">
                  <a:pos x="96" y="40"/>
                </a:cxn>
                <a:cxn ang="0">
                  <a:pos x="96" y="36"/>
                </a:cxn>
                <a:cxn ang="0">
                  <a:pos x="96" y="32"/>
                </a:cxn>
                <a:cxn ang="0">
                  <a:pos x="96" y="28"/>
                </a:cxn>
                <a:cxn ang="0">
                  <a:pos x="90" y="18"/>
                </a:cxn>
                <a:cxn ang="0">
                  <a:pos x="86" y="10"/>
                </a:cxn>
                <a:cxn ang="0">
                  <a:pos x="76" y="0"/>
                </a:cxn>
                <a:cxn ang="0">
                  <a:pos x="70" y="4"/>
                </a:cxn>
                <a:cxn ang="0">
                  <a:pos x="64" y="8"/>
                </a:cxn>
                <a:cxn ang="0">
                  <a:pos x="58" y="12"/>
                </a:cxn>
                <a:cxn ang="0">
                  <a:pos x="52" y="10"/>
                </a:cxn>
                <a:cxn ang="0">
                  <a:pos x="44" y="8"/>
                </a:cxn>
                <a:cxn ang="0">
                  <a:pos x="34" y="6"/>
                </a:cxn>
                <a:cxn ang="0">
                  <a:pos x="30" y="2"/>
                </a:cxn>
                <a:cxn ang="0">
                  <a:pos x="28" y="14"/>
                </a:cxn>
                <a:cxn ang="0">
                  <a:pos x="20" y="22"/>
                </a:cxn>
                <a:cxn ang="0">
                  <a:pos x="16" y="40"/>
                </a:cxn>
                <a:cxn ang="0">
                  <a:pos x="10" y="50"/>
                </a:cxn>
                <a:cxn ang="0">
                  <a:pos x="4" y="54"/>
                </a:cxn>
                <a:cxn ang="0">
                  <a:pos x="4" y="58"/>
                </a:cxn>
                <a:cxn ang="0">
                  <a:pos x="8" y="64"/>
                </a:cxn>
                <a:cxn ang="0">
                  <a:pos x="10" y="68"/>
                </a:cxn>
                <a:cxn ang="0">
                  <a:pos x="14" y="72"/>
                </a:cxn>
                <a:cxn ang="0">
                  <a:pos x="20" y="70"/>
                </a:cxn>
                <a:cxn ang="0">
                  <a:pos x="24" y="68"/>
                </a:cxn>
                <a:cxn ang="0">
                  <a:pos x="30" y="74"/>
                </a:cxn>
                <a:cxn ang="0">
                  <a:pos x="24" y="74"/>
                </a:cxn>
                <a:cxn ang="0">
                  <a:pos x="26" y="80"/>
                </a:cxn>
                <a:cxn ang="0">
                  <a:pos x="32" y="82"/>
                </a:cxn>
                <a:cxn ang="0">
                  <a:pos x="38" y="86"/>
                </a:cxn>
                <a:cxn ang="0">
                  <a:pos x="36" y="90"/>
                </a:cxn>
                <a:cxn ang="0">
                  <a:pos x="42" y="90"/>
                </a:cxn>
                <a:cxn ang="0">
                  <a:pos x="48" y="88"/>
                </a:cxn>
                <a:cxn ang="0">
                  <a:pos x="56" y="90"/>
                </a:cxn>
                <a:cxn ang="0">
                  <a:pos x="66" y="88"/>
                </a:cxn>
                <a:cxn ang="0">
                  <a:pos x="74" y="82"/>
                </a:cxn>
                <a:cxn ang="0">
                  <a:pos x="82" y="84"/>
                </a:cxn>
                <a:cxn ang="0">
                  <a:pos x="88" y="84"/>
                </a:cxn>
                <a:cxn ang="0">
                  <a:pos x="96" y="82"/>
                </a:cxn>
                <a:cxn ang="0">
                  <a:pos x="106" y="84"/>
                </a:cxn>
                <a:cxn ang="0">
                  <a:pos x="106" y="80"/>
                </a:cxn>
                <a:cxn ang="0">
                  <a:pos x="108" y="76"/>
                </a:cxn>
                <a:cxn ang="0">
                  <a:pos x="112" y="76"/>
                </a:cxn>
                <a:cxn ang="0">
                  <a:pos x="114" y="72"/>
                </a:cxn>
                <a:cxn ang="0">
                  <a:pos x="116" y="64"/>
                </a:cxn>
                <a:cxn ang="0">
                  <a:pos x="114" y="62"/>
                </a:cxn>
                <a:cxn ang="0">
                  <a:pos x="116" y="62"/>
                </a:cxn>
              </a:cxnLst>
              <a:rect l="0" t="0" r="r" b="b"/>
              <a:pathLst>
                <a:path w="116" h="90">
                  <a:moveTo>
                    <a:pt x="116" y="60"/>
                  </a:moveTo>
                  <a:lnTo>
                    <a:pt x="116" y="60"/>
                  </a:lnTo>
                  <a:lnTo>
                    <a:pt x="114" y="60"/>
                  </a:lnTo>
                  <a:lnTo>
                    <a:pt x="110" y="60"/>
                  </a:lnTo>
                  <a:lnTo>
                    <a:pt x="108" y="60"/>
                  </a:lnTo>
                  <a:lnTo>
                    <a:pt x="108" y="60"/>
                  </a:lnTo>
                  <a:lnTo>
                    <a:pt x="108" y="62"/>
                  </a:lnTo>
                  <a:lnTo>
                    <a:pt x="106" y="62"/>
                  </a:lnTo>
                  <a:lnTo>
                    <a:pt x="104" y="60"/>
                  </a:lnTo>
                  <a:lnTo>
                    <a:pt x="104" y="60"/>
                  </a:lnTo>
                  <a:lnTo>
                    <a:pt x="102" y="60"/>
                  </a:lnTo>
                  <a:lnTo>
                    <a:pt x="102" y="60"/>
                  </a:lnTo>
                  <a:lnTo>
                    <a:pt x="98" y="58"/>
                  </a:lnTo>
                  <a:lnTo>
                    <a:pt x="98" y="58"/>
                  </a:lnTo>
                  <a:lnTo>
                    <a:pt x="96" y="56"/>
                  </a:lnTo>
                  <a:lnTo>
                    <a:pt x="96" y="54"/>
                  </a:lnTo>
                  <a:lnTo>
                    <a:pt x="98" y="52"/>
                  </a:lnTo>
                  <a:lnTo>
                    <a:pt x="96" y="50"/>
                  </a:lnTo>
                  <a:lnTo>
                    <a:pt x="96" y="50"/>
                  </a:lnTo>
                  <a:lnTo>
                    <a:pt x="96" y="50"/>
                  </a:lnTo>
                  <a:lnTo>
                    <a:pt x="96" y="48"/>
                  </a:lnTo>
                  <a:lnTo>
                    <a:pt x="96" y="42"/>
                  </a:lnTo>
                  <a:lnTo>
                    <a:pt x="96" y="42"/>
                  </a:lnTo>
                  <a:lnTo>
                    <a:pt x="96" y="40"/>
                  </a:lnTo>
                  <a:lnTo>
                    <a:pt x="98" y="38"/>
                  </a:lnTo>
                  <a:lnTo>
                    <a:pt x="98" y="38"/>
                  </a:lnTo>
                  <a:lnTo>
                    <a:pt x="96" y="36"/>
                  </a:lnTo>
                  <a:lnTo>
                    <a:pt x="96" y="36"/>
                  </a:lnTo>
                  <a:lnTo>
                    <a:pt x="96" y="34"/>
                  </a:lnTo>
                  <a:lnTo>
                    <a:pt x="96" y="32"/>
                  </a:lnTo>
                  <a:lnTo>
                    <a:pt x="96" y="30"/>
                  </a:lnTo>
                  <a:lnTo>
                    <a:pt x="96" y="28"/>
                  </a:lnTo>
                  <a:lnTo>
                    <a:pt x="96" y="28"/>
                  </a:lnTo>
                  <a:lnTo>
                    <a:pt x="94" y="24"/>
                  </a:lnTo>
                  <a:lnTo>
                    <a:pt x="90" y="18"/>
                  </a:lnTo>
                  <a:lnTo>
                    <a:pt x="90" y="18"/>
                  </a:lnTo>
                  <a:lnTo>
                    <a:pt x="86" y="14"/>
                  </a:lnTo>
                  <a:lnTo>
                    <a:pt x="86" y="10"/>
                  </a:lnTo>
                  <a:lnTo>
                    <a:pt x="86" y="10"/>
                  </a:lnTo>
                  <a:lnTo>
                    <a:pt x="80" y="2"/>
                  </a:lnTo>
                  <a:lnTo>
                    <a:pt x="76" y="0"/>
                  </a:lnTo>
                  <a:lnTo>
                    <a:pt x="76" y="0"/>
                  </a:lnTo>
                  <a:lnTo>
                    <a:pt x="74" y="0"/>
                  </a:lnTo>
                  <a:lnTo>
                    <a:pt x="70" y="4"/>
                  </a:lnTo>
                  <a:lnTo>
                    <a:pt x="70" y="4"/>
                  </a:lnTo>
                  <a:lnTo>
                    <a:pt x="68" y="6"/>
                  </a:lnTo>
                  <a:lnTo>
                    <a:pt x="64" y="8"/>
                  </a:lnTo>
                  <a:lnTo>
                    <a:pt x="64" y="8"/>
                  </a:lnTo>
                  <a:lnTo>
                    <a:pt x="62" y="8"/>
                  </a:lnTo>
                  <a:lnTo>
                    <a:pt x="62" y="10"/>
                  </a:lnTo>
                  <a:lnTo>
                    <a:pt x="58" y="12"/>
                  </a:lnTo>
                  <a:lnTo>
                    <a:pt x="58" y="12"/>
                  </a:lnTo>
                  <a:lnTo>
                    <a:pt x="54" y="14"/>
                  </a:lnTo>
                  <a:lnTo>
                    <a:pt x="52" y="10"/>
                  </a:lnTo>
                  <a:lnTo>
                    <a:pt x="52" y="10"/>
                  </a:lnTo>
                  <a:lnTo>
                    <a:pt x="48" y="8"/>
                  </a:lnTo>
                  <a:lnTo>
                    <a:pt x="44" y="8"/>
                  </a:lnTo>
                  <a:lnTo>
                    <a:pt x="44" y="8"/>
                  </a:lnTo>
                  <a:lnTo>
                    <a:pt x="38" y="8"/>
                  </a:lnTo>
                  <a:lnTo>
                    <a:pt x="34" y="6"/>
                  </a:lnTo>
                  <a:lnTo>
                    <a:pt x="34" y="6"/>
                  </a:lnTo>
                  <a:lnTo>
                    <a:pt x="32" y="2"/>
                  </a:lnTo>
                  <a:lnTo>
                    <a:pt x="30" y="2"/>
                  </a:lnTo>
                  <a:lnTo>
                    <a:pt x="30" y="2"/>
                  </a:lnTo>
                  <a:lnTo>
                    <a:pt x="28" y="14"/>
                  </a:lnTo>
                  <a:lnTo>
                    <a:pt x="28" y="14"/>
                  </a:lnTo>
                  <a:lnTo>
                    <a:pt x="26" y="18"/>
                  </a:lnTo>
                  <a:lnTo>
                    <a:pt x="20" y="22"/>
                  </a:lnTo>
                  <a:lnTo>
                    <a:pt x="20" y="22"/>
                  </a:lnTo>
                  <a:lnTo>
                    <a:pt x="18" y="26"/>
                  </a:lnTo>
                  <a:lnTo>
                    <a:pt x="16" y="32"/>
                  </a:lnTo>
                  <a:lnTo>
                    <a:pt x="16" y="40"/>
                  </a:lnTo>
                  <a:lnTo>
                    <a:pt x="14" y="46"/>
                  </a:lnTo>
                  <a:lnTo>
                    <a:pt x="14" y="46"/>
                  </a:lnTo>
                  <a:lnTo>
                    <a:pt x="10" y="50"/>
                  </a:lnTo>
                  <a:lnTo>
                    <a:pt x="8" y="52"/>
                  </a:lnTo>
                  <a:lnTo>
                    <a:pt x="4" y="54"/>
                  </a:lnTo>
                  <a:lnTo>
                    <a:pt x="4" y="54"/>
                  </a:lnTo>
                  <a:lnTo>
                    <a:pt x="0" y="54"/>
                  </a:lnTo>
                  <a:lnTo>
                    <a:pt x="0" y="54"/>
                  </a:lnTo>
                  <a:lnTo>
                    <a:pt x="4" y="58"/>
                  </a:lnTo>
                  <a:lnTo>
                    <a:pt x="6" y="60"/>
                  </a:lnTo>
                  <a:lnTo>
                    <a:pt x="8" y="64"/>
                  </a:lnTo>
                  <a:lnTo>
                    <a:pt x="8" y="64"/>
                  </a:lnTo>
                  <a:lnTo>
                    <a:pt x="6" y="68"/>
                  </a:lnTo>
                  <a:lnTo>
                    <a:pt x="10" y="68"/>
                  </a:lnTo>
                  <a:lnTo>
                    <a:pt x="10" y="68"/>
                  </a:lnTo>
                  <a:lnTo>
                    <a:pt x="12" y="68"/>
                  </a:lnTo>
                  <a:lnTo>
                    <a:pt x="14" y="72"/>
                  </a:lnTo>
                  <a:lnTo>
                    <a:pt x="14" y="72"/>
                  </a:lnTo>
                  <a:lnTo>
                    <a:pt x="16" y="74"/>
                  </a:lnTo>
                  <a:lnTo>
                    <a:pt x="18" y="72"/>
                  </a:lnTo>
                  <a:lnTo>
                    <a:pt x="20" y="70"/>
                  </a:lnTo>
                  <a:lnTo>
                    <a:pt x="20" y="70"/>
                  </a:lnTo>
                  <a:lnTo>
                    <a:pt x="20" y="68"/>
                  </a:lnTo>
                  <a:lnTo>
                    <a:pt x="24" y="68"/>
                  </a:lnTo>
                  <a:lnTo>
                    <a:pt x="28" y="72"/>
                  </a:lnTo>
                  <a:lnTo>
                    <a:pt x="28" y="72"/>
                  </a:lnTo>
                  <a:lnTo>
                    <a:pt x="30" y="74"/>
                  </a:lnTo>
                  <a:lnTo>
                    <a:pt x="28" y="74"/>
                  </a:lnTo>
                  <a:lnTo>
                    <a:pt x="28" y="74"/>
                  </a:lnTo>
                  <a:lnTo>
                    <a:pt x="24" y="74"/>
                  </a:lnTo>
                  <a:lnTo>
                    <a:pt x="24" y="76"/>
                  </a:lnTo>
                  <a:lnTo>
                    <a:pt x="26" y="80"/>
                  </a:lnTo>
                  <a:lnTo>
                    <a:pt x="26" y="80"/>
                  </a:lnTo>
                  <a:lnTo>
                    <a:pt x="30" y="82"/>
                  </a:lnTo>
                  <a:lnTo>
                    <a:pt x="32" y="82"/>
                  </a:lnTo>
                  <a:lnTo>
                    <a:pt x="32" y="82"/>
                  </a:lnTo>
                  <a:lnTo>
                    <a:pt x="36" y="84"/>
                  </a:lnTo>
                  <a:lnTo>
                    <a:pt x="38" y="84"/>
                  </a:lnTo>
                  <a:lnTo>
                    <a:pt x="38" y="86"/>
                  </a:lnTo>
                  <a:lnTo>
                    <a:pt x="38" y="86"/>
                  </a:lnTo>
                  <a:lnTo>
                    <a:pt x="36" y="88"/>
                  </a:lnTo>
                  <a:lnTo>
                    <a:pt x="36" y="90"/>
                  </a:lnTo>
                  <a:lnTo>
                    <a:pt x="38" y="90"/>
                  </a:lnTo>
                  <a:lnTo>
                    <a:pt x="42" y="90"/>
                  </a:lnTo>
                  <a:lnTo>
                    <a:pt x="42" y="90"/>
                  </a:lnTo>
                  <a:lnTo>
                    <a:pt x="46" y="90"/>
                  </a:lnTo>
                  <a:lnTo>
                    <a:pt x="46" y="90"/>
                  </a:lnTo>
                  <a:lnTo>
                    <a:pt x="48" y="88"/>
                  </a:lnTo>
                  <a:lnTo>
                    <a:pt x="50" y="90"/>
                  </a:lnTo>
                  <a:lnTo>
                    <a:pt x="50" y="90"/>
                  </a:lnTo>
                  <a:lnTo>
                    <a:pt x="56" y="90"/>
                  </a:lnTo>
                  <a:lnTo>
                    <a:pt x="62" y="90"/>
                  </a:lnTo>
                  <a:lnTo>
                    <a:pt x="62" y="90"/>
                  </a:lnTo>
                  <a:lnTo>
                    <a:pt x="66" y="88"/>
                  </a:lnTo>
                  <a:lnTo>
                    <a:pt x="70" y="86"/>
                  </a:lnTo>
                  <a:lnTo>
                    <a:pt x="70" y="86"/>
                  </a:lnTo>
                  <a:lnTo>
                    <a:pt x="74" y="82"/>
                  </a:lnTo>
                  <a:lnTo>
                    <a:pt x="78" y="82"/>
                  </a:lnTo>
                  <a:lnTo>
                    <a:pt x="78" y="82"/>
                  </a:lnTo>
                  <a:lnTo>
                    <a:pt x="82" y="84"/>
                  </a:lnTo>
                  <a:lnTo>
                    <a:pt x="84" y="86"/>
                  </a:lnTo>
                  <a:lnTo>
                    <a:pt x="88" y="84"/>
                  </a:lnTo>
                  <a:lnTo>
                    <a:pt x="88" y="84"/>
                  </a:lnTo>
                  <a:lnTo>
                    <a:pt x="92" y="82"/>
                  </a:lnTo>
                  <a:lnTo>
                    <a:pt x="96" y="82"/>
                  </a:lnTo>
                  <a:lnTo>
                    <a:pt x="96" y="82"/>
                  </a:lnTo>
                  <a:lnTo>
                    <a:pt x="102" y="86"/>
                  </a:lnTo>
                  <a:lnTo>
                    <a:pt x="106" y="84"/>
                  </a:lnTo>
                  <a:lnTo>
                    <a:pt x="106" y="84"/>
                  </a:lnTo>
                  <a:lnTo>
                    <a:pt x="106" y="82"/>
                  </a:lnTo>
                  <a:lnTo>
                    <a:pt x="106" y="80"/>
                  </a:lnTo>
                  <a:lnTo>
                    <a:pt x="106" y="80"/>
                  </a:lnTo>
                  <a:lnTo>
                    <a:pt x="106" y="78"/>
                  </a:lnTo>
                  <a:lnTo>
                    <a:pt x="108" y="76"/>
                  </a:lnTo>
                  <a:lnTo>
                    <a:pt x="108" y="76"/>
                  </a:lnTo>
                  <a:lnTo>
                    <a:pt x="112" y="78"/>
                  </a:lnTo>
                  <a:lnTo>
                    <a:pt x="112" y="78"/>
                  </a:lnTo>
                  <a:lnTo>
                    <a:pt x="112" y="76"/>
                  </a:lnTo>
                  <a:lnTo>
                    <a:pt x="114" y="76"/>
                  </a:lnTo>
                  <a:lnTo>
                    <a:pt x="114" y="76"/>
                  </a:lnTo>
                  <a:lnTo>
                    <a:pt x="114" y="72"/>
                  </a:lnTo>
                  <a:lnTo>
                    <a:pt x="114" y="66"/>
                  </a:lnTo>
                  <a:lnTo>
                    <a:pt x="114" y="66"/>
                  </a:lnTo>
                  <a:lnTo>
                    <a:pt x="116" y="64"/>
                  </a:lnTo>
                  <a:lnTo>
                    <a:pt x="114" y="64"/>
                  </a:lnTo>
                  <a:lnTo>
                    <a:pt x="114" y="64"/>
                  </a:lnTo>
                  <a:lnTo>
                    <a:pt x="114" y="62"/>
                  </a:lnTo>
                  <a:lnTo>
                    <a:pt x="114" y="62"/>
                  </a:lnTo>
                  <a:lnTo>
                    <a:pt x="116" y="62"/>
                  </a:lnTo>
                  <a:lnTo>
                    <a:pt x="116" y="62"/>
                  </a:lnTo>
                  <a:lnTo>
                    <a:pt x="116" y="60"/>
                  </a:lnTo>
                  <a:lnTo>
                    <a:pt x="116" y="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8" name="Freeform 104"/>
            <p:cNvSpPr>
              <a:spLocks noChangeAspect="1"/>
            </p:cNvSpPr>
            <p:nvPr/>
          </p:nvSpPr>
          <p:spPr bwMode="gray">
            <a:xfrm>
              <a:off x="5438386" y="3707114"/>
              <a:ext cx="20401" cy="29609"/>
            </a:xfrm>
            <a:custGeom>
              <a:avLst/>
              <a:gdLst/>
              <a:ahLst/>
              <a:cxnLst>
                <a:cxn ang="0">
                  <a:pos x="0" y="12"/>
                </a:cxn>
                <a:cxn ang="0">
                  <a:pos x="0" y="12"/>
                </a:cxn>
                <a:cxn ang="0">
                  <a:pos x="0" y="10"/>
                </a:cxn>
                <a:cxn ang="0">
                  <a:pos x="0" y="10"/>
                </a:cxn>
                <a:cxn ang="0">
                  <a:pos x="6" y="6"/>
                </a:cxn>
                <a:cxn ang="0">
                  <a:pos x="8" y="0"/>
                </a:cxn>
                <a:cxn ang="0">
                  <a:pos x="8" y="0"/>
                </a:cxn>
                <a:cxn ang="0">
                  <a:pos x="10" y="0"/>
                </a:cxn>
                <a:cxn ang="0">
                  <a:pos x="10" y="0"/>
                </a:cxn>
                <a:cxn ang="0">
                  <a:pos x="12" y="8"/>
                </a:cxn>
                <a:cxn ang="0">
                  <a:pos x="12" y="18"/>
                </a:cxn>
                <a:cxn ang="0">
                  <a:pos x="6" y="16"/>
                </a:cxn>
                <a:cxn ang="0">
                  <a:pos x="0" y="12"/>
                </a:cxn>
              </a:cxnLst>
              <a:rect l="0" t="0" r="r" b="b"/>
              <a:pathLst>
                <a:path w="12" h="18">
                  <a:moveTo>
                    <a:pt x="0" y="12"/>
                  </a:moveTo>
                  <a:lnTo>
                    <a:pt x="0" y="12"/>
                  </a:lnTo>
                  <a:lnTo>
                    <a:pt x="0" y="10"/>
                  </a:lnTo>
                  <a:lnTo>
                    <a:pt x="0" y="10"/>
                  </a:lnTo>
                  <a:lnTo>
                    <a:pt x="6" y="6"/>
                  </a:lnTo>
                  <a:lnTo>
                    <a:pt x="8" y="0"/>
                  </a:lnTo>
                  <a:lnTo>
                    <a:pt x="8" y="0"/>
                  </a:lnTo>
                  <a:lnTo>
                    <a:pt x="10" y="0"/>
                  </a:lnTo>
                  <a:lnTo>
                    <a:pt x="10" y="0"/>
                  </a:lnTo>
                  <a:lnTo>
                    <a:pt x="12" y="8"/>
                  </a:lnTo>
                  <a:lnTo>
                    <a:pt x="12" y="18"/>
                  </a:lnTo>
                  <a:lnTo>
                    <a:pt x="6" y="16"/>
                  </a:lnTo>
                  <a:lnTo>
                    <a:pt x="0"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79" name="Freeform 105"/>
            <p:cNvSpPr>
              <a:spLocks noChangeAspect="1"/>
            </p:cNvSpPr>
            <p:nvPr/>
          </p:nvSpPr>
          <p:spPr bwMode="gray">
            <a:xfrm>
              <a:off x="2770905" y="3911090"/>
              <a:ext cx="30602" cy="16449"/>
            </a:xfrm>
            <a:custGeom>
              <a:avLst/>
              <a:gdLst/>
              <a:ahLst/>
              <a:cxnLst>
                <a:cxn ang="0">
                  <a:pos x="0" y="0"/>
                </a:cxn>
                <a:cxn ang="0">
                  <a:pos x="0" y="0"/>
                </a:cxn>
                <a:cxn ang="0">
                  <a:pos x="0" y="4"/>
                </a:cxn>
                <a:cxn ang="0">
                  <a:pos x="0" y="4"/>
                </a:cxn>
                <a:cxn ang="0">
                  <a:pos x="2" y="8"/>
                </a:cxn>
                <a:cxn ang="0">
                  <a:pos x="2" y="8"/>
                </a:cxn>
                <a:cxn ang="0">
                  <a:pos x="8" y="10"/>
                </a:cxn>
                <a:cxn ang="0">
                  <a:pos x="10" y="8"/>
                </a:cxn>
                <a:cxn ang="0">
                  <a:pos x="16" y="4"/>
                </a:cxn>
                <a:cxn ang="0">
                  <a:pos x="16" y="4"/>
                </a:cxn>
                <a:cxn ang="0">
                  <a:pos x="18" y="2"/>
                </a:cxn>
                <a:cxn ang="0">
                  <a:pos x="18" y="2"/>
                </a:cxn>
                <a:cxn ang="0">
                  <a:pos x="14" y="0"/>
                </a:cxn>
                <a:cxn ang="0">
                  <a:pos x="0" y="0"/>
                </a:cxn>
                <a:cxn ang="0">
                  <a:pos x="0" y="0"/>
                </a:cxn>
              </a:cxnLst>
              <a:rect l="0" t="0" r="r" b="b"/>
              <a:pathLst>
                <a:path w="18" h="10">
                  <a:moveTo>
                    <a:pt x="0" y="0"/>
                  </a:moveTo>
                  <a:lnTo>
                    <a:pt x="0" y="0"/>
                  </a:lnTo>
                  <a:lnTo>
                    <a:pt x="0" y="4"/>
                  </a:lnTo>
                  <a:lnTo>
                    <a:pt x="0" y="4"/>
                  </a:lnTo>
                  <a:lnTo>
                    <a:pt x="2" y="8"/>
                  </a:lnTo>
                  <a:lnTo>
                    <a:pt x="2" y="8"/>
                  </a:lnTo>
                  <a:lnTo>
                    <a:pt x="8" y="10"/>
                  </a:lnTo>
                  <a:lnTo>
                    <a:pt x="10" y="8"/>
                  </a:lnTo>
                  <a:lnTo>
                    <a:pt x="16" y="4"/>
                  </a:lnTo>
                  <a:lnTo>
                    <a:pt x="16" y="4"/>
                  </a:lnTo>
                  <a:lnTo>
                    <a:pt x="18" y="2"/>
                  </a:lnTo>
                  <a:lnTo>
                    <a:pt x="18" y="2"/>
                  </a:lnTo>
                  <a:lnTo>
                    <a:pt x="14"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0" name="Freeform 106"/>
            <p:cNvSpPr>
              <a:spLocks noChangeAspect="1"/>
            </p:cNvSpPr>
            <p:nvPr/>
          </p:nvSpPr>
          <p:spPr bwMode="gray">
            <a:xfrm>
              <a:off x="4073193" y="3226783"/>
              <a:ext cx="64604" cy="154627"/>
            </a:xfrm>
            <a:custGeom>
              <a:avLst/>
              <a:gdLst/>
              <a:ahLst/>
              <a:cxnLst>
                <a:cxn ang="0">
                  <a:pos x="30" y="90"/>
                </a:cxn>
                <a:cxn ang="0">
                  <a:pos x="32" y="82"/>
                </a:cxn>
                <a:cxn ang="0">
                  <a:pos x="34" y="80"/>
                </a:cxn>
                <a:cxn ang="0">
                  <a:pos x="30" y="80"/>
                </a:cxn>
                <a:cxn ang="0">
                  <a:pos x="28" y="78"/>
                </a:cxn>
                <a:cxn ang="0">
                  <a:pos x="28" y="72"/>
                </a:cxn>
                <a:cxn ang="0">
                  <a:pos x="30" y="68"/>
                </a:cxn>
                <a:cxn ang="0">
                  <a:pos x="30" y="62"/>
                </a:cxn>
                <a:cxn ang="0">
                  <a:pos x="28" y="58"/>
                </a:cxn>
                <a:cxn ang="0">
                  <a:pos x="32" y="52"/>
                </a:cxn>
                <a:cxn ang="0">
                  <a:pos x="32" y="48"/>
                </a:cxn>
                <a:cxn ang="0">
                  <a:pos x="32" y="42"/>
                </a:cxn>
                <a:cxn ang="0">
                  <a:pos x="34" y="34"/>
                </a:cxn>
                <a:cxn ang="0">
                  <a:pos x="36" y="32"/>
                </a:cxn>
                <a:cxn ang="0">
                  <a:pos x="32" y="20"/>
                </a:cxn>
                <a:cxn ang="0">
                  <a:pos x="30" y="18"/>
                </a:cxn>
                <a:cxn ang="0">
                  <a:pos x="36" y="12"/>
                </a:cxn>
                <a:cxn ang="0">
                  <a:pos x="38" y="6"/>
                </a:cxn>
                <a:cxn ang="0">
                  <a:pos x="34" y="6"/>
                </a:cxn>
                <a:cxn ang="0">
                  <a:pos x="30" y="4"/>
                </a:cxn>
                <a:cxn ang="0">
                  <a:pos x="20" y="4"/>
                </a:cxn>
                <a:cxn ang="0">
                  <a:pos x="18" y="4"/>
                </a:cxn>
                <a:cxn ang="0">
                  <a:pos x="18" y="2"/>
                </a:cxn>
                <a:cxn ang="0">
                  <a:pos x="16" y="0"/>
                </a:cxn>
                <a:cxn ang="0">
                  <a:pos x="10" y="4"/>
                </a:cxn>
                <a:cxn ang="0">
                  <a:pos x="12" y="16"/>
                </a:cxn>
                <a:cxn ang="0">
                  <a:pos x="12" y="30"/>
                </a:cxn>
                <a:cxn ang="0">
                  <a:pos x="8" y="34"/>
                </a:cxn>
                <a:cxn ang="0">
                  <a:pos x="8" y="36"/>
                </a:cxn>
                <a:cxn ang="0">
                  <a:pos x="8" y="38"/>
                </a:cxn>
                <a:cxn ang="0">
                  <a:pos x="6" y="42"/>
                </a:cxn>
                <a:cxn ang="0">
                  <a:pos x="6" y="46"/>
                </a:cxn>
                <a:cxn ang="0">
                  <a:pos x="2" y="48"/>
                </a:cxn>
                <a:cxn ang="0">
                  <a:pos x="2" y="54"/>
                </a:cxn>
                <a:cxn ang="0">
                  <a:pos x="0" y="56"/>
                </a:cxn>
                <a:cxn ang="0">
                  <a:pos x="2" y="58"/>
                </a:cxn>
                <a:cxn ang="0">
                  <a:pos x="4" y="62"/>
                </a:cxn>
                <a:cxn ang="0">
                  <a:pos x="6" y="58"/>
                </a:cxn>
                <a:cxn ang="0">
                  <a:pos x="6" y="62"/>
                </a:cxn>
                <a:cxn ang="0">
                  <a:pos x="4" y="64"/>
                </a:cxn>
                <a:cxn ang="0">
                  <a:pos x="4" y="66"/>
                </a:cxn>
                <a:cxn ang="0">
                  <a:pos x="6" y="66"/>
                </a:cxn>
                <a:cxn ang="0">
                  <a:pos x="6" y="72"/>
                </a:cxn>
                <a:cxn ang="0">
                  <a:pos x="8" y="76"/>
                </a:cxn>
                <a:cxn ang="0">
                  <a:pos x="8" y="78"/>
                </a:cxn>
                <a:cxn ang="0">
                  <a:pos x="6" y="92"/>
                </a:cxn>
                <a:cxn ang="0">
                  <a:pos x="18" y="92"/>
                </a:cxn>
                <a:cxn ang="0">
                  <a:pos x="18" y="94"/>
                </a:cxn>
                <a:cxn ang="0">
                  <a:pos x="22" y="94"/>
                </a:cxn>
                <a:cxn ang="0">
                  <a:pos x="30" y="90"/>
                </a:cxn>
              </a:cxnLst>
              <a:rect l="0" t="0" r="r" b="b"/>
              <a:pathLst>
                <a:path w="38" h="94">
                  <a:moveTo>
                    <a:pt x="30" y="90"/>
                  </a:moveTo>
                  <a:lnTo>
                    <a:pt x="30" y="90"/>
                  </a:lnTo>
                  <a:lnTo>
                    <a:pt x="30" y="88"/>
                  </a:lnTo>
                  <a:lnTo>
                    <a:pt x="32" y="82"/>
                  </a:lnTo>
                  <a:lnTo>
                    <a:pt x="32" y="82"/>
                  </a:lnTo>
                  <a:lnTo>
                    <a:pt x="34" y="80"/>
                  </a:lnTo>
                  <a:lnTo>
                    <a:pt x="32" y="80"/>
                  </a:lnTo>
                  <a:lnTo>
                    <a:pt x="30" y="80"/>
                  </a:lnTo>
                  <a:lnTo>
                    <a:pt x="28" y="78"/>
                  </a:lnTo>
                  <a:lnTo>
                    <a:pt x="28" y="78"/>
                  </a:lnTo>
                  <a:lnTo>
                    <a:pt x="28" y="74"/>
                  </a:lnTo>
                  <a:lnTo>
                    <a:pt x="28" y="72"/>
                  </a:lnTo>
                  <a:lnTo>
                    <a:pt x="30" y="68"/>
                  </a:lnTo>
                  <a:lnTo>
                    <a:pt x="30" y="68"/>
                  </a:lnTo>
                  <a:lnTo>
                    <a:pt x="32" y="64"/>
                  </a:lnTo>
                  <a:lnTo>
                    <a:pt x="30" y="62"/>
                  </a:lnTo>
                  <a:lnTo>
                    <a:pt x="30" y="62"/>
                  </a:lnTo>
                  <a:lnTo>
                    <a:pt x="28" y="58"/>
                  </a:lnTo>
                  <a:lnTo>
                    <a:pt x="28" y="56"/>
                  </a:lnTo>
                  <a:lnTo>
                    <a:pt x="32" y="52"/>
                  </a:lnTo>
                  <a:lnTo>
                    <a:pt x="32" y="52"/>
                  </a:lnTo>
                  <a:lnTo>
                    <a:pt x="32" y="48"/>
                  </a:lnTo>
                  <a:lnTo>
                    <a:pt x="32" y="42"/>
                  </a:lnTo>
                  <a:lnTo>
                    <a:pt x="32" y="42"/>
                  </a:lnTo>
                  <a:lnTo>
                    <a:pt x="30" y="38"/>
                  </a:lnTo>
                  <a:lnTo>
                    <a:pt x="34" y="34"/>
                  </a:lnTo>
                  <a:lnTo>
                    <a:pt x="34" y="34"/>
                  </a:lnTo>
                  <a:lnTo>
                    <a:pt x="36" y="32"/>
                  </a:lnTo>
                  <a:lnTo>
                    <a:pt x="36" y="28"/>
                  </a:lnTo>
                  <a:lnTo>
                    <a:pt x="32" y="20"/>
                  </a:lnTo>
                  <a:lnTo>
                    <a:pt x="32" y="20"/>
                  </a:lnTo>
                  <a:lnTo>
                    <a:pt x="30" y="18"/>
                  </a:lnTo>
                  <a:lnTo>
                    <a:pt x="32" y="16"/>
                  </a:lnTo>
                  <a:lnTo>
                    <a:pt x="36" y="12"/>
                  </a:lnTo>
                  <a:lnTo>
                    <a:pt x="36" y="12"/>
                  </a:lnTo>
                  <a:lnTo>
                    <a:pt x="38" y="6"/>
                  </a:lnTo>
                  <a:lnTo>
                    <a:pt x="34" y="6"/>
                  </a:lnTo>
                  <a:lnTo>
                    <a:pt x="34" y="6"/>
                  </a:lnTo>
                  <a:lnTo>
                    <a:pt x="34" y="4"/>
                  </a:lnTo>
                  <a:lnTo>
                    <a:pt x="30" y="4"/>
                  </a:lnTo>
                  <a:lnTo>
                    <a:pt x="30" y="4"/>
                  </a:lnTo>
                  <a:lnTo>
                    <a:pt x="20" y="4"/>
                  </a:lnTo>
                  <a:lnTo>
                    <a:pt x="20" y="4"/>
                  </a:lnTo>
                  <a:lnTo>
                    <a:pt x="18" y="4"/>
                  </a:lnTo>
                  <a:lnTo>
                    <a:pt x="18" y="4"/>
                  </a:lnTo>
                  <a:lnTo>
                    <a:pt x="18" y="2"/>
                  </a:lnTo>
                  <a:lnTo>
                    <a:pt x="18" y="2"/>
                  </a:lnTo>
                  <a:lnTo>
                    <a:pt x="16" y="0"/>
                  </a:lnTo>
                  <a:lnTo>
                    <a:pt x="12" y="2"/>
                  </a:lnTo>
                  <a:lnTo>
                    <a:pt x="10" y="4"/>
                  </a:lnTo>
                  <a:lnTo>
                    <a:pt x="10" y="4"/>
                  </a:lnTo>
                  <a:lnTo>
                    <a:pt x="12" y="16"/>
                  </a:lnTo>
                  <a:lnTo>
                    <a:pt x="12" y="24"/>
                  </a:lnTo>
                  <a:lnTo>
                    <a:pt x="12" y="30"/>
                  </a:lnTo>
                  <a:lnTo>
                    <a:pt x="12" y="30"/>
                  </a:lnTo>
                  <a:lnTo>
                    <a:pt x="8" y="34"/>
                  </a:lnTo>
                  <a:lnTo>
                    <a:pt x="8" y="34"/>
                  </a:lnTo>
                  <a:lnTo>
                    <a:pt x="8" y="36"/>
                  </a:lnTo>
                  <a:lnTo>
                    <a:pt x="8" y="38"/>
                  </a:lnTo>
                  <a:lnTo>
                    <a:pt x="8" y="38"/>
                  </a:lnTo>
                  <a:lnTo>
                    <a:pt x="6" y="42"/>
                  </a:lnTo>
                  <a:lnTo>
                    <a:pt x="6" y="42"/>
                  </a:lnTo>
                  <a:lnTo>
                    <a:pt x="6" y="46"/>
                  </a:lnTo>
                  <a:lnTo>
                    <a:pt x="6" y="46"/>
                  </a:lnTo>
                  <a:lnTo>
                    <a:pt x="2" y="48"/>
                  </a:lnTo>
                  <a:lnTo>
                    <a:pt x="2" y="48"/>
                  </a:lnTo>
                  <a:lnTo>
                    <a:pt x="2" y="52"/>
                  </a:lnTo>
                  <a:lnTo>
                    <a:pt x="2" y="54"/>
                  </a:lnTo>
                  <a:lnTo>
                    <a:pt x="0" y="56"/>
                  </a:lnTo>
                  <a:lnTo>
                    <a:pt x="0" y="56"/>
                  </a:lnTo>
                  <a:lnTo>
                    <a:pt x="0" y="56"/>
                  </a:lnTo>
                  <a:lnTo>
                    <a:pt x="2" y="58"/>
                  </a:lnTo>
                  <a:lnTo>
                    <a:pt x="4" y="62"/>
                  </a:lnTo>
                  <a:lnTo>
                    <a:pt x="4" y="62"/>
                  </a:lnTo>
                  <a:lnTo>
                    <a:pt x="4" y="60"/>
                  </a:lnTo>
                  <a:lnTo>
                    <a:pt x="6" y="58"/>
                  </a:lnTo>
                  <a:lnTo>
                    <a:pt x="6" y="58"/>
                  </a:lnTo>
                  <a:lnTo>
                    <a:pt x="6" y="62"/>
                  </a:lnTo>
                  <a:lnTo>
                    <a:pt x="6" y="62"/>
                  </a:lnTo>
                  <a:lnTo>
                    <a:pt x="4" y="64"/>
                  </a:lnTo>
                  <a:lnTo>
                    <a:pt x="4" y="64"/>
                  </a:lnTo>
                  <a:lnTo>
                    <a:pt x="4" y="66"/>
                  </a:lnTo>
                  <a:lnTo>
                    <a:pt x="4" y="66"/>
                  </a:lnTo>
                  <a:lnTo>
                    <a:pt x="6" y="66"/>
                  </a:lnTo>
                  <a:lnTo>
                    <a:pt x="6" y="66"/>
                  </a:lnTo>
                  <a:lnTo>
                    <a:pt x="6" y="72"/>
                  </a:lnTo>
                  <a:lnTo>
                    <a:pt x="8" y="74"/>
                  </a:lnTo>
                  <a:lnTo>
                    <a:pt x="8" y="76"/>
                  </a:lnTo>
                  <a:lnTo>
                    <a:pt x="8" y="78"/>
                  </a:lnTo>
                  <a:lnTo>
                    <a:pt x="8" y="78"/>
                  </a:lnTo>
                  <a:lnTo>
                    <a:pt x="6" y="92"/>
                  </a:lnTo>
                  <a:lnTo>
                    <a:pt x="6" y="92"/>
                  </a:lnTo>
                  <a:lnTo>
                    <a:pt x="10" y="90"/>
                  </a:lnTo>
                  <a:lnTo>
                    <a:pt x="18" y="92"/>
                  </a:lnTo>
                  <a:lnTo>
                    <a:pt x="18" y="92"/>
                  </a:lnTo>
                  <a:lnTo>
                    <a:pt x="18" y="94"/>
                  </a:lnTo>
                  <a:lnTo>
                    <a:pt x="22" y="94"/>
                  </a:lnTo>
                  <a:lnTo>
                    <a:pt x="22" y="94"/>
                  </a:lnTo>
                  <a:lnTo>
                    <a:pt x="26" y="92"/>
                  </a:lnTo>
                  <a:lnTo>
                    <a:pt x="30" y="90"/>
                  </a:lnTo>
                  <a:lnTo>
                    <a:pt x="30" y="9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1" name="Freeform 107"/>
            <p:cNvSpPr>
              <a:spLocks noChangeAspect="1"/>
            </p:cNvSpPr>
            <p:nvPr/>
          </p:nvSpPr>
          <p:spPr bwMode="gray">
            <a:xfrm>
              <a:off x="4612130" y="2815540"/>
              <a:ext cx="244817" cy="200686"/>
            </a:xfrm>
            <a:custGeom>
              <a:avLst/>
              <a:gdLst/>
              <a:ahLst/>
              <a:cxnLst>
                <a:cxn ang="0">
                  <a:pos x="72" y="8"/>
                </a:cxn>
                <a:cxn ang="0">
                  <a:pos x="72" y="6"/>
                </a:cxn>
                <a:cxn ang="0">
                  <a:pos x="66" y="8"/>
                </a:cxn>
                <a:cxn ang="0">
                  <a:pos x="60" y="8"/>
                </a:cxn>
                <a:cxn ang="0">
                  <a:pos x="58" y="4"/>
                </a:cxn>
                <a:cxn ang="0">
                  <a:pos x="60" y="6"/>
                </a:cxn>
                <a:cxn ang="0">
                  <a:pos x="62" y="2"/>
                </a:cxn>
                <a:cxn ang="0">
                  <a:pos x="58" y="0"/>
                </a:cxn>
                <a:cxn ang="0">
                  <a:pos x="40" y="8"/>
                </a:cxn>
                <a:cxn ang="0">
                  <a:pos x="34" y="8"/>
                </a:cxn>
                <a:cxn ang="0">
                  <a:pos x="28" y="12"/>
                </a:cxn>
                <a:cxn ang="0">
                  <a:pos x="22" y="14"/>
                </a:cxn>
                <a:cxn ang="0">
                  <a:pos x="8" y="16"/>
                </a:cxn>
                <a:cxn ang="0">
                  <a:pos x="2" y="22"/>
                </a:cxn>
                <a:cxn ang="0">
                  <a:pos x="0" y="34"/>
                </a:cxn>
                <a:cxn ang="0">
                  <a:pos x="4" y="40"/>
                </a:cxn>
                <a:cxn ang="0">
                  <a:pos x="4" y="54"/>
                </a:cxn>
                <a:cxn ang="0">
                  <a:pos x="6" y="76"/>
                </a:cxn>
                <a:cxn ang="0">
                  <a:pos x="18" y="78"/>
                </a:cxn>
                <a:cxn ang="0">
                  <a:pos x="20" y="82"/>
                </a:cxn>
                <a:cxn ang="0">
                  <a:pos x="24" y="82"/>
                </a:cxn>
                <a:cxn ang="0">
                  <a:pos x="32" y="88"/>
                </a:cxn>
                <a:cxn ang="0">
                  <a:pos x="42" y="90"/>
                </a:cxn>
                <a:cxn ang="0">
                  <a:pos x="46" y="92"/>
                </a:cxn>
                <a:cxn ang="0">
                  <a:pos x="48" y="96"/>
                </a:cxn>
                <a:cxn ang="0">
                  <a:pos x="54" y="104"/>
                </a:cxn>
                <a:cxn ang="0">
                  <a:pos x="60" y="104"/>
                </a:cxn>
                <a:cxn ang="0">
                  <a:pos x="68" y="104"/>
                </a:cxn>
                <a:cxn ang="0">
                  <a:pos x="80" y="110"/>
                </a:cxn>
                <a:cxn ang="0">
                  <a:pos x="84" y="108"/>
                </a:cxn>
                <a:cxn ang="0">
                  <a:pos x="92" y="104"/>
                </a:cxn>
                <a:cxn ang="0">
                  <a:pos x="100" y="100"/>
                </a:cxn>
                <a:cxn ang="0">
                  <a:pos x="106" y="98"/>
                </a:cxn>
                <a:cxn ang="0">
                  <a:pos x="114" y="104"/>
                </a:cxn>
                <a:cxn ang="0">
                  <a:pos x="122" y="110"/>
                </a:cxn>
                <a:cxn ang="0">
                  <a:pos x="124" y="116"/>
                </a:cxn>
                <a:cxn ang="0">
                  <a:pos x="130" y="122"/>
                </a:cxn>
                <a:cxn ang="0">
                  <a:pos x="138" y="118"/>
                </a:cxn>
                <a:cxn ang="0">
                  <a:pos x="136" y="112"/>
                </a:cxn>
                <a:cxn ang="0">
                  <a:pos x="136" y="106"/>
                </a:cxn>
                <a:cxn ang="0">
                  <a:pos x="144" y="90"/>
                </a:cxn>
                <a:cxn ang="0">
                  <a:pos x="140" y="82"/>
                </a:cxn>
                <a:cxn ang="0">
                  <a:pos x="140" y="76"/>
                </a:cxn>
                <a:cxn ang="0">
                  <a:pos x="142" y="68"/>
                </a:cxn>
                <a:cxn ang="0">
                  <a:pos x="142" y="66"/>
                </a:cxn>
                <a:cxn ang="0">
                  <a:pos x="140" y="58"/>
                </a:cxn>
                <a:cxn ang="0">
                  <a:pos x="140" y="46"/>
                </a:cxn>
                <a:cxn ang="0">
                  <a:pos x="144" y="36"/>
                </a:cxn>
                <a:cxn ang="0">
                  <a:pos x="142" y="30"/>
                </a:cxn>
                <a:cxn ang="0">
                  <a:pos x="140" y="22"/>
                </a:cxn>
                <a:cxn ang="0">
                  <a:pos x="138" y="18"/>
                </a:cxn>
                <a:cxn ang="0">
                  <a:pos x="120" y="16"/>
                </a:cxn>
                <a:cxn ang="0">
                  <a:pos x="106" y="18"/>
                </a:cxn>
                <a:cxn ang="0">
                  <a:pos x="88" y="16"/>
                </a:cxn>
                <a:cxn ang="0">
                  <a:pos x="74" y="8"/>
                </a:cxn>
                <a:cxn ang="0">
                  <a:pos x="74" y="10"/>
                </a:cxn>
              </a:cxnLst>
              <a:rect l="0" t="0" r="r" b="b"/>
              <a:pathLst>
                <a:path w="144" h="122">
                  <a:moveTo>
                    <a:pt x="74" y="10"/>
                  </a:moveTo>
                  <a:lnTo>
                    <a:pt x="74" y="10"/>
                  </a:lnTo>
                  <a:lnTo>
                    <a:pt x="72" y="8"/>
                  </a:lnTo>
                  <a:lnTo>
                    <a:pt x="72" y="8"/>
                  </a:lnTo>
                  <a:lnTo>
                    <a:pt x="72" y="6"/>
                  </a:lnTo>
                  <a:lnTo>
                    <a:pt x="72" y="6"/>
                  </a:lnTo>
                  <a:lnTo>
                    <a:pt x="70" y="6"/>
                  </a:lnTo>
                  <a:lnTo>
                    <a:pt x="66" y="8"/>
                  </a:lnTo>
                  <a:lnTo>
                    <a:pt x="66" y="8"/>
                  </a:lnTo>
                  <a:lnTo>
                    <a:pt x="62" y="10"/>
                  </a:lnTo>
                  <a:lnTo>
                    <a:pt x="62" y="10"/>
                  </a:lnTo>
                  <a:lnTo>
                    <a:pt x="60" y="8"/>
                  </a:lnTo>
                  <a:lnTo>
                    <a:pt x="58" y="8"/>
                  </a:lnTo>
                  <a:lnTo>
                    <a:pt x="58" y="8"/>
                  </a:lnTo>
                  <a:lnTo>
                    <a:pt x="58" y="4"/>
                  </a:lnTo>
                  <a:lnTo>
                    <a:pt x="58" y="4"/>
                  </a:lnTo>
                  <a:lnTo>
                    <a:pt x="60" y="6"/>
                  </a:lnTo>
                  <a:lnTo>
                    <a:pt x="60" y="6"/>
                  </a:lnTo>
                  <a:lnTo>
                    <a:pt x="62" y="4"/>
                  </a:lnTo>
                  <a:lnTo>
                    <a:pt x="62" y="4"/>
                  </a:lnTo>
                  <a:lnTo>
                    <a:pt x="62" y="2"/>
                  </a:lnTo>
                  <a:lnTo>
                    <a:pt x="60" y="2"/>
                  </a:lnTo>
                  <a:lnTo>
                    <a:pt x="58" y="0"/>
                  </a:lnTo>
                  <a:lnTo>
                    <a:pt x="58" y="0"/>
                  </a:lnTo>
                  <a:lnTo>
                    <a:pt x="44" y="4"/>
                  </a:lnTo>
                  <a:lnTo>
                    <a:pt x="44" y="4"/>
                  </a:lnTo>
                  <a:lnTo>
                    <a:pt x="40" y="8"/>
                  </a:lnTo>
                  <a:lnTo>
                    <a:pt x="40" y="8"/>
                  </a:lnTo>
                  <a:lnTo>
                    <a:pt x="34" y="8"/>
                  </a:lnTo>
                  <a:lnTo>
                    <a:pt x="34" y="8"/>
                  </a:lnTo>
                  <a:lnTo>
                    <a:pt x="32" y="10"/>
                  </a:lnTo>
                  <a:lnTo>
                    <a:pt x="28" y="12"/>
                  </a:lnTo>
                  <a:lnTo>
                    <a:pt x="28" y="12"/>
                  </a:lnTo>
                  <a:lnTo>
                    <a:pt x="26" y="12"/>
                  </a:lnTo>
                  <a:lnTo>
                    <a:pt x="24" y="12"/>
                  </a:lnTo>
                  <a:lnTo>
                    <a:pt x="22" y="14"/>
                  </a:lnTo>
                  <a:lnTo>
                    <a:pt x="22" y="14"/>
                  </a:lnTo>
                  <a:lnTo>
                    <a:pt x="8" y="16"/>
                  </a:lnTo>
                  <a:lnTo>
                    <a:pt x="8" y="16"/>
                  </a:lnTo>
                  <a:lnTo>
                    <a:pt x="2" y="16"/>
                  </a:lnTo>
                  <a:lnTo>
                    <a:pt x="2" y="16"/>
                  </a:lnTo>
                  <a:lnTo>
                    <a:pt x="2" y="22"/>
                  </a:lnTo>
                  <a:lnTo>
                    <a:pt x="0" y="32"/>
                  </a:lnTo>
                  <a:lnTo>
                    <a:pt x="0" y="32"/>
                  </a:lnTo>
                  <a:lnTo>
                    <a:pt x="0" y="34"/>
                  </a:lnTo>
                  <a:lnTo>
                    <a:pt x="2" y="38"/>
                  </a:lnTo>
                  <a:lnTo>
                    <a:pt x="4" y="40"/>
                  </a:lnTo>
                  <a:lnTo>
                    <a:pt x="4" y="40"/>
                  </a:lnTo>
                  <a:lnTo>
                    <a:pt x="2" y="50"/>
                  </a:lnTo>
                  <a:lnTo>
                    <a:pt x="2" y="50"/>
                  </a:lnTo>
                  <a:lnTo>
                    <a:pt x="4" y="54"/>
                  </a:lnTo>
                  <a:lnTo>
                    <a:pt x="4" y="58"/>
                  </a:lnTo>
                  <a:lnTo>
                    <a:pt x="4" y="58"/>
                  </a:lnTo>
                  <a:lnTo>
                    <a:pt x="6" y="76"/>
                  </a:lnTo>
                  <a:lnTo>
                    <a:pt x="10" y="78"/>
                  </a:lnTo>
                  <a:lnTo>
                    <a:pt x="10" y="78"/>
                  </a:lnTo>
                  <a:lnTo>
                    <a:pt x="18" y="78"/>
                  </a:lnTo>
                  <a:lnTo>
                    <a:pt x="18" y="78"/>
                  </a:lnTo>
                  <a:lnTo>
                    <a:pt x="20" y="80"/>
                  </a:lnTo>
                  <a:lnTo>
                    <a:pt x="20" y="82"/>
                  </a:lnTo>
                  <a:lnTo>
                    <a:pt x="22" y="82"/>
                  </a:lnTo>
                  <a:lnTo>
                    <a:pt x="24" y="82"/>
                  </a:lnTo>
                  <a:lnTo>
                    <a:pt x="24" y="82"/>
                  </a:lnTo>
                  <a:lnTo>
                    <a:pt x="26" y="82"/>
                  </a:lnTo>
                  <a:lnTo>
                    <a:pt x="28" y="84"/>
                  </a:lnTo>
                  <a:lnTo>
                    <a:pt x="32" y="88"/>
                  </a:lnTo>
                  <a:lnTo>
                    <a:pt x="32" y="88"/>
                  </a:lnTo>
                  <a:lnTo>
                    <a:pt x="38" y="90"/>
                  </a:lnTo>
                  <a:lnTo>
                    <a:pt x="42" y="90"/>
                  </a:lnTo>
                  <a:lnTo>
                    <a:pt x="42" y="90"/>
                  </a:lnTo>
                  <a:lnTo>
                    <a:pt x="44" y="90"/>
                  </a:lnTo>
                  <a:lnTo>
                    <a:pt x="46" y="92"/>
                  </a:lnTo>
                  <a:lnTo>
                    <a:pt x="48" y="94"/>
                  </a:lnTo>
                  <a:lnTo>
                    <a:pt x="48" y="96"/>
                  </a:lnTo>
                  <a:lnTo>
                    <a:pt x="48" y="96"/>
                  </a:lnTo>
                  <a:lnTo>
                    <a:pt x="50" y="96"/>
                  </a:lnTo>
                  <a:lnTo>
                    <a:pt x="52" y="98"/>
                  </a:lnTo>
                  <a:lnTo>
                    <a:pt x="54" y="104"/>
                  </a:lnTo>
                  <a:lnTo>
                    <a:pt x="54" y="104"/>
                  </a:lnTo>
                  <a:lnTo>
                    <a:pt x="60" y="104"/>
                  </a:lnTo>
                  <a:lnTo>
                    <a:pt x="60" y="104"/>
                  </a:lnTo>
                  <a:lnTo>
                    <a:pt x="64" y="102"/>
                  </a:lnTo>
                  <a:lnTo>
                    <a:pt x="68" y="104"/>
                  </a:lnTo>
                  <a:lnTo>
                    <a:pt x="68" y="104"/>
                  </a:lnTo>
                  <a:lnTo>
                    <a:pt x="74" y="108"/>
                  </a:lnTo>
                  <a:lnTo>
                    <a:pt x="74" y="108"/>
                  </a:lnTo>
                  <a:lnTo>
                    <a:pt x="80" y="110"/>
                  </a:lnTo>
                  <a:lnTo>
                    <a:pt x="82" y="110"/>
                  </a:lnTo>
                  <a:lnTo>
                    <a:pt x="84" y="108"/>
                  </a:lnTo>
                  <a:lnTo>
                    <a:pt x="84" y="108"/>
                  </a:lnTo>
                  <a:lnTo>
                    <a:pt x="86" y="106"/>
                  </a:lnTo>
                  <a:lnTo>
                    <a:pt x="88" y="106"/>
                  </a:lnTo>
                  <a:lnTo>
                    <a:pt x="92" y="104"/>
                  </a:lnTo>
                  <a:lnTo>
                    <a:pt x="92" y="104"/>
                  </a:lnTo>
                  <a:lnTo>
                    <a:pt x="96" y="102"/>
                  </a:lnTo>
                  <a:lnTo>
                    <a:pt x="100" y="100"/>
                  </a:lnTo>
                  <a:lnTo>
                    <a:pt x="102" y="98"/>
                  </a:lnTo>
                  <a:lnTo>
                    <a:pt x="106" y="98"/>
                  </a:lnTo>
                  <a:lnTo>
                    <a:pt x="106" y="98"/>
                  </a:lnTo>
                  <a:lnTo>
                    <a:pt x="110" y="102"/>
                  </a:lnTo>
                  <a:lnTo>
                    <a:pt x="114" y="104"/>
                  </a:lnTo>
                  <a:lnTo>
                    <a:pt x="114" y="104"/>
                  </a:lnTo>
                  <a:lnTo>
                    <a:pt x="116" y="104"/>
                  </a:lnTo>
                  <a:lnTo>
                    <a:pt x="118" y="106"/>
                  </a:lnTo>
                  <a:lnTo>
                    <a:pt x="122" y="110"/>
                  </a:lnTo>
                  <a:lnTo>
                    <a:pt x="122" y="110"/>
                  </a:lnTo>
                  <a:lnTo>
                    <a:pt x="124" y="112"/>
                  </a:lnTo>
                  <a:lnTo>
                    <a:pt x="124" y="116"/>
                  </a:lnTo>
                  <a:lnTo>
                    <a:pt x="124" y="116"/>
                  </a:lnTo>
                  <a:lnTo>
                    <a:pt x="128" y="120"/>
                  </a:lnTo>
                  <a:lnTo>
                    <a:pt x="130" y="122"/>
                  </a:lnTo>
                  <a:lnTo>
                    <a:pt x="130" y="122"/>
                  </a:lnTo>
                  <a:lnTo>
                    <a:pt x="134" y="120"/>
                  </a:lnTo>
                  <a:lnTo>
                    <a:pt x="138" y="118"/>
                  </a:lnTo>
                  <a:lnTo>
                    <a:pt x="138" y="116"/>
                  </a:lnTo>
                  <a:lnTo>
                    <a:pt x="138" y="116"/>
                  </a:lnTo>
                  <a:lnTo>
                    <a:pt x="136" y="112"/>
                  </a:lnTo>
                  <a:lnTo>
                    <a:pt x="136" y="108"/>
                  </a:lnTo>
                  <a:lnTo>
                    <a:pt x="136" y="106"/>
                  </a:lnTo>
                  <a:lnTo>
                    <a:pt x="136" y="106"/>
                  </a:lnTo>
                  <a:lnTo>
                    <a:pt x="140" y="98"/>
                  </a:lnTo>
                  <a:lnTo>
                    <a:pt x="140" y="98"/>
                  </a:lnTo>
                  <a:lnTo>
                    <a:pt x="144" y="90"/>
                  </a:lnTo>
                  <a:lnTo>
                    <a:pt x="144" y="90"/>
                  </a:lnTo>
                  <a:lnTo>
                    <a:pt x="142" y="86"/>
                  </a:lnTo>
                  <a:lnTo>
                    <a:pt x="140" y="82"/>
                  </a:lnTo>
                  <a:lnTo>
                    <a:pt x="140" y="80"/>
                  </a:lnTo>
                  <a:lnTo>
                    <a:pt x="140" y="80"/>
                  </a:lnTo>
                  <a:lnTo>
                    <a:pt x="140" y="76"/>
                  </a:lnTo>
                  <a:lnTo>
                    <a:pt x="142" y="70"/>
                  </a:lnTo>
                  <a:lnTo>
                    <a:pt x="142" y="70"/>
                  </a:lnTo>
                  <a:lnTo>
                    <a:pt x="142" y="68"/>
                  </a:lnTo>
                  <a:lnTo>
                    <a:pt x="142" y="68"/>
                  </a:lnTo>
                  <a:lnTo>
                    <a:pt x="142" y="66"/>
                  </a:lnTo>
                  <a:lnTo>
                    <a:pt x="142" y="66"/>
                  </a:lnTo>
                  <a:lnTo>
                    <a:pt x="142" y="66"/>
                  </a:lnTo>
                  <a:lnTo>
                    <a:pt x="140" y="60"/>
                  </a:lnTo>
                  <a:lnTo>
                    <a:pt x="140" y="58"/>
                  </a:lnTo>
                  <a:lnTo>
                    <a:pt x="142" y="56"/>
                  </a:lnTo>
                  <a:lnTo>
                    <a:pt x="142" y="56"/>
                  </a:lnTo>
                  <a:lnTo>
                    <a:pt x="140" y="46"/>
                  </a:lnTo>
                  <a:lnTo>
                    <a:pt x="140" y="46"/>
                  </a:lnTo>
                  <a:lnTo>
                    <a:pt x="144" y="40"/>
                  </a:lnTo>
                  <a:lnTo>
                    <a:pt x="144" y="36"/>
                  </a:lnTo>
                  <a:lnTo>
                    <a:pt x="144" y="34"/>
                  </a:lnTo>
                  <a:lnTo>
                    <a:pt x="144" y="34"/>
                  </a:lnTo>
                  <a:lnTo>
                    <a:pt x="142" y="30"/>
                  </a:lnTo>
                  <a:lnTo>
                    <a:pt x="140" y="26"/>
                  </a:lnTo>
                  <a:lnTo>
                    <a:pt x="140" y="22"/>
                  </a:lnTo>
                  <a:lnTo>
                    <a:pt x="140" y="22"/>
                  </a:lnTo>
                  <a:lnTo>
                    <a:pt x="140" y="22"/>
                  </a:lnTo>
                  <a:lnTo>
                    <a:pt x="140" y="20"/>
                  </a:lnTo>
                  <a:lnTo>
                    <a:pt x="138" y="18"/>
                  </a:lnTo>
                  <a:lnTo>
                    <a:pt x="138" y="18"/>
                  </a:lnTo>
                  <a:lnTo>
                    <a:pt x="128" y="16"/>
                  </a:lnTo>
                  <a:lnTo>
                    <a:pt x="120" y="16"/>
                  </a:lnTo>
                  <a:lnTo>
                    <a:pt x="114" y="18"/>
                  </a:lnTo>
                  <a:lnTo>
                    <a:pt x="114" y="18"/>
                  </a:lnTo>
                  <a:lnTo>
                    <a:pt x="106" y="18"/>
                  </a:lnTo>
                  <a:lnTo>
                    <a:pt x="106" y="18"/>
                  </a:lnTo>
                  <a:lnTo>
                    <a:pt x="100" y="18"/>
                  </a:lnTo>
                  <a:lnTo>
                    <a:pt x="88" y="16"/>
                  </a:lnTo>
                  <a:lnTo>
                    <a:pt x="88" y="16"/>
                  </a:lnTo>
                  <a:lnTo>
                    <a:pt x="78" y="12"/>
                  </a:lnTo>
                  <a:lnTo>
                    <a:pt x="74" y="8"/>
                  </a:lnTo>
                  <a:lnTo>
                    <a:pt x="74" y="8"/>
                  </a:lnTo>
                  <a:lnTo>
                    <a:pt x="74" y="10"/>
                  </a:lnTo>
                  <a:lnTo>
                    <a:pt x="74"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2" name="Freeform 108"/>
            <p:cNvSpPr>
              <a:spLocks noChangeAspect="1" noEditPoints="1"/>
            </p:cNvSpPr>
            <p:nvPr/>
          </p:nvSpPr>
          <p:spPr bwMode="gray">
            <a:xfrm>
              <a:off x="6941287" y="3914380"/>
              <a:ext cx="214214" cy="365183"/>
            </a:xfrm>
            <a:custGeom>
              <a:avLst/>
              <a:gdLst/>
              <a:ahLst/>
              <a:cxnLst>
                <a:cxn ang="0">
                  <a:pos x="112" y="168"/>
                </a:cxn>
                <a:cxn ang="0">
                  <a:pos x="96" y="172"/>
                </a:cxn>
                <a:cxn ang="0">
                  <a:pos x="86" y="174"/>
                </a:cxn>
                <a:cxn ang="0">
                  <a:pos x="76" y="174"/>
                </a:cxn>
                <a:cxn ang="0">
                  <a:pos x="66" y="190"/>
                </a:cxn>
                <a:cxn ang="0">
                  <a:pos x="70" y="192"/>
                </a:cxn>
                <a:cxn ang="0">
                  <a:pos x="86" y="192"/>
                </a:cxn>
                <a:cxn ang="0">
                  <a:pos x="92" y="196"/>
                </a:cxn>
                <a:cxn ang="0">
                  <a:pos x="100" y="216"/>
                </a:cxn>
                <a:cxn ang="0">
                  <a:pos x="114" y="216"/>
                </a:cxn>
                <a:cxn ang="0">
                  <a:pos x="118" y="208"/>
                </a:cxn>
                <a:cxn ang="0">
                  <a:pos x="126" y="186"/>
                </a:cxn>
                <a:cxn ang="0">
                  <a:pos x="96" y="144"/>
                </a:cxn>
                <a:cxn ang="0">
                  <a:pos x="104" y="148"/>
                </a:cxn>
                <a:cxn ang="0">
                  <a:pos x="78" y="142"/>
                </a:cxn>
                <a:cxn ang="0">
                  <a:pos x="78" y="156"/>
                </a:cxn>
                <a:cxn ang="0">
                  <a:pos x="86" y="134"/>
                </a:cxn>
                <a:cxn ang="0">
                  <a:pos x="92" y="134"/>
                </a:cxn>
                <a:cxn ang="0">
                  <a:pos x="88" y="150"/>
                </a:cxn>
                <a:cxn ang="0">
                  <a:pos x="94" y="130"/>
                </a:cxn>
                <a:cxn ang="0">
                  <a:pos x="24" y="140"/>
                </a:cxn>
                <a:cxn ang="0">
                  <a:pos x="18" y="154"/>
                </a:cxn>
                <a:cxn ang="0">
                  <a:pos x="8" y="164"/>
                </a:cxn>
                <a:cxn ang="0">
                  <a:pos x="18" y="158"/>
                </a:cxn>
                <a:cxn ang="0">
                  <a:pos x="30" y="146"/>
                </a:cxn>
                <a:cxn ang="0">
                  <a:pos x="34" y="126"/>
                </a:cxn>
                <a:cxn ang="0">
                  <a:pos x="106" y="130"/>
                </a:cxn>
                <a:cxn ang="0">
                  <a:pos x="106" y="138"/>
                </a:cxn>
                <a:cxn ang="0">
                  <a:pos x="114" y="146"/>
                </a:cxn>
                <a:cxn ang="0">
                  <a:pos x="110" y="130"/>
                </a:cxn>
                <a:cxn ang="0">
                  <a:pos x="66" y="120"/>
                </a:cxn>
                <a:cxn ang="0">
                  <a:pos x="76" y="130"/>
                </a:cxn>
                <a:cxn ang="0">
                  <a:pos x="82" y="110"/>
                </a:cxn>
                <a:cxn ang="0">
                  <a:pos x="90" y="118"/>
                </a:cxn>
                <a:cxn ang="0">
                  <a:pos x="98" y="106"/>
                </a:cxn>
                <a:cxn ang="0">
                  <a:pos x="106" y="122"/>
                </a:cxn>
                <a:cxn ang="0">
                  <a:pos x="112" y="120"/>
                </a:cxn>
                <a:cxn ang="0">
                  <a:pos x="108" y="102"/>
                </a:cxn>
                <a:cxn ang="0">
                  <a:pos x="42" y="90"/>
                </a:cxn>
                <a:cxn ang="0">
                  <a:pos x="56" y="102"/>
                </a:cxn>
                <a:cxn ang="0">
                  <a:pos x="50" y="88"/>
                </a:cxn>
                <a:cxn ang="0">
                  <a:pos x="48" y="12"/>
                </a:cxn>
                <a:cxn ang="0">
                  <a:pos x="44" y="34"/>
                </a:cxn>
                <a:cxn ang="0">
                  <a:pos x="38" y="42"/>
                </a:cxn>
                <a:cxn ang="0">
                  <a:pos x="36" y="50"/>
                </a:cxn>
                <a:cxn ang="0">
                  <a:pos x="48" y="64"/>
                </a:cxn>
                <a:cxn ang="0">
                  <a:pos x="58" y="86"/>
                </a:cxn>
                <a:cxn ang="0">
                  <a:pos x="72" y="84"/>
                </a:cxn>
                <a:cxn ang="0">
                  <a:pos x="78" y="82"/>
                </a:cxn>
                <a:cxn ang="0">
                  <a:pos x="88" y="96"/>
                </a:cxn>
                <a:cxn ang="0">
                  <a:pos x="88" y="86"/>
                </a:cxn>
                <a:cxn ang="0">
                  <a:pos x="80" y="78"/>
                </a:cxn>
                <a:cxn ang="0">
                  <a:pos x="76" y="74"/>
                </a:cxn>
                <a:cxn ang="0">
                  <a:pos x="58" y="66"/>
                </a:cxn>
                <a:cxn ang="0">
                  <a:pos x="64" y="46"/>
                </a:cxn>
                <a:cxn ang="0">
                  <a:pos x="74" y="30"/>
                </a:cxn>
                <a:cxn ang="0">
                  <a:pos x="70" y="0"/>
                </a:cxn>
                <a:cxn ang="0">
                  <a:pos x="54" y="0"/>
                </a:cxn>
              </a:cxnLst>
              <a:rect l="0" t="0" r="r" b="b"/>
              <a:pathLst>
                <a:path w="126" h="222">
                  <a:moveTo>
                    <a:pt x="114" y="158"/>
                  </a:moveTo>
                  <a:lnTo>
                    <a:pt x="114" y="158"/>
                  </a:lnTo>
                  <a:lnTo>
                    <a:pt x="112" y="158"/>
                  </a:lnTo>
                  <a:lnTo>
                    <a:pt x="112" y="158"/>
                  </a:lnTo>
                  <a:lnTo>
                    <a:pt x="112" y="158"/>
                  </a:lnTo>
                  <a:lnTo>
                    <a:pt x="112" y="164"/>
                  </a:lnTo>
                  <a:lnTo>
                    <a:pt x="112" y="168"/>
                  </a:lnTo>
                  <a:lnTo>
                    <a:pt x="112" y="168"/>
                  </a:lnTo>
                  <a:lnTo>
                    <a:pt x="108" y="168"/>
                  </a:lnTo>
                  <a:lnTo>
                    <a:pt x="106" y="166"/>
                  </a:lnTo>
                  <a:lnTo>
                    <a:pt x="106" y="166"/>
                  </a:lnTo>
                  <a:lnTo>
                    <a:pt x="104" y="168"/>
                  </a:lnTo>
                  <a:lnTo>
                    <a:pt x="104" y="168"/>
                  </a:lnTo>
                  <a:lnTo>
                    <a:pt x="102" y="174"/>
                  </a:lnTo>
                  <a:lnTo>
                    <a:pt x="102" y="174"/>
                  </a:lnTo>
                  <a:lnTo>
                    <a:pt x="96" y="172"/>
                  </a:lnTo>
                  <a:lnTo>
                    <a:pt x="96" y="172"/>
                  </a:lnTo>
                  <a:lnTo>
                    <a:pt x="94" y="174"/>
                  </a:lnTo>
                  <a:lnTo>
                    <a:pt x="94" y="176"/>
                  </a:lnTo>
                  <a:lnTo>
                    <a:pt x="94" y="176"/>
                  </a:lnTo>
                  <a:lnTo>
                    <a:pt x="86" y="178"/>
                  </a:lnTo>
                  <a:lnTo>
                    <a:pt x="86" y="178"/>
                  </a:lnTo>
                  <a:lnTo>
                    <a:pt x="86" y="176"/>
                  </a:lnTo>
                  <a:lnTo>
                    <a:pt x="86" y="174"/>
                  </a:lnTo>
                  <a:lnTo>
                    <a:pt x="86" y="174"/>
                  </a:lnTo>
                  <a:lnTo>
                    <a:pt x="86" y="172"/>
                  </a:lnTo>
                  <a:lnTo>
                    <a:pt x="86" y="172"/>
                  </a:lnTo>
                  <a:lnTo>
                    <a:pt x="84" y="170"/>
                  </a:lnTo>
                  <a:lnTo>
                    <a:pt x="84" y="172"/>
                  </a:lnTo>
                  <a:lnTo>
                    <a:pt x="80" y="172"/>
                  </a:lnTo>
                  <a:lnTo>
                    <a:pt x="80" y="172"/>
                  </a:lnTo>
                  <a:lnTo>
                    <a:pt x="76" y="174"/>
                  </a:lnTo>
                  <a:lnTo>
                    <a:pt x="76" y="174"/>
                  </a:lnTo>
                  <a:lnTo>
                    <a:pt x="76" y="178"/>
                  </a:lnTo>
                  <a:lnTo>
                    <a:pt x="76" y="178"/>
                  </a:lnTo>
                  <a:lnTo>
                    <a:pt x="66" y="180"/>
                  </a:lnTo>
                  <a:lnTo>
                    <a:pt x="66" y="180"/>
                  </a:lnTo>
                  <a:lnTo>
                    <a:pt x="66" y="186"/>
                  </a:lnTo>
                  <a:lnTo>
                    <a:pt x="66" y="190"/>
                  </a:lnTo>
                  <a:lnTo>
                    <a:pt x="66" y="190"/>
                  </a:lnTo>
                  <a:lnTo>
                    <a:pt x="62" y="194"/>
                  </a:lnTo>
                  <a:lnTo>
                    <a:pt x="62" y="194"/>
                  </a:lnTo>
                  <a:lnTo>
                    <a:pt x="64" y="194"/>
                  </a:lnTo>
                  <a:lnTo>
                    <a:pt x="64" y="196"/>
                  </a:lnTo>
                  <a:lnTo>
                    <a:pt x="64" y="196"/>
                  </a:lnTo>
                  <a:lnTo>
                    <a:pt x="68" y="196"/>
                  </a:lnTo>
                  <a:lnTo>
                    <a:pt x="68" y="196"/>
                  </a:lnTo>
                  <a:lnTo>
                    <a:pt x="70" y="192"/>
                  </a:lnTo>
                  <a:lnTo>
                    <a:pt x="70" y="192"/>
                  </a:lnTo>
                  <a:lnTo>
                    <a:pt x="74" y="188"/>
                  </a:lnTo>
                  <a:lnTo>
                    <a:pt x="74" y="188"/>
                  </a:lnTo>
                  <a:lnTo>
                    <a:pt x="74" y="188"/>
                  </a:lnTo>
                  <a:lnTo>
                    <a:pt x="76" y="192"/>
                  </a:lnTo>
                  <a:lnTo>
                    <a:pt x="76" y="192"/>
                  </a:lnTo>
                  <a:lnTo>
                    <a:pt x="86" y="192"/>
                  </a:lnTo>
                  <a:lnTo>
                    <a:pt x="86" y="192"/>
                  </a:lnTo>
                  <a:lnTo>
                    <a:pt x="86" y="190"/>
                  </a:lnTo>
                  <a:lnTo>
                    <a:pt x="88" y="190"/>
                  </a:lnTo>
                  <a:lnTo>
                    <a:pt x="88" y="190"/>
                  </a:lnTo>
                  <a:lnTo>
                    <a:pt x="92" y="192"/>
                  </a:lnTo>
                  <a:lnTo>
                    <a:pt x="92" y="192"/>
                  </a:lnTo>
                  <a:lnTo>
                    <a:pt x="94" y="194"/>
                  </a:lnTo>
                  <a:lnTo>
                    <a:pt x="94" y="196"/>
                  </a:lnTo>
                  <a:lnTo>
                    <a:pt x="92" y="196"/>
                  </a:lnTo>
                  <a:lnTo>
                    <a:pt x="92" y="196"/>
                  </a:lnTo>
                  <a:lnTo>
                    <a:pt x="90" y="202"/>
                  </a:lnTo>
                  <a:lnTo>
                    <a:pt x="90" y="206"/>
                  </a:lnTo>
                  <a:lnTo>
                    <a:pt x="90" y="210"/>
                  </a:lnTo>
                  <a:lnTo>
                    <a:pt x="90" y="210"/>
                  </a:lnTo>
                  <a:lnTo>
                    <a:pt x="96" y="212"/>
                  </a:lnTo>
                  <a:lnTo>
                    <a:pt x="96" y="212"/>
                  </a:lnTo>
                  <a:lnTo>
                    <a:pt x="100" y="216"/>
                  </a:lnTo>
                  <a:lnTo>
                    <a:pt x="108" y="216"/>
                  </a:lnTo>
                  <a:lnTo>
                    <a:pt x="108" y="216"/>
                  </a:lnTo>
                  <a:lnTo>
                    <a:pt x="108" y="218"/>
                  </a:lnTo>
                  <a:lnTo>
                    <a:pt x="108" y="222"/>
                  </a:lnTo>
                  <a:lnTo>
                    <a:pt x="108" y="222"/>
                  </a:lnTo>
                  <a:lnTo>
                    <a:pt x="112" y="220"/>
                  </a:lnTo>
                  <a:lnTo>
                    <a:pt x="112" y="220"/>
                  </a:lnTo>
                  <a:lnTo>
                    <a:pt x="114" y="216"/>
                  </a:lnTo>
                  <a:lnTo>
                    <a:pt x="114" y="212"/>
                  </a:lnTo>
                  <a:lnTo>
                    <a:pt x="112" y="204"/>
                  </a:lnTo>
                  <a:lnTo>
                    <a:pt x="112" y="204"/>
                  </a:lnTo>
                  <a:lnTo>
                    <a:pt x="114" y="204"/>
                  </a:lnTo>
                  <a:lnTo>
                    <a:pt x="116" y="204"/>
                  </a:lnTo>
                  <a:lnTo>
                    <a:pt x="116" y="208"/>
                  </a:lnTo>
                  <a:lnTo>
                    <a:pt x="118" y="208"/>
                  </a:lnTo>
                  <a:lnTo>
                    <a:pt x="118" y="208"/>
                  </a:lnTo>
                  <a:lnTo>
                    <a:pt x="116" y="196"/>
                  </a:lnTo>
                  <a:lnTo>
                    <a:pt x="116" y="196"/>
                  </a:lnTo>
                  <a:lnTo>
                    <a:pt x="120" y="192"/>
                  </a:lnTo>
                  <a:lnTo>
                    <a:pt x="120" y="192"/>
                  </a:lnTo>
                  <a:lnTo>
                    <a:pt x="122" y="188"/>
                  </a:lnTo>
                  <a:lnTo>
                    <a:pt x="124" y="186"/>
                  </a:lnTo>
                  <a:lnTo>
                    <a:pt x="126" y="186"/>
                  </a:lnTo>
                  <a:lnTo>
                    <a:pt x="126" y="186"/>
                  </a:lnTo>
                  <a:lnTo>
                    <a:pt x="126" y="180"/>
                  </a:lnTo>
                  <a:lnTo>
                    <a:pt x="124" y="174"/>
                  </a:lnTo>
                  <a:lnTo>
                    <a:pt x="124" y="174"/>
                  </a:lnTo>
                  <a:lnTo>
                    <a:pt x="120" y="158"/>
                  </a:lnTo>
                  <a:lnTo>
                    <a:pt x="120" y="158"/>
                  </a:lnTo>
                  <a:lnTo>
                    <a:pt x="114" y="158"/>
                  </a:lnTo>
                  <a:lnTo>
                    <a:pt x="114" y="158"/>
                  </a:lnTo>
                  <a:close/>
                  <a:moveTo>
                    <a:pt x="96" y="144"/>
                  </a:moveTo>
                  <a:lnTo>
                    <a:pt x="96" y="144"/>
                  </a:lnTo>
                  <a:lnTo>
                    <a:pt x="92" y="148"/>
                  </a:lnTo>
                  <a:lnTo>
                    <a:pt x="92" y="148"/>
                  </a:lnTo>
                  <a:lnTo>
                    <a:pt x="92" y="150"/>
                  </a:lnTo>
                  <a:lnTo>
                    <a:pt x="92" y="150"/>
                  </a:lnTo>
                  <a:lnTo>
                    <a:pt x="98" y="152"/>
                  </a:lnTo>
                  <a:lnTo>
                    <a:pt x="102" y="152"/>
                  </a:lnTo>
                  <a:lnTo>
                    <a:pt x="104" y="148"/>
                  </a:lnTo>
                  <a:lnTo>
                    <a:pt x="104" y="148"/>
                  </a:lnTo>
                  <a:lnTo>
                    <a:pt x="100" y="144"/>
                  </a:lnTo>
                  <a:lnTo>
                    <a:pt x="100" y="144"/>
                  </a:lnTo>
                  <a:lnTo>
                    <a:pt x="96" y="144"/>
                  </a:lnTo>
                  <a:lnTo>
                    <a:pt x="96" y="144"/>
                  </a:lnTo>
                  <a:close/>
                  <a:moveTo>
                    <a:pt x="80" y="132"/>
                  </a:moveTo>
                  <a:lnTo>
                    <a:pt x="80" y="132"/>
                  </a:lnTo>
                  <a:lnTo>
                    <a:pt x="78" y="142"/>
                  </a:lnTo>
                  <a:lnTo>
                    <a:pt x="78" y="142"/>
                  </a:lnTo>
                  <a:lnTo>
                    <a:pt x="70" y="144"/>
                  </a:lnTo>
                  <a:lnTo>
                    <a:pt x="68" y="148"/>
                  </a:lnTo>
                  <a:lnTo>
                    <a:pt x="70" y="152"/>
                  </a:lnTo>
                  <a:lnTo>
                    <a:pt x="70" y="152"/>
                  </a:lnTo>
                  <a:lnTo>
                    <a:pt x="74" y="154"/>
                  </a:lnTo>
                  <a:lnTo>
                    <a:pt x="78" y="156"/>
                  </a:lnTo>
                  <a:lnTo>
                    <a:pt x="78" y="156"/>
                  </a:lnTo>
                  <a:lnTo>
                    <a:pt x="82" y="160"/>
                  </a:lnTo>
                  <a:lnTo>
                    <a:pt x="82" y="160"/>
                  </a:lnTo>
                  <a:lnTo>
                    <a:pt x="82" y="154"/>
                  </a:lnTo>
                  <a:lnTo>
                    <a:pt x="82" y="146"/>
                  </a:lnTo>
                  <a:lnTo>
                    <a:pt x="82" y="146"/>
                  </a:lnTo>
                  <a:lnTo>
                    <a:pt x="86" y="138"/>
                  </a:lnTo>
                  <a:lnTo>
                    <a:pt x="86" y="138"/>
                  </a:lnTo>
                  <a:lnTo>
                    <a:pt x="86" y="134"/>
                  </a:lnTo>
                  <a:lnTo>
                    <a:pt x="86" y="134"/>
                  </a:lnTo>
                  <a:lnTo>
                    <a:pt x="84" y="132"/>
                  </a:lnTo>
                  <a:lnTo>
                    <a:pt x="84" y="132"/>
                  </a:lnTo>
                  <a:lnTo>
                    <a:pt x="80" y="132"/>
                  </a:lnTo>
                  <a:lnTo>
                    <a:pt x="80" y="132"/>
                  </a:lnTo>
                  <a:close/>
                  <a:moveTo>
                    <a:pt x="92" y="128"/>
                  </a:moveTo>
                  <a:lnTo>
                    <a:pt x="92" y="128"/>
                  </a:lnTo>
                  <a:lnTo>
                    <a:pt x="92" y="134"/>
                  </a:lnTo>
                  <a:lnTo>
                    <a:pt x="92" y="134"/>
                  </a:lnTo>
                  <a:lnTo>
                    <a:pt x="86" y="142"/>
                  </a:lnTo>
                  <a:lnTo>
                    <a:pt x="84" y="148"/>
                  </a:lnTo>
                  <a:lnTo>
                    <a:pt x="84" y="150"/>
                  </a:lnTo>
                  <a:lnTo>
                    <a:pt x="86" y="152"/>
                  </a:lnTo>
                  <a:lnTo>
                    <a:pt x="86" y="152"/>
                  </a:lnTo>
                  <a:lnTo>
                    <a:pt x="88" y="150"/>
                  </a:lnTo>
                  <a:lnTo>
                    <a:pt x="88" y="150"/>
                  </a:lnTo>
                  <a:lnTo>
                    <a:pt x="88" y="146"/>
                  </a:lnTo>
                  <a:lnTo>
                    <a:pt x="88" y="144"/>
                  </a:lnTo>
                  <a:lnTo>
                    <a:pt x="88" y="144"/>
                  </a:lnTo>
                  <a:lnTo>
                    <a:pt x="92" y="142"/>
                  </a:lnTo>
                  <a:lnTo>
                    <a:pt x="92" y="142"/>
                  </a:lnTo>
                  <a:lnTo>
                    <a:pt x="94" y="140"/>
                  </a:lnTo>
                  <a:lnTo>
                    <a:pt x="94" y="138"/>
                  </a:lnTo>
                  <a:lnTo>
                    <a:pt x="94" y="130"/>
                  </a:lnTo>
                  <a:lnTo>
                    <a:pt x="92" y="128"/>
                  </a:lnTo>
                  <a:close/>
                  <a:moveTo>
                    <a:pt x="30" y="126"/>
                  </a:moveTo>
                  <a:lnTo>
                    <a:pt x="30" y="126"/>
                  </a:lnTo>
                  <a:lnTo>
                    <a:pt x="30" y="132"/>
                  </a:lnTo>
                  <a:lnTo>
                    <a:pt x="30" y="132"/>
                  </a:lnTo>
                  <a:lnTo>
                    <a:pt x="24" y="138"/>
                  </a:lnTo>
                  <a:lnTo>
                    <a:pt x="24" y="138"/>
                  </a:lnTo>
                  <a:lnTo>
                    <a:pt x="24" y="140"/>
                  </a:lnTo>
                  <a:lnTo>
                    <a:pt x="24" y="142"/>
                  </a:lnTo>
                  <a:lnTo>
                    <a:pt x="24" y="142"/>
                  </a:lnTo>
                  <a:lnTo>
                    <a:pt x="22" y="144"/>
                  </a:lnTo>
                  <a:lnTo>
                    <a:pt x="20" y="146"/>
                  </a:lnTo>
                  <a:lnTo>
                    <a:pt x="20" y="146"/>
                  </a:lnTo>
                  <a:lnTo>
                    <a:pt x="20" y="150"/>
                  </a:lnTo>
                  <a:lnTo>
                    <a:pt x="18" y="154"/>
                  </a:lnTo>
                  <a:lnTo>
                    <a:pt x="18" y="154"/>
                  </a:lnTo>
                  <a:lnTo>
                    <a:pt x="14" y="156"/>
                  </a:lnTo>
                  <a:lnTo>
                    <a:pt x="14" y="156"/>
                  </a:lnTo>
                  <a:lnTo>
                    <a:pt x="14" y="160"/>
                  </a:lnTo>
                  <a:lnTo>
                    <a:pt x="14" y="160"/>
                  </a:lnTo>
                  <a:lnTo>
                    <a:pt x="8" y="160"/>
                  </a:lnTo>
                  <a:lnTo>
                    <a:pt x="8" y="160"/>
                  </a:lnTo>
                  <a:lnTo>
                    <a:pt x="8" y="164"/>
                  </a:lnTo>
                  <a:lnTo>
                    <a:pt x="8" y="164"/>
                  </a:lnTo>
                  <a:lnTo>
                    <a:pt x="4" y="164"/>
                  </a:lnTo>
                  <a:lnTo>
                    <a:pt x="4" y="164"/>
                  </a:lnTo>
                  <a:lnTo>
                    <a:pt x="0" y="174"/>
                  </a:lnTo>
                  <a:lnTo>
                    <a:pt x="0" y="174"/>
                  </a:lnTo>
                  <a:lnTo>
                    <a:pt x="10" y="168"/>
                  </a:lnTo>
                  <a:lnTo>
                    <a:pt x="18" y="162"/>
                  </a:lnTo>
                  <a:lnTo>
                    <a:pt x="18" y="162"/>
                  </a:lnTo>
                  <a:lnTo>
                    <a:pt x="18" y="158"/>
                  </a:lnTo>
                  <a:lnTo>
                    <a:pt x="18" y="158"/>
                  </a:lnTo>
                  <a:lnTo>
                    <a:pt x="22" y="152"/>
                  </a:lnTo>
                  <a:lnTo>
                    <a:pt x="24" y="152"/>
                  </a:lnTo>
                  <a:lnTo>
                    <a:pt x="24" y="152"/>
                  </a:lnTo>
                  <a:lnTo>
                    <a:pt x="24" y="150"/>
                  </a:lnTo>
                  <a:lnTo>
                    <a:pt x="24" y="150"/>
                  </a:lnTo>
                  <a:lnTo>
                    <a:pt x="26" y="148"/>
                  </a:lnTo>
                  <a:lnTo>
                    <a:pt x="30" y="146"/>
                  </a:lnTo>
                  <a:lnTo>
                    <a:pt x="30" y="146"/>
                  </a:lnTo>
                  <a:lnTo>
                    <a:pt x="30" y="142"/>
                  </a:lnTo>
                  <a:lnTo>
                    <a:pt x="30" y="142"/>
                  </a:lnTo>
                  <a:lnTo>
                    <a:pt x="34" y="140"/>
                  </a:lnTo>
                  <a:lnTo>
                    <a:pt x="34" y="140"/>
                  </a:lnTo>
                  <a:lnTo>
                    <a:pt x="34" y="128"/>
                  </a:lnTo>
                  <a:lnTo>
                    <a:pt x="34" y="128"/>
                  </a:lnTo>
                  <a:lnTo>
                    <a:pt x="34" y="126"/>
                  </a:lnTo>
                  <a:lnTo>
                    <a:pt x="30" y="126"/>
                  </a:lnTo>
                  <a:close/>
                  <a:moveTo>
                    <a:pt x="100" y="124"/>
                  </a:moveTo>
                  <a:lnTo>
                    <a:pt x="100" y="124"/>
                  </a:lnTo>
                  <a:lnTo>
                    <a:pt x="100" y="128"/>
                  </a:lnTo>
                  <a:lnTo>
                    <a:pt x="100" y="128"/>
                  </a:lnTo>
                  <a:lnTo>
                    <a:pt x="106" y="128"/>
                  </a:lnTo>
                  <a:lnTo>
                    <a:pt x="106" y="130"/>
                  </a:lnTo>
                  <a:lnTo>
                    <a:pt x="106" y="130"/>
                  </a:lnTo>
                  <a:lnTo>
                    <a:pt x="106" y="130"/>
                  </a:lnTo>
                  <a:lnTo>
                    <a:pt x="106" y="130"/>
                  </a:lnTo>
                  <a:lnTo>
                    <a:pt x="106" y="132"/>
                  </a:lnTo>
                  <a:lnTo>
                    <a:pt x="106" y="132"/>
                  </a:lnTo>
                  <a:lnTo>
                    <a:pt x="104" y="132"/>
                  </a:lnTo>
                  <a:lnTo>
                    <a:pt x="104" y="134"/>
                  </a:lnTo>
                  <a:lnTo>
                    <a:pt x="106" y="136"/>
                  </a:lnTo>
                  <a:lnTo>
                    <a:pt x="106" y="138"/>
                  </a:lnTo>
                  <a:lnTo>
                    <a:pt x="106" y="138"/>
                  </a:lnTo>
                  <a:lnTo>
                    <a:pt x="108" y="140"/>
                  </a:lnTo>
                  <a:lnTo>
                    <a:pt x="108" y="140"/>
                  </a:lnTo>
                  <a:lnTo>
                    <a:pt x="108" y="142"/>
                  </a:lnTo>
                  <a:lnTo>
                    <a:pt x="110" y="144"/>
                  </a:lnTo>
                  <a:lnTo>
                    <a:pt x="110" y="144"/>
                  </a:lnTo>
                  <a:lnTo>
                    <a:pt x="114" y="146"/>
                  </a:lnTo>
                  <a:lnTo>
                    <a:pt x="114" y="146"/>
                  </a:lnTo>
                  <a:lnTo>
                    <a:pt x="112" y="142"/>
                  </a:lnTo>
                  <a:lnTo>
                    <a:pt x="112" y="142"/>
                  </a:lnTo>
                  <a:lnTo>
                    <a:pt x="112" y="140"/>
                  </a:lnTo>
                  <a:lnTo>
                    <a:pt x="112" y="136"/>
                  </a:lnTo>
                  <a:lnTo>
                    <a:pt x="112" y="136"/>
                  </a:lnTo>
                  <a:lnTo>
                    <a:pt x="110" y="132"/>
                  </a:lnTo>
                  <a:lnTo>
                    <a:pt x="110" y="132"/>
                  </a:lnTo>
                  <a:lnTo>
                    <a:pt x="110" y="130"/>
                  </a:lnTo>
                  <a:lnTo>
                    <a:pt x="112" y="128"/>
                  </a:lnTo>
                  <a:lnTo>
                    <a:pt x="112" y="128"/>
                  </a:lnTo>
                  <a:lnTo>
                    <a:pt x="110" y="126"/>
                  </a:lnTo>
                  <a:lnTo>
                    <a:pt x="110" y="126"/>
                  </a:lnTo>
                  <a:lnTo>
                    <a:pt x="106" y="124"/>
                  </a:lnTo>
                  <a:lnTo>
                    <a:pt x="100" y="124"/>
                  </a:lnTo>
                  <a:lnTo>
                    <a:pt x="100" y="124"/>
                  </a:lnTo>
                  <a:close/>
                  <a:moveTo>
                    <a:pt x="66" y="120"/>
                  </a:moveTo>
                  <a:lnTo>
                    <a:pt x="66" y="120"/>
                  </a:lnTo>
                  <a:lnTo>
                    <a:pt x="62" y="140"/>
                  </a:lnTo>
                  <a:lnTo>
                    <a:pt x="62" y="140"/>
                  </a:lnTo>
                  <a:lnTo>
                    <a:pt x="72" y="134"/>
                  </a:lnTo>
                  <a:lnTo>
                    <a:pt x="72" y="134"/>
                  </a:lnTo>
                  <a:lnTo>
                    <a:pt x="76" y="134"/>
                  </a:lnTo>
                  <a:lnTo>
                    <a:pt x="76" y="134"/>
                  </a:lnTo>
                  <a:lnTo>
                    <a:pt x="76" y="130"/>
                  </a:lnTo>
                  <a:lnTo>
                    <a:pt x="76" y="130"/>
                  </a:lnTo>
                  <a:lnTo>
                    <a:pt x="78" y="130"/>
                  </a:lnTo>
                  <a:lnTo>
                    <a:pt x="78" y="130"/>
                  </a:lnTo>
                  <a:lnTo>
                    <a:pt x="78" y="124"/>
                  </a:lnTo>
                  <a:lnTo>
                    <a:pt x="78" y="124"/>
                  </a:lnTo>
                  <a:lnTo>
                    <a:pt x="66" y="120"/>
                  </a:lnTo>
                  <a:lnTo>
                    <a:pt x="66" y="120"/>
                  </a:lnTo>
                  <a:close/>
                  <a:moveTo>
                    <a:pt x="82" y="110"/>
                  </a:moveTo>
                  <a:lnTo>
                    <a:pt x="82" y="112"/>
                  </a:lnTo>
                  <a:lnTo>
                    <a:pt x="82" y="112"/>
                  </a:lnTo>
                  <a:lnTo>
                    <a:pt x="82" y="112"/>
                  </a:lnTo>
                  <a:lnTo>
                    <a:pt x="82" y="114"/>
                  </a:lnTo>
                  <a:lnTo>
                    <a:pt x="82" y="116"/>
                  </a:lnTo>
                  <a:lnTo>
                    <a:pt x="82" y="116"/>
                  </a:lnTo>
                  <a:lnTo>
                    <a:pt x="90" y="118"/>
                  </a:lnTo>
                  <a:lnTo>
                    <a:pt x="90" y="118"/>
                  </a:lnTo>
                  <a:lnTo>
                    <a:pt x="94" y="118"/>
                  </a:lnTo>
                  <a:lnTo>
                    <a:pt x="94" y="118"/>
                  </a:lnTo>
                  <a:lnTo>
                    <a:pt x="92" y="114"/>
                  </a:lnTo>
                  <a:lnTo>
                    <a:pt x="82" y="110"/>
                  </a:lnTo>
                  <a:lnTo>
                    <a:pt x="82" y="110"/>
                  </a:lnTo>
                  <a:close/>
                  <a:moveTo>
                    <a:pt x="102" y="102"/>
                  </a:moveTo>
                  <a:lnTo>
                    <a:pt x="102" y="102"/>
                  </a:lnTo>
                  <a:lnTo>
                    <a:pt x="98" y="106"/>
                  </a:lnTo>
                  <a:lnTo>
                    <a:pt x="98" y="106"/>
                  </a:lnTo>
                  <a:lnTo>
                    <a:pt x="98" y="110"/>
                  </a:lnTo>
                  <a:lnTo>
                    <a:pt x="98" y="110"/>
                  </a:lnTo>
                  <a:lnTo>
                    <a:pt x="102" y="114"/>
                  </a:lnTo>
                  <a:lnTo>
                    <a:pt x="106" y="118"/>
                  </a:lnTo>
                  <a:lnTo>
                    <a:pt x="106" y="118"/>
                  </a:lnTo>
                  <a:lnTo>
                    <a:pt x="106" y="120"/>
                  </a:lnTo>
                  <a:lnTo>
                    <a:pt x="106" y="122"/>
                  </a:lnTo>
                  <a:lnTo>
                    <a:pt x="106" y="122"/>
                  </a:lnTo>
                  <a:lnTo>
                    <a:pt x="110" y="124"/>
                  </a:lnTo>
                  <a:lnTo>
                    <a:pt x="112" y="124"/>
                  </a:lnTo>
                  <a:lnTo>
                    <a:pt x="114" y="124"/>
                  </a:lnTo>
                  <a:lnTo>
                    <a:pt x="114" y="124"/>
                  </a:lnTo>
                  <a:lnTo>
                    <a:pt x="116" y="128"/>
                  </a:lnTo>
                  <a:lnTo>
                    <a:pt x="116" y="128"/>
                  </a:lnTo>
                  <a:lnTo>
                    <a:pt x="112" y="120"/>
                  </a:lnTo>
                  <a:lnTo>
                    <a:pt x="112" y="120"/>
                  </a:lnTo>
                  <a:lnTo>
                    <a:pt x="110" y="118"/>
                  </a:lnTo>
                  <a:lnTo>
                    <a:pt x="110" y="118"/>
                  </a:lnTo>
                  <a:lnTo>
                    <a:pt x="110" y="112"/>
                  </a:lnTo>
                  <a:lnTo>
                    <a:pt x="112" y="106"/>
                  </a:lnTo>
                  <a:lnTo>
                    <a:pt x="110" y="106"/>
                  </a:lnTo>
                  <a:lnTo>
                    <a:pt x="110" y="106"/>
                  </a:lnTo>
                  <a:lnTo>
                    <a:pt x="108" y="102"/>
                  </a:lnTo>
                  <a:lnTo>
                    <a:pt x="108" y="102"/>
                  </a:lnTo>
                  <a:lnTo>
                    <a:pt x="102" y="102"/>
                  </a:lnTo>
                  <a:lnTo>
                    <a:pt x="102" y="102"/>
                  </a:lnTo>
                  <a:close/>
                  <a:moveTo>
                    <a:pt x="46" y="88"/>
                  </a:moveTo>
                  <a:lnTo>
                    <a:pt x="46" y="88"/>
                  </a:lnTo>
                  <a:lnTo>
                    <a:pt x="44" y="88"/>
                  </a:lnTo>
                  <a:lnTo>
                    <a:pt x="44" y="88"/>
                  </a:lnTo>
                  <a:lnTo>
                    <a:pt x="42" y="90"/>
                  </a:lnTo>
                  <a:lnTo>
                    <a:pt x="44" y="90"/>
                  </a:lnTo>
                  <a:lnTo>
                    <a:pt x="48" y="92"/>
                  </a:lnTo>
                  <a:lnTo>
                    <a:pt x="48" y="92"/>
                  </a:lnTo>
                  <a:lnTo>
                    <a:pt x="50" y="96"/>
                  </a:lnTo>
                  <a:lnTo>
                    <a:pt x="52" y="100"/>
                  </a:lnTo>
                  <a:lnTo>
                    <a:pt x="52" y="100"/>
                  </a:lnTo>
                  <a:lnTo>
                    <a:pt x="56" y="102"/>
                  </a:lnTo>
                  <a:lnTo>
                    <a:pt x="56" y="102"/>
                  </a:lnTo>
                  <a:lnTo>
                    <a:pt x="56" y="106"/>
                  </a:lnTo>
                  <a:lnTo>
                    <a:pt x="58" y="110"/>
                  </a:lnTo>
                  <a:lnTo>
                    <a:pt x="58" y="110"/>
                  </a:lnTo>
                  <a:lnTo>
                    <a:pt x="60" y="106"/>
                  </a:lnTo>
                  <a:lnTo>
                    <a:pt x="60" y="104"/>
                  </a:lnTo>
                  <a:lnTo>
                    <a:pt x="58" y="96"/>
                  </a:lnTo>
                  <a:lnTo>
                    <a:pt x="54" y="90"/>
                  </a:lnTo>
                  <a:lnTo>
                    <a:pt x="50" y="88"/>
                  </a:lnTo>
                  <a:lnTo>
                    <a:pt x="46" y="88"/>
                  </a:lnTo>
                  <a:lnTo>
                    <a:pt x="46" y="88"/>
                  </a:lnTo>
                  <a:close/>
                  <a:moveTo>
                    <a:pt x="50" y="0"/>
                  </a:moveTo>
                  <a:lnTo>
                    <a:pt x="50" y="0"/>
                  </a:lnTo>
                  <a:lnTo>
                    <a:pt x="48" y="8"/>
                  </a:lnTo>
                  <a:lnTo>
                    <a:pt x="48" y="8"/>
                  </a:lnTo>
                  <a:lnTo>
                    <a:pt x="48" y="12"/>
                  </a:lnTo>
                  <a:lnTo>
                    <a:pt x="48" y="12"/>
                  </a:lnTo>
                  <a:lnTo>
                    <a:pt x="44" y="20"/>
                  </a:lnTo>
                  <a:lnTo>
                    <a:pt x="44" y="20"/>
                  </a:lnTo>
                  <a:lnTo>
                    <a:pt x="44" y="24"/>
                  </a:lnTo>
                  <a:lnTo>
                    <a:pt x="46" y="26"/>
                  </a:lnTo>
                  <a:lnTo>
                    <a:pt x="46" y="28"/>
                  </a:lnTo>
                  <a:lnTo>
                    <a:pt x="46" y="32"/>
                  </a:lnTo>
                  <a:lnTo>
                    <a:pt x="46" y="32"/>
                  </a:lnTo>
                  <a:lnTo>
                    <a:pt x="44" y="34"/>
                  </a:lnTo>
                  <a:lnTo>
                    <a:pt x="44" y="34"/>
                  </a:lnTo>
                  <a:lnTo>
                    <a:pt x="44" y="38"/>
                  </a:lnTo>
                  <a:lnTo>
                    <a:pt x="44" y="44"/>
                  </a:lnTo>
                  <a:lnTo>
                    <a:pt x="44" y="44"/>
                  </a:lnTo>
                  <a:lnTo>
                    <a:pt x="42" y="44"/>
                  </a:lnTo>
                  <a:lnTo>
                    <a:pt x="40" y="46"/>
                  </a:lnTo>
                  <a:lnTo>
                    <a:pt x="40" y="46"/>
                  </a:lnTo>
                  <a:lnTo>
                    <a:pt x="38" y="42"/>
                  </a:lnTo>
                  <a:lnTo>
                    <a:pt x="38" y="42"/>
                  </a:lnTo>
                  <a:lnTo>
                    <a:pt x="36" y="42"/>
                  </a:lnTo>
                  <a:lnTo>
                    <a:pt x="36" y="42"/>
                  </a:lnTo>
                  <a:lnTo>
                    <a:pt x="36" y="44"/>
                  </a:lnTo>
                  <a:lnTo>
                    <a:pt x="36" y="44"/>
                  </a:lnTo>
                  <a:lnTo>
                    <a:pt x="36" y="44"/>
                  </a:lnTo>
                  <a:lnTo>
                    <a:pt x="36" y="50"/>
                  </a:lnTo>
                  <a:lnTo>
                    <a:pt x="36" y="50"/>
                  </a:lnTo>
                  <a:lnTo>
                    <a:pt x="40" y="52"/>
                  </a:lnTo>
                  <a:lnTo>
                    <a:pt x="40" y="52"/>
                  </a:lnTo>
                  <a:lnTo>
                    <a:pt x="40" y="60"/>
                  </a:lnTo>
                  <a:lnTo>
                    <a:pt x="40" y="60"/>
                  </a:lnTo>
                  <a:lnTo>
                    <a:pt x="46" y="68"/>
                  </a:lnTo>
                  <a:lnTo>
                    <a:pt x="46" y="68"/>
                  </a:lnTo>
                  <a:lnTo>
                    <a:pt x="46" y="68"/>
                  </a:lnTo>
                  <a:lnTo>
                    <a:pt x="48" y="64"/>
                  </a:lnTo>
                  <a:lnTo>
                    <a:pt x="48" y="64"/>
                  </a:lnTo>
                  <a:lnTo>
                    <a:pt x="50" y="64"/>
                  </a:lnTo>
                  <a:lnTo>
                    <a:pt x="50" y="64"/>
                  </a:lnTo>
                  <a:lnTo>
                    <a:pt x="48" y="72"/>
                  </a:lnTo>
                  <a:lnTo>
                    <a:pt x="48" y="78"/>
                  </a:lnTo>
                  <a:lnTo>
                    <a:pt x="54" y="88"/>
                  </a:lnTo>
                  <a:lnTo>
                    <a:pt x="54" y="88"/>
                  </a:lnTo>
                  <a:lnTo>
                    <a:pt x="58" y="86"/>
                  </a:lnTo>
                  <a:lnTo>
                    <a:pt x="58" y="86"/>
                  </a:lnTo>
                  <a:lnTo>
                    <a:pt x="60" y="84"/>
                  </a:lnTo>
                  <a:lnTo>
                    <a:pt x="62" y="82"/>
                  </a:lnTo>
                  <a:lnTo>
                    <a:pt x="66" y="82"/>
                  </a:lnTo>
                  <a:lnTo>
                    <a:pt x="68" y="84"/>
                  </a:lnTo>
                  <a:lnTo>
                    <a:pt x="68" y="84"/>
                  </a:lnTo>
                  <a:lnTo>
                    <a:pt x="72" y="84"/>
                  </a:lnTo>
                  <a:lnTo>
                    <a:pt x="72" y="84"/>
                  </a:lnTo>
                  <a:lnTo>
                    <a:pt x="72" y="88"/>
                  </a:lnTo>
                  <a:lnTo>
                    <a:pt x="74" y="90"/>
                  </a:lnTo>
                  <a:lnTo>
                    <a:pt x="74" y="90"/>
                  </a:lnTo>
                  <a:lnTo>
                    <a:pt x="76" y="90"/>
                  </a:lnTo>
                  <a:lnTo>
                    <a:pt x="76" y="86"/>
                  </a:lnTo>
                  <a:lnTo>
                    <a:pt x="74" y="84"/>
                  </a:lnTo>
                  <a:lnTo>
                    <a:pt x="78" y="82"/>
                  </a:lnTo>
                  <a:lnTo>
                    <a:pt x="78" y="82"/>
                  </a:lnTo>
                  <a:lnTo>
                    <a:pt x="78" y="86"/>
                  </a:lnTo>
                  <a:lnTo>
                    <a:pt x="78" y="86"/>
                  </a:lnTo>
                  <a:lnTo>
                    <a:pt x="82" y="90"/>
                  </a:lnTo>
                  <a:lnTo>
                    <a:pt x="82" y="90"/>
                  </a:lnTo>
                  <a:lnTo>
                    <a:pt x="84" y="96"/>
                  </a:lnTo>
                  <a:lnTo>
                    <a:pt x="84" y="96"/>
                  </a:lnTo>
                  <a:lnTo>
                    <a:pt x="88" y="96"/>
                  </a:lnTo>
                  <a:lnTo>
                    <a:pt x="88" y="96"/>
                  </a:lnTo>
                  <a:lnTo>
                    <a:pt x="90" y="98"/>
                  </a:lnTo>
                  <a:lnTo>
                    <a:pt x="90" y="100"/>
                  </a:lnTo>
                  <a:lnTo>
                    <a:pt x="92" y="100"/>
                  </a:lnTo>
                  <a:lnTo>
                    <a:pt x="92" y="100"/>
                  </a:lnTo>
                  <a:lnTo>
                    <a:pt x="94" y="94"/>
                  </a:lnTo>
                  <a:lnTo>
                    <a:pt x="92" y="92"/>
                  </a:lnTo>
                  <a:lnTo>
                    <a:pt x="90" y="90"/>
                  </a:lnTo>
                  <a:lnTo>
                    <a:pt x="88" y="86"/>
                  </a:lnTo>
                  <a:lnTo>
                    <a:pt x="88" y="86"/>
                  </a:lnTo>
                  <a:lnTo>
                    <a:pt x="90" y="82"/>
                  </a:lnTo>
                  <a:lnTo>
                    <a:pt x="90" y="80"/>
                  </a:lnTo>
                  <a:lnTo>
                    <a:pt x="90" y="80"/>
                  </a:lnTo>
                  <a:lnTo>
                    <a:pt x="86" y="76"/>
                  </a:lnTo>
                  <a:lnTo>
                    <a:pt x="86" y="76"/>
                  </a:lnTo>
                  <a:lnTo>
                    <a:pt x="82" y="80"/>
                  </a:lnTo>
                  <a:lnTo>
                    <a:pt x="80" y="78"/>
                  </a:lnTo>
                  <a:lnTo>
                    <a:pt x="80" y="78"/>
                  </a:lnTo>
                  <a:lnTo>
                    <a:pt x="80" y="74"/>
                  </a:lnTo>
                  <a:lnTo>
                    <a:pt x="80" y="74"/>
                  </a:lnTo>
                  <a:lnTo>
                    <a:pt x="78" y="72"/>
                  </a:lnTo>
                  <a:lnTo>
                    <a:pt x="78" y="72"/>
                  </a:lnTo>
                  <a:lnTo>
                    <a:pt x="78" y="72"/>
                  </a:lnTo>
                  <a:lnTo>
                    <a:pt x="76" y="74"/>
                  </a:lnTo>
                  <a:lnTo>
                    <a:pt x="76" y="74"/>
                  </a:lnTo>
                  <a:lnTo>
                    <a:pt x="70" y="74"/>
                  </a:lnTo>
                  <a:lnTo>
                    <a:pt x="70" y="74"/>
                  </a:lnTo>
                  <a:lnTo>
                    <a:pt x="64" y="78"/>
                  </a:lnTo>
                  <a:lnTo>
                    <a:pt x="64" y="78"/>
                  </a:lnTo>
                  <a:lnTo>
                    <a:pt x="60" y="76"/>
                  </a:lnTo>
                  <a:lnTo>
                    <a:pt x="60" y="76"/>
                  </a:lnTo>
                  <a:lnTo>
                    <a:pt x="60" y="66"/>
                  </a:lnTo>
                  <a:lnTo>
                    <a:pt x="58" y="66"/>
                  </a:lnTo>
                  <a:lnTo>
                    <a:pt x="58" y="66"/>
                  </a:lnTo>
                  <a:lnTo>
                    <a:pt x="58" y="56"/>
                  </a:lnTo>
                  <a:lnTo>
                    <a:pt x="58" y="56"/>
                  </a:lnTo>
                  <a:lnTo>
                    <a:pt x="60" y="50"/>
                  </a:lnTo>
                  <a:lnTo>
                    <a:pt x="60" y="46"/>
                  </a:lnTo>
                  <a:lnTo>
                    <a:pt x="62" y="46"/>
                  </a:lnTo>
                  <a:lnTo>
                    <a:pt x="64" y="46"/>
                  </a:lnTo>
                  <a:lnTo>
                    <a:pt x="64" y="46"/>
                  </a:lnTo>
                  <a:lnTo>
                    <a:pt x="66" y="40"/>
                  </a:lnTo>
                  <a:lnTo>
                    <a:pt x="66" y="34"/>
                  </a:lnTo>
                  <a:lnTo>
                    <a:pt x="66" y="34"/>
                  </a:lnTo>
                  <a:lnTo>
                    <a:pt x="70" y="34"/>
                  </a:lnTo>
                  <a:lnTo>
                    <a:pt x="72" y="34"/>
                  </a:lnTo>
                  <a:lnTo>
                    <a:pt x="72" y="34"/>
                  </a:lnTo>
                  <a:lnTo>
                    <a:pt x="74" y="30"/>
                  </a:lnTo>
                  <a:lnTo>
                    <a:pt x="74" y="30"/>
                  </a:lnTo>
                  <a:lnTo>
                    <a:pt x="72" y="20"/>
                  </a:lnTo>
                  <a:lnTo>
                    <a:pt x="72" y="20"/>
                  </a:lnTo>
                  <a:lnTo>
                    <a:pt x="68" y="18"/>
                  </a:lnTo>
                  <a:lnTo>
                    <a:pt x="68" y="18"/>
                  </a:lnTo>
                  <a:lnTo>
                    <a:pt x="68" y="10"/>
                  </a:lnTo>
                  <a:lnTo>
                    <a:pt x="70" y="4"/>
                  </a:lnTo>
                  <a:lnTo>
                    <a:pt x="70" y="4"/>
                  </a:lnTo>
                  <a:lnTo>
                    <a:pt x="70" y="0"/>
                  </a:lnTo>
                  <a:lnTo>
                    <a:pt x="70" y="0"/>
                  </a:lnTo>
                  <a:lnTo>
                    <a:pt x="62" y="4"/>
                  </a:lnTo>
                  <a:lnTo>
                    <a:pt x="58" y="6"/>
                  </a:lnTo>
                  <a:lnTo>
                    <a:pt x="56" y="2"/>
                  </a:lnTo>
                  <a:lnTo>
                    <a:pt x="56" y="2"/>
                  </a:lnTo>
                  <a:lnTo>
                    <a:pt x="56" y="2"/>
                  </a:lnTo>
                  <a:lnTo>
                    <a:pt x="54" y="0"/>
                  </a:lnTo>
                  <a:lnTo>
                    <a:pt x="54" y="0"/>
                  </a:lnTo>
                  <a:lnTo>
                    <a:pt x="50" y="0"/>
                  </a:lnTo>
                  <a:lnTo>
                    <a:pt x="5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3" name="Freeform 109"/>
            <p:cNvSpPr>
              <a:spLocks noChangeAspect="1"/>
            </p:cNvSpPr>
            <p:nvPr/>
          </p:nvSpPr>
          <p:spPr bwMode="gray">
            <a:xfrm>
              <a:off x="2434282" y="4434190"/>
              <a:ext cx="278818" cy="490201"/>
            </a:xfrm>
            <a:custGeom>
              <a:avLst/>
              <a:gdLst/>
              <a:ahLst/>
              <a:cxnLst>
                <a:cxn ang="0">
                  <a:pos x="158" y="252"/>
                </a:cxn>
                <a:cxn ang="0">
                  <a:pos x="156" y="238"/>
                </a:cxn>
                <a:cxn ang="0">
                  <a:pos x="138" y="194"/>
                </a:cxn>
                <a:cxn ang="0">
                  <a:pos x="138" y="152"/>
                </a:cxn>
                <a:cxn ang="0">
                  <a:pos x="114" y="156"/>
                </a:cxn>
                <a:cxn ang="0">
                  <a:pos x="106" y="146"/>
                </a:cxn>
                <a:cxn ang="0">
                  <a:pos x="96" y="136"/>
                </a:cxn>
                <a:cxn ang="0">
                  <a:pos x="96" y="122"/>
                </a:cxn>
                <a:cxn ang="0">
                  <a:pos x="92" y="114"/>
                </a:cxn>
                <a:cxn ang="0">
                  <a:pos x="98" y="106"/>
                </a:cxn>
                <a:cxn ang="0">
                  <a:pos x="104" y="92"/>
                </a:cxn>
                <a:cxn ang="0">
                  <a:pos x="118" y="76"/>
                </a:cxn>
                <a:cxn ang="0">
                  <a:pos x="140" y="70"/>
                </a:cxn>
                <a:cxn ang="0">
                  <a:pos x="134" y="64"/>
                </a:cxn>
                <a:cxn ang="0">
                  <a:pos x="140" y="34"/>
                </a:cxn>
                <a:cxn ang="0">
                  <a:pos x="124" y="28"/>
                </a:cxn>
                <a:cxn ang="0">
                  <a:pos x="112" y="30"/>
                </a:cxn>
                <a:cxn ang="0">
                  <a:pos x="100" y="20"/>
                </a:cxn>
                <a:cxn ang="0">
                  <a:pos x="94" y="14"/>
                </a:cxn>
                <a:cxn ang="0">
                  <a:pos x="84" y="4"/>
                </a:cxn>
                <a:cxn ang="0">
                  <a:pos x="76" y="6"/>
                </a:cxn>
                <a:cxn ang="0">
                  <a:pos x="74" y="24"/>
                </a:cxn>
                <a:cxn ang="0">
                  <a:pos x="66" y="42"/>
                </a:cxn>
                <a:cxn ang="0">
                  <a:pos x="42" y="60"/>
                </a:cxn>
                <a:cxn ang="0">
                  <a:pos x="30" y="80"/>
                </a:cxn>
                <a:cxn ang="0">
                  <a:pos x="22" y="80"/>
                </a:cxn>
                <a:cxn ang="0">
                  <a:pos x="18" y="74"/>
                </a:cxn>
                <a:cxn ang="0">
                  <a:pos x="14" y="66"/>
                </a:cxn>
                <a:cxn ang="0">
                  <a:pos x="0" y="72"/>
                </a:cxn>
                <a:cxn ang="0">
                  <a:pos x="0" y="76"/>
                </a:cxn>
                <a:cxn ang="0">
                  <a:pos x="4" y="82"/>
                </a:cxn>
                <a:cxn ang="0">
                  <a:pos x="6" y="90"/>
                </a:cxn>
                <a:cxn ang="0">
                  <a:pos x="20" y="112"/>
                </a:cxn>
                <a:cxn ang="0">
                  <a:pos x="22" y="118"/>
                </a:cxn>
                <a:cxn ang="0">
                  <a:pos x="30" y="126"/>
                </a:cxn>
                <a:cxn ang="0">
                  <a:pos x="46" y="144"/>
                </a:cxn>
                <a:cxn ang="0">
                  <a:pos x="50" y="152"/>
                </a:cxn>
                <a:cxn ang="0">
                  <a:pos x="54" y="164"/>
                </a:cxn>
                <a:cxn ang="0">
                  <a:pos x="56" y="182"/>
                </a:cxn>
                <a:cxn ang="0">
                  <a:pos x="62" y="196"/>
                </a:cxn>
                <a:cxn ang="0">
                  <a:pos x="66" y="200"/>
                </a:cxn>
                <a:cxn ang="0">
                  <a:pos x="72" y="214"/>
                </a:cxn>
                <a:cxn ang="0">
                  <a:pos x="82" y="246"/>
                </a:cxn>
                <a:cxn ang="0">
                  <a:pos x="88" y="254"/>
                </a:cxn>
                <a:cxn ang="0">
                  <a:pos x="102" y="266"/>
                </a:cxn>
                <a:cxn ang="0">
                  <a:pos x="110" y="270"/>
                </a:cxn>
                <a:cxn ang="0">
                  <a:pos x="128" y="280"/>
                </a:cxn>
                <a:cxn ang="0">
                  <a:pos x="136" y="284"/>
                </a:cxn>
                <a:cxn ang="0">
                  <a:pos x="144" y="292"/>
                </a:cxn>
                <a:cxn ang="0">
                  <a:pos x="154" y="294"/>
                </a:cxn>
                <a:cxn ang="0">
                  <a:pos x="162" y="270"/>
                </a:cxn>
                <a:cxn ang="0">
                  <a:pos x="162" y="262"/>
                </a:cxn>
                <a:cxn ang="0">
                  <a:pos x="152" y="258"/>
                </a:cxn>
                <a:cxn ang="0">
                  <a:pos x="158" y="254"/>
                </a:cxn>
                <a:cxn ang="0">
                  <a:pos x="160" y="258"/>
                </a:cxn>
              </a:cxnLst>
              <a:rect l="0" t="0" r="r" b="b"/>
              <a:pathLst>
                <a:path w="164" h="298">
                  <a:moveTo>
                    <a:pt x="160" y="258"/>
                  </a:moveTo>
                  <a:lnTo>
                    <a:pt x="160" y="258"/>
                  </a:lnTo>
                  <a:lnTo>
                    <a:pt x="160" y="256"/>
                  </a:lnTo>
                  <a:lnTo>
                    <a:pt x="158" y="252"/>
                  </a:lnTo>
                  <a:lnTo>
                    <a:pt x="158" y="252"/>
                  </a:lnTo>
                  <a:lnTo>
                    <a:pt x="158" y="248"/>
                  </a:lnTo>
                  <a:lnTo>
                    <a:pt x="160" y="246"/>
                  </a:lnTo>
                  <a:lnTo>
                    <a:pt x="160" y="246"/>
                  </a:lnTo>
                  <a:lnTo>
                    <a:pt x="156" y="238"/>
                  </a:lnTo>
                  <a:lnTo>
                    <a:pt x="156" y="238"/>
                  </a:lnTo>
                  <a:lnTo>
                    <a:pt x="156" y="232"/>
                  </a:lnTo>
                  <a:lnTo>
                    <a:pt x="156" y="226"/>
                  </a:lnTo>
                  <a:lnTo>
                    <a:pt x="160" y="216"/>
                  </a:lnTo>
                  <a:lnTo>
                    <a:pt x="152" y="200"/>
                  </a:lnTo>
                  <a:lnTo>
                    <a:pt x="138" y="194"/>
                  </a:lnTo>
                  <a:lnTo>
                    <a:pt x="140" y="154"/>
                  </a:lnTo>
                  <a:lnTo>
                    <a:pt x="140" y="154"/>
                  </a:lnTo>
                  <a:lnTo>
                    <a:pt x="140" y="152"/>
                  </a:lnTo>
                  <a:lnTo>
                    <a:pt x="140" y="150"/>
                  </a:lnTo>
                  <a:lnTo>
                    <a:pt x="138" y="152"/>
                  </a:lnTo>
                  <a:lnTo>
                    <a:pt x="138" y="152"/>
                  </a:lnTo>
                  <a:lnTo>
                    <a:pt x="128" y="158"/>
                  </a:lnTo>
                  <a:lnTo>
                    <a:pt x="116" y="158"/>
                  </a:lnTo>
                  <a:lnTo>
                    <a:pt x="116" y="158"/>
                  </a:lnTo>
                  <a:lnTo>
                    <a:pt x="114" y="156"/>
                  </a:lnTo>
                  <a:lnTo>
                    <a:pt x="112" y="152"/>
                  </a:lnTo>
                  <a:lnTo>
                    <a:pt x="112" y="152"/>
                  </a:lnTo>
                  <a:lnTo>
                    <a:pt x="112" y="150"/>
                  </a:lnTo>
                  <a:lnTo>
                    <a:pt x="108" y="148"/>
                  </a:lnTo>
                  <a:lnTo>
                    <a:pt x="106" y="146"/>
                  </a:lnTo>
                  <a:lnTo>
                    <a:pt x="104" y="142"/>
                  </a:lnTo>
                  <a:lnTo>
                    <a:pt x="104" y="142"/>
                  </a:lnTo>
                  <a:lnTo>
                    <a:pt x="102" y="140"/>
                  </a:lnTo>
                  <a:lnTo>
                    <a:pt x="98" y="138"/>
                  </a:lnTo>
                  <a:lnTo>
                    <a:pt x="96" y="136"/>
                  </a:lnTo>
                  <a:lnTo>
                    <a:pt x="98" y="130"/>
                  </a:lnTo>
                  <a:lnTo>
                    <a:pt x="98" y="130"/>
                  </a:lnTo>
                  <a:lnTo>
                    <a:pt x="98" y="126"/>
                  </a:lnTo>
                  <a:lnTo>
                    <a:pt x="96" y="124"/>
                  </a:lnTo>
                  <a:lnTo>
                    <a:pt x="96" y="122"/>
                  </a:lnTo>
                  <a:lnTo>
                    <a:pt x="96" y="122"/>
                  </a:lnTo>
                  <a:lnTo>
                    <a:pt x="94" y="122"/>
                  </a:lnTo>
                  <a:lnTo>
                    <a:pt x="94" y="118"/>
                  </a:lnTo>
                  <a:lnTo>
                    <a:pt x="92" y="114"/>
                  </a:lnTo>
                  <a:lnTo>
                    <a:pt x="92" y="114"/>
                  </a:lnTo>
                  <a:lnTo>
                    <a:pt x="94" y="112"/>
                  </a:lnTo>
                  <a:lnTo>
                    <a:pt x="96" y="112"/>
                  </a:lnTo>
                  <a:lnTo>
                    <a:pt x="98" y="114"/>
                  </a:lnTo>
                  <a:lnTo>
                    <a:pt x="98" y="114"/>
                  </a:lnTo>
                  <a:lnTo>
                    <a:pt x="98" y="106"/>
                  </a:lnTo>
                  <a:lnTo>
                    <a:pt x="98" y="106"/>
                  </a:lnTo>
                  <a:lnTo>
                    <a:pt x="100" y="102"/>
                  </a:lnTo>
                  <a:lnTo>
                    <a:pt x="102" y="98"/>
                  </a:lnTo>
                  <a:lnTo>
                    <a:pt x="102" y="98"/>
                  </a:lnTo>
                  <a:lnTo>
                    <a:pt x="104" y="92"/>
                  </a:lnTo>
                  <a:lnTo>
                    <a:pt x="106" y="86"/>
                  </a:lnTo>
                  <a:lnTo>
                    <a:pt x="106" y="86"/>
                  </a:lnTo>
                  <a:lnTo>
                    <a:pt x="110" y="82"/>
                  </a:lnTo>
                  <a:lnTo>
                    <a:pt x="118" y="76"/>
                  </a:lnTo>
                  <a:lnTo>
                    <a:pt x="118" y="76"/>
                  </a:lnTo>
                  <a:lnTo>
                    <a:pt x="124" y="74"/>
                  </a:lnTo>
                  <a:lnTo>
                    <a:pt x="130" y="72"/>
                  </a:lnTo>
                  <a:lnTo>
                    <a:pt x="130" y="72"/>
                  </a:lnTo>
                  <a:lnTo>
                    <a:pt x="140" y="70"/>
                  </a:lnTo>
                  <a:lnTo>
                    <a:pt x="140" y="70"/>
                  </a:lnTo>
                  <a:lnTo>
                    <a:pt x="142" y="70"/>
                  </a:lnTo>
                  <a:lnTo>
                    <a:pt x="144" y="68"/>
                  </a:lnTo>
                  <a:lnTo>
                    <a:pt x="144" y="66"/>
                  </a:lnTo>
                  <a:lnTo>
                    <a:pt x="140" y="64"/>
                  </a:lnTo>
                  <a:lnTo>
                    <a:pt x="134" y="64"/>
                  </a:lnTo>
                  <a:lnTo>
                    <a:pt x="146" y="38"/>
                  </a:lnTo>
                  <a:lnTo>
                    <a:pt x="146" y="38"/>
                  </a:lnTo>
                  <a:lnTo>
                    <a:pt x="144" y="36"/>
                  </a:lnTo>
                  <a:lnTo>
                    <a:pt x="140" y="34"/>
                  </a:lnTo>
                  <a:lnTo>
                    <a:pt x="140" y="34"/>
                  </a:lnTo>
                  <a:lnTo>
                    <a:pt x="134" y="32"/>
                  </a:lnTo>
                  <a:lnTo>
                    <a:pt x="130" y="30"/>
                  </a:lnTo>
                  <a:lnTo>
                    <a:pt x="130" y="30"/>
                  </a:lnTo>
                  <a:lnTo>
                    <a:pt x="128" y="28"/>
                  </a:lnTo>
                  <a:lnTo>
                    <a:pt x="124" y="28"/>
                  </a:lnTo>
                  <a:lnTo>
                    <a:pt x="120" y="28"/>
                  </a:lnTo>
                  <a:lnTo>
                    <a:pt x="120" y="32"/>
                  </a:lnTo>
                  <a:lnTo>
                    <a:pt x="120" y="32"/>
                  </a:lnTo>
                  <a:lnTo>
                    <a:pt x="112" y="30"/>
                  </a:lnTo>
                  <a:lnTo>
                    <a:pt x="112" y="30"/>
                  </a:lnTo>
                  <a:lnTo>
                    <a:pt x="110" y="30"/>
                  </a:lnTo>
                  <a:lnTo>
                    <a:pt x="108" y="28"/>
                  </a:lnTo>
                  <a:lnTo>
                    <a:pt x="108" y="26"/>
                  </a:lnTo>
                  <a:lnTo>
                    <a:pt x="108" y="20"/>
                  </a:lnTo>
                  <a:lnTo>
                    <a:pt x="100" y="20"/>
                  </a:lnTo>
                  <a:lnTo>
                    <a:pt x="100" y="20"/>
                  </a:lnTo>
                  <a:lnTo>
                    <a:pt x="96" y="18"/>
                  </a:lnTo>
                  <a:lnTo>
                    <a:pt x="94" y="16"/>
                  </a:lnTo>
                  <a:lnTo>
                    <a:pt x="94" y="14"/>
                  </a:lnTo>
                  <a:lnTo>
                    <a:pt x="94" y="14"/>
                  </a:lnTo>
                  <a:lnTo>
                    <a:pt x="92" y="10"/>
                  </a:lnTo>
                  <a:lnTo>
                    <a:pt x="88" y="6"/>
                  </a:lnTo>
                  <a:lnTo>
                    <a:pt x="88" y="6"/>
                  </a:lnTo>
                  <a:lnTo>
                    <a:pt x="86" y="6"/>
                  </a:lnTo>
                  <a:lnTo>
                    <a:pt x="84" y="4"/>
                  </a:lnTo>
                  <a:lnTo>
                    <a:pt x="84" y="0"/>
                  </a:lnTo>
                  <a:lnTo>
                    <a:pt x="76" y="0"/>
                  </a:lnTo>
                  <a:lnTo>
                    <a:pt x="72" y="4"/>
                  </a:lnTo>
                  <a:lnTo>
                    <a:pt x="76" y="6"/>
                  </a:lnTo>
                  <a:lnTo>
                    <a:pt x="76" y="6"/>
                  </a:lnTo>
                  <a:lnTo>
                    <a:pt x="76" y="16"/>
                  </a:lnTo>
                  <a:lnTo>
                    <a:pt x="76" y="16"/>
                  </a:lnTo>
                  <a:lnTo>
                    <a:pt x="78" y="22"/>
                  </a:lnTo>
                  <a:lnTo>
                    <a:pt x="78" y="24"/>
                  </a:lnTo>
                  <a:lnTo>
                    <a:pt x="74" y="24"/>
                  </a:lnTo>
                  <a:lnTo>
                    <a:pt x="74" y="24"/>
                  </a:lnTo>
                  <a:lnTo>
                    <a:pt x="74" y="30"/>
                  </a:lnTo>
                  <a:lnTo>
                    <a:pt x="72" y="36"/>
                  </a:lnTo>
                  <a:lnTo>
                    <a:pt x="66" y="42"/>
                  </a:lnTo>
                  <a:lnTo>
                    <a:pt x="66" y="42"/>
                  </a:lnTo>
                  <a:lnTo>
                    <a:pt x="54" y="48"/>
                  </a:lnTo>
                  <a:lnTo>
                    <a:pt x="48" y="52"/>
                  </a:lnTo>
                  <a:lnTo>
                    <a:pt x="48" y="52"/>
                  </a:lnTo>
                  <a:lnTo>
                    <a:pt x="42" y="60"/>
                  </a:lnTo>
                  <a:lnTo>
                    <a:pt x="42" y="60"/>
                  </a:lnTo>
                  <a:lnTo>
                    <a:pt x="38" y="66"/>
                  </a:lnTo>
                  <a:lnTo>
                    <a:pt x="34" y="76"/>
                  </a:lnTo>
                  <a:lnTo>
                    <a:pt x="34" y="76"/>
                  </a:lnTo>
                  <a:lnTo>
                    <a:pt x="32" y="78"/>
                  </a:lnTo>
                  <a:lnTo>
                    <a:pt x="30" y="80"/>
                  </a:lnTo>
                  <a:lnTo>
                    <a:pt x="26" y="82"/>
                  </a:lnTo>
                  <a:lnTo>
                    <a:pt x="26" y="82"/>
                  </a:lnTo>
                  <a:lnTo>
                    <a:pt x="26" y="82"/>
                  </a:lnTo>
                  <a:lnTo>
                    <a:pt x="24" y="82"/>
                  </a:lnTo>
                  <a:lnTo>
                    <a:pt x="22" y="80"/>
                  </a:lnTo>
                  <a:lnTo>
                    <a:pt x="22" y="80"/>
                  </a:lnTo>
                  <a:lnTo>
                    <a:pt x="20" y="74"/>
                  </a:lnTo>
                  <a:lnTo>
                    <a:pt x="18" y="72"/>
                  </a:lnTo>
                  <a:lnTo>
                    <a:pt x="18" y="72"/>
                  </a:lnTo>
                  <a:lnTo>
                    <a:pt x="18" y="74"/>
                  </a:lnTo>
                  <a:lnTo>
                    <a:pt x="14" y="76"/>
                  </a:lnTo>
                  <a:lnTo>
                    <a:pt x="14" y="76"/>
                  </a:lnTo>
                  <a:lnTo>
                    <a:pt x="10" y="72"/>
                  </a:lnTo>
                  <a:lnTo>
                    <a:pt x="8" y="70"/>
                  </a:lnTo>
                  <a:lnTo>
                    <a:pt x="14" y="66"/>
                  </a:lnTo>
                  <a:lnTo>
                    <a:pt x="12" y="64"/>
                  </a:lnTo>
                  <a:lnTo>
                    <a:pt x="10" y="58"/>
                  </a:lnTo>
                  <a:lnTo>
                    <a:pt x="10" y="58"/>
                  </a:lnTo>
                  <a:lnTo>
                    <a:pt x="4" y="64"/>
                  </a:lnTo>
                  <a:lnTo>
                    <a:pt x="0" y="72"/>
                  </a:lnTo>
                  <a:lnTo>
                    <a:pt x="0" y="72"/>
                  </a:lnTo>
                  <a:lnTo>
                    <a:pt x="0" y="74"/>
                  </a:lnTo>
                  <a:lnTo>
                    <a:pt x="0" y="76"/>
                  </a:lnTo>
                  <a:lnTo>
                    <a:pt x="0" y="76"/>
                  </a:lnTo>
                  <a:lnTo>
                    <a:pt x="0" y="76"/>
                  </a:lnTo>
                  <a:lnTo>
                    <a:pt x="2" y="80"/>
                  </a:lnTo>
                  <a:lnTo>
                    <a:pt x="2" y="80"/>
                  </a:lnTo>
                  <a:lnTo>
                    <a:pt x="4" y="80"/>
                  </a:lnTo>
                  <a:lnTo>
                    <a:pt x="4" y="80"/>
                  </a:lnTo>
                  <a:lnTo>
                    <a:pt x="4" y="82"/>
                  </a:lnTo>
                  <a:lnTo>
                    <a:pt x="4" y="82"/>
                  </a:lnTo>
                  <a:lnTo>
                    <a:pt x="2" y="86"/>
                  </a:lnTo>
                  <a:lnTo>
                    <a:pt x="2" y="86"/>
                  </a:lnTo>
                  <a:lnTo>
                    <a:pt x="6" y="90"/>
                  </a:lnTo>
                  <a:lnTo>
                    <a:pt x="6" y="90"/>
                  </a:lnTo>
                  <a:lnTo>
                    <a:pt x="6" y="94"/>
                  </a:lnTo>
                  <a:lnTo>
                    <a:pt x="4" y="98"/>
                  </a:lnTo>
                  <a:lnTo>
                    <a:pt x="4" y="98"/>
                  </a:lnTo>
                  <a:lnTo>
                    <a:pt x="12" y="104"/>
                  </a:lnTo>
                  <a:lnTo>
                    <a:pt x="20" y="112"/>
                  </a:lnTo>
                  <a:lnTo>
                    <a:pt x="20" y="112"/>
                  </a:lnTo>
                  <a:lnTo>
                    <a:pt x="22" y="114"/>
                  </a:lnTo>
                  <a:lnTo>
                    <a:pt x="22" y="114"/>
                  </a:lnTo>
                  <a:lnTo>
                    <a:pt x="22" y="118"/>
                  </a:lnTo>
                  <a:lnTo>
                    <a:pt x="22" y="118"/>
                  </a:lnTo>
                  <a:lnTo>
                    <a:pt x="26" y="120"/>
                  </a:lnTo>
                  <a:lnTo>
                    <a:pt x="30" y="122"/>
                  </a:lnTo>
                  <a:lnTo>
                    <a:pt x="30" y="122"/>
                  </a:lnTo>
                  <a:lnTo>
                    <a:pt x="30" y="126"/>
                  </a:lnTo>
                  <a:lnTo>
                    <a:pt x="30" y="126"/>
                  </a:lnTo>
                  <a:lnTo>
                    <a:pt x="38" y="134"/>
                  </a:lnTo>
                  <a:lnTo>
                    <a:pt x="38" y="134"/>
                  </a:lnTo>
                  <a:lnTo>
                    <a:pt x="44" y="144"/>
                  </a:lnTo>
                  <a:lnTo>
                    <a:pt x="44" y="144"/>
                  </a:lnTo>
                  <a:lnTo>
                    <a:pt x="46" y="144"/>
                  </a:lnTo>
                  <a:lnTo>
                    <a:pt x="46" y="144"/>
                  </a:lnTo>
                  <a:lnTo>
                    <a:pt x="46" y="148"/>
                  </a:lnTo>
                  <a:lnTo>
                    <a:pt x="48" y="150"/>
                  </a:lnTo>
                  <a:lnTo>
                    <a:pt x="48" y="150"/>
                  </a:lnTo>
                  <a:lnTo>
                    <a:pt x="50" y="152"/>
                  </a:lnTo>
                  <a:lnTo>
                    <a:pt x="50" y="152"/>
                  </a:lnTo>
                  <a:lnTo>
                    <a:pt x="50" y="160"/>
                  </a:lnTo>
                  <a:lnTo>
                    <a:pt x="50" y="160"/>
                  </a:lnTo>
                  <a:lnTo>
                    <a:pt x="54" y="164"/>
                  </a:lnTo>
                  <a:lnTo>
                    <a:pt x="54" y="164"/>
                  </a:lnTo>
                  <a:lnTo>
                    <a:pt x="54" y="172"/>
                  </a:lnTo>
                  <a:lnTo>
                    <a:pt x="54" y="172"/>
                  </a:lnTo>
                  <a:lnTo>
                    <a:pt x="56" y="178"/>
                  </a:lnTo>
                  <a:lnTo>
                    <a:pt x="56" y="182"/>
                  </a:lnTo>
                  <a:lnTo>
                    <a:pt x="56" y="182"/>
                  </a:lnTo>
                  <a:lnTo>
                    <a:pt x="56" y="184"/>
                  </a:lnTo>
                  <a:lnTo>
                    <a:pt x="56" y="184"/>
                  </a:lnTo>
                  <a:lnTo>
                    <a:pt x="60" y="190"/>
                  </a:lnTo>
                  <a:lnTo>
                    <a:pt x="62" y="192"/>
                  </a:lnTo>
                  <a:lnTo>
                    <a:pt x="62" y="196"/>
                  </a:lnTo>
                  <a:lnTo>
                    <a:pt x="62" y="196"/>
                  </a:lnTo>
                  <a:lnTo>
                    <a:pt x="62" y="198"/>
                  </a:lnTo>
                  <a:lnTo>
                    <a:pt x="62" y="198"/>
                  </a:lnTo>
                  <a:lnTo>
                    <a:pt x="66" y="200"/>
                  </a:lnTo>
                  <a:lnTo>
                    <a:pt x="66" y="200"/>
                  </a:lnTo>
                  <a:lnTo>
                    <a:pt x="68" y="206"/>
                  </a:lnTo>
                  <a:lnTo>
                    <a:pt x="70" y="212"/>
                  </a:lnTo>
                  <a:lnTo>
                    <a:pt x="70" y="212"/>
                  </a:lnTo>
                  <a:lnTo>
                    <a:pt x="72" y="214"/>
                  </a:lnTo>
                  <a:lnTo>
                    <a:pt x="72" y="214"/>
                  </a:lnTo>
                  <a:lnTo>
                    <a:pt x="74" y="224"/>
                  </a:lnTo>
                  <a:lnTo>
                    <a:pt x="72" y="232"/>
                  </a:lnTo>
                  <a:lnTo>
                    <a:pt x="72" y="232"/>
                  </a:lnTo>
                  <a:lnTo>
                    <a:pt x="78" y="238"/>
                  </a:lnTo>
                  <a:lnTo>
                    <a:pt x="82" y="246"/>
                  </a:lnTo>
                  <a:lnTo>
                    <a:pt x="82" y="246"/>
                  </a:lnTo>
                  <a:lnTo>
                    <a:pt x="82" y="248"/>
                  </a:lnTo>
                  <a:lnTo>
                    <a:pt x="84" y="250"/>
                  </a:lnTo>
                  <a:lnTo>
                    <a:pt x="84" y="250"/>
                  </a:lnTo>
                  <a:lnTo>
                    <a:pt x="88" y="254"/>
                  </a:lnTo>
                  <a:lnTo>
                    <a:pt x="94" y="258"/>
                  </a:lnTo>
                  <a:lnTo>
                    <a:pt x="94" y="258"/>
                  </a:lnTo>
                  <a:lnTo>
                    <a:pt x="102" y="264"/>
                  </a:lnTo>
                  <a:lnTo>
                    <a:pt x="102" y="264"/>
                  </a:lnTo>
                  <a:lnTo>
                    <a:pt x="102" y="266"/>
                  </a:lnTo>
                  <a:lnTo>
                    <a:pt x="102" y="266"/>
                  </a:lnTo>
                  <a:lnTo>
                    <a:pt x="106" y="266"/>
                  </a:lnTo>
                  <a:lnTo>
                    <a:pt x="106" y="266"/>
                  </a:lnTo>
                  <a:lnTo>
                    <a:pt x="110" y="270"/>
                  </a:lnTo>
                  <a:lnTo>
                    <a:pt x="110" y="270"/>
                  </a:lnTo>
                  <a:lnTo>
                    <a:pt x="116" y="270"/>
                  </a:lnTo>
                  <a:lnTo>
                    <a:pt x="116" y="270"/>
                  </a:lnTo>
                  <a:lnTo>
                    <a:pt x="116" y="274"/>
                  </a:lnTo>
                  <a:lnTo>
                    <a:pt x="116" y="274"/>
                  </a:lnTo>
                  <a:lnTo>
                    <a:pt x="128" y="280"/>
                  </a:lnTo>
                  <a:lnTo>
                    <a:pt x="128" y="280"/>
                  </a:lnTo>
                  <a:lnTo>
                    <a:pt x="130" y="280"/>
                  </a:lnTo>
                  <a:lnTo>
                    <a:pt x="130" y="280"/>
                  </a:lnTo>
                  <a:lnTo>
                    <a:pt x="136" y="284"/>
                  </a:lnTo>
                  <a:lnTo>
                    <a:pt x="136" y="284"/>
                  </a:lnTo>
                  <a:lnTo>
                    <a:pt x="138" y="284"/>
                  </a:lnTo>
                  <a:lnTo>
                    <a:pt x="138" y="284"/>
                  </a:lnTo>
                  <a:lnTo>
                    <a:pt x="142" y="288"/>
                  </a:lnTo>
                  <a:lnTo>
                    <a:pt x="144" y="292"/>
                  </a:lnTo>
                  <a:lnTo>
                    <a:pt x="144" y="292"/>
                  </a:lnTo>
                  <a:lnTo>
                    <a:pt x="148" y="298"/>
                  </a:lnTo>
                  <a:lnTo>
                    <a:pt x="148" y="298"/>
                  </a:lnTo>
                  <a:lnTo>
                    <a:pt x="150" y="298"/>
                  </a:lnTo>
                  <a:lnTo>
                    <a:pt x="154" y="294"/>
                  </a:lnTo>
                  <a:lnTo>
                    <a:pt x="154" y="294"/>
                  </a:lnTo>
                  <a:lnTo>
                    <a:pt x="156" y="290"/>
                  </a:lnTo>
                  <a:lnTo>
                    <a:pt x="158" y="290"/>
                  </a:lnTo>
                  <a:lnTo>
                    <a:pt x="154" y="282"/>
                  </a:lnTo>
                  <a:lnTo>
                    <a:pt x="154" y="282"/>
                  </a:lnTo>
                  <a:lnTo>
                    <a:pt x="162" y="270"/>
                  </a:lnTo>
                  <a:lnTo>
                    <a:pt x="162" y="270"/>
                  </a:lnTo>
                  <a:lnTo>
                    <a:pt x="164" y="268"/>
                  </a:lnTo>
                  <a:lnTo>
                    <a:pt x="162" y="266"/>
                  </a:lnTo>
                  <a:lnTo>
                    <a:pt x="162" y="262"/>
                  </a:lnTo>
                  <a:lnTo>
                    <a:pt x="162" y="262"/>
                  </a:lnTo>
                  <a:lnTo>
                    <a:pt x="162" y="262"/>
                  </a:lnTo>
                  <a:lnTo>
                    <a:pt x="156" y="256"/>
                  </a:lnTo>
                  <a:lnTo>
                    <a:pt x="156" y="256"/>
                  </a:lnTo>
                  <a:lnTo>
                    <a:pt x="152" y="258"/>
                  </a:lnTo>
                  <a:lnTo>
                    <a:pt x="152" y="258"/>
                  </a:lnTo>
                  <a:lnTo>
                    <a:pt x="152" y="250"/>
                  </a:lnTo>
                  <a:lnTo>
                    <a:pt x="152" y="250"/>
                  </a:lnTo>
                  <a:lnTo>
                    <a:pt x="154" y="248"/>
                  </a:lnTo>
                  <a:lnTo>
                    <a:pt x="154" y="248"/>
                  </a:lnTo>
                  <a:lnTo>
                    <a:pt x="158" y="254"/>
                  </a:lnTo>
                  <a:lnTo>
                    <a:pt x="158" y="254"/>
                  </a:lnTo>
                  <a:lnTo>
                    <a:pt x="158" y="256"/>
                  </a:lnTo>
                  <a:lnTo>
                    <a:pt x="158" y="256"/>
                  </a:lnTo>
                  <a:lnTo>
                    <a:pt x="160" y="258"/>
                  </a:lnTo>
                  <a:lnTo>
                    <a:pt x="160" y="25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4" name="Freeform 110"/>
            <p:cNvSpPr>
              <a:spLocks noChangeAspect="1"/>
            </p:cNvSpPr>
            <p:nvPr/>
          </p:nvSpPr>
          <p:spPr bwMode="gray">
            <a:xfrm>
              <a:off x="2862711" y="4954000"/>
              <a:ext cx="183613" cy="233586"/>
            </a:xfrm>
            <a:custGeom>
              <a:avLst/>
              <a:gdLst/>
              <a:ahLst/>
              <a:cxnLst>
                <a:cxn ang="0">
                  <a:pos x="50" y="2"/>
                </a:cxn>
                <a:cxn ang="0">
                  <a:pos x="22" y="0"/>
                </a:cxn>
                <a:cxn ang="0">
                  <a:pos x="18" y="6"/>
                </a:cxn>
                <a:cxn ang="0">
                  <a:pos x="14" y="12"/>
                </a:cxn>
                <a:cxn ang="0">
                  <a:pos x="10" y="22"/>
                </a:cxn>
                <a:cxn ang="0">
                  <a:pos x="0" y="46"/>
                </a:cxn>
                <a:cxn ang="0">
                  <a:pos x="8" y="52"/>
                </a:cxn>
                <a:cxn ang="0">
                  <a:pos x="12" y="58"/>
                </a:cxn>
                <a:cxn ang="0">
                  <a:pos x="18" y="64"/>
                </a:cxn>
                <a:cxn ang="0">
                  <a:pos x="20" y="66"/>
                </a:cxn>
                <a:cxn ang="0">
                  <a:pos x="22" y="70"/>
                </a:cxn>
                <a:cxn ang="0">
                  <a:pos x="26" y="78"/>
                </a:cxn>
                <a:cxn ang="0">
                  <a:pos x="28" y="80"/>
                </a:cxn>
                <a:cxn ang="0">
                  <a:pos x="36" y="86"/>
                </a:cxn>
                <a:cxn ang="0">
                  <a:pos x="40" y="88"/>
                </a:cxn>
                <a:cxn ang="0">
                  <a:pos x="44" y="88"/>
                </a:cxn>
                <a:cxn ang="0">
                  <a:pos x="46" y="90"/>
                </a:cxn>
                <a:cxn ang="0">
                  <a:pos x="52" y="94"/>
                </a:cxn>
                <a:cxn ang="0">
                  <a:pos x="60" y="104"/>
                </a:cxn>
                <a:cxn ang="0">
                  <a:pos x="62" y="106"/>
                </a:cxn>
                <a:cxn ang="0">
                  <a:pos x="60" y="114"/>
                </a:cxn>
                <a:cxn ang="0">
                  <a:pos x="58" y="122"/>
                </a:cxn>
                <a:cxn ang="0">
                  <a:pos x="54" y="128"/>
                </a:cxn>
                <a:cxn ang="0">
                  <a:pos x="50" y="138"/>
                </a:cxn>
                <a:cxn ang="0">
                  <a:pos x="50" y="138"/>
                </a:cxn>
                <a:cxn ang="0">
                  <a:pos x="54" y="138"/>
                </a:cxn>
                <a:cxn ang="0">
                  <a:pos x="64" y="140"/>
                </a:cxn>
                <a:cxn ang="0">
                  <a:pos x="68" y="142"/>
                </a:cxn>
                <a:cxn ang="0">
                  <a:pos x="72" y="140"/>
                </a:cxn>
                <a:cxn ang="0">
                  <a:pos x="84" y="142"/>
                </a:cxn>
                <a:cxn ang="0">
                  <a:pos x="90" y="142"/>
                </a:cxn>
                <a:cxn ang="0">
                  <a:pos x="92" y="140"/>
                </a:cxn>
                <a:cxn ang="0">
                  <a:pos x="94" y="138"/>
                </a:cxn>
                <a:cxn ang="0">
                  <a:pos x="100" y="130"/>
                </a:cxn>
                <a:cxn ang="0">
                  <a:pos x="102" y="128"/>
                </a:cxn>
                <a:cxn ang="0">
                  <a:pos x="102" y="116"/>
                </a:cxn>
                <a:cxn ang="0">
                  <a:pos x="100" y="114"/>
                </a:cxn>
                <a:cxn ang="0">
                  <a:pos x="104" y="110"/>
                </a:cxn>
                <a:cxn ang="0">
                  <a:pos x="104" y="102"/>
                </a:cxn>
                <a:cxn ang="0">
                  <a:pos x="106" y="94"/>
                </a:cxn>
                <a:cxn ang="0">
                  <a:pos x="108" y="80"/>
                </a:cxn>
                <a:cxn ang="0">
                  <a:pos x="106" y="80"/>
                </a:cxn>
                <a:cxn ang="0">
                  <a:pos x="100" y="82"/>
                </a:cxn>
                <a:cxn ang="0">
                  <a:pos x="98" y="82"/>
                </a:cxn>
                <a:cxn ang="0">
                  <a:pos x="96" y="74"/>
                </a:cxn>
                <a:cxn ang="0">
                  <a:pos x="96" y="60"/>
                </a:cxn>
                <a:cxn ang="0">
                  <a:pos x="96" y="56"/>
                </a:cxn>
                <a:cxn ang="0">
                  <a:pos x="90" y="52"/>
                </a:cxn>
                <a:cxn ang="0">
                  <a:pos x="88" y="52"/>
                </a:cxn>
                <a:cxn ang="0">
                  <a:pos x="86" y="48"/>
                </a:cxn>
                <a:cxn ang="0">
                  <a:pos x="80" y="46"/>
                </a:cxn>
                <a:cxn ang="0">
                  <a:pos x="72" y="46"/>
                </a:cxn>
                <a:cxn ang="0">
                  <a:pos x="64" y="42"/>
                </a:cxn>
                <a:cxn ang="0">
                  <a:pos x="64" y="38"/>
                </a:cxn>
                <a:cxn ang="0">
                  <a:pos x="62" y="32"/>
                </a:cxn>
                <a:cxn ang="0">
                  <a:pos x="64" y="24"/>
                </a:cxn>
                <a:cxn ang="0">
                  <a:pos x="62" y="18"/>
                </a:cxn>
                <a:cxn ang="0">
                  <a:pos x="56" y="8"/>
                </a:cxn>
              </a:cxnLst>
              <a:rect l="0" t="0" r="r" b="b"/>
              <a:pathLst>
                <a:path w="108" h="142">
                  <a:moveTo>
                    <a:pt x="56" y="8"/>
                  </a:moveTo>
                  <a:lnTo>
                    <a:pt x="50" y="2"/>
                  </a:lnTo>
                  <a:lnTo>
                    <a:pt x="38" y="0"/>
                  </a:lnTo>
                  <a:lnTo>
                    <a:pt x="22" y="0"/>
                  </a:lnTo>
                  <a:lnTo>
                    <a:pt x="22" y="0"/>
                  </a:lnTo>
                  <a:lnTo>
                    <a:pt x="18" y="6"/>
                  </a:lnTo>
                  <a:lnTo>
                    <a:pt x="14" y="12"/>
                  </a:lnTo>
                  <a:lnTo>
                    <a:pt x="14" y="12"/>
                  </a:lnTo>
                  <a:lnTo>
                    <a:pt x="12" y="18"/>
                  </a:lnTo>
                  <a:lnTo>
                    <a:pt x="10" y="22"/>
                  </a:lnTo>
                  <a:lnTo>
                    <a:pt x="10" y="28"/>
                  </a:lnTo>
                  <a:lnTo>
                    <a:pt x="0" y="46"/>
                  </a:lnTo>
                  <a:lnTo>
                    <a:pt x="8" y="52"/>
                  </a:lnTo>
                  <a:lnTo>
                    <a:pt x="8" y="52"/>
                  </a:lnTo>
                  <a:lnTo>
                    <a:pt x="12" y="58"/>
                  </a:lnTo>
                  <a:lnTo>
                    <a:pt x="12" y="58"/>
                  </a:lnTo>
                  <a:lnTo>
                    <a:pt x="14" y="62"/>
                  </a:lnTo>
                  <a:lnTo>
                    <a:pt x="18" y="64"/>
                  </a:lnTo>
                  <a:lnTo>
                    <a:pt x="18" y="64"/>
                  </a:lnTo>
                  <a:lnTo>
                    <a:pt x="20" y="66"/>
                  </a:lnTo>
                  <a:lnTo>
                    <a:pt x="22" y="70"/>
                  </a:lnTo>
                  <a:lnTo>
                    <a:pt x="22" y="70"/>
                  </a:lnTo>
                  <a:lnTo>
                    <a:pt x="26" y="76"/>
                  </a:lnTo>
                  <a:lnTo>
                    <a:pt x="26" y="78"/>
                  </a:lnTo>
                  <a:lnTo>
                    <a:pt x="28" y="80"/>
                  </a:lnTo>
                  <a:lnTo>
                    <a:pt x="28" y="80"/>
                  </a:lnTo>
                  <a:lnTo>
                    <a:pt x="34" y="80"/>
                  </a:lnTo>
                  <a:lnTo>
                    <a:pt x="36" y="86"/>
                  </a:lnTo>
                  <a:lnTo>
                    <a:pt x="36" y="86"/>
                  </a:lnTo>
                  <a:lnTo>
                    <a:pt x="40" y="88"/>
                  </a:lnTo>
                  <a:lnTo>
                    <a:pt x="42" y="88"/>
                  </a:lnTo>
                  <a:lnTo>
                    <a:pt x="44" y="88"/>
                  </a:lnTo>
                  <a:lnTo>
                    <a:pt x="46" y="90"/>
                  </a:lnTo>
                  <a:lnTo>
                    <a:pt x="46" y="90"/>
                  </a:lnTo>
                  <a:lnTo>
                    <a:pt x="52" y="94"/>
                  </a:lnTo>
                  <a:lnTo>
                    <a:pt x="52" y="94"/>
                  </a:lnTo>
                  <a:lnTo>
                    <a:pt x="54" y="98"/>
                  </a:lnTo>
                  <a:lnTo>
                    <a:pt x="60" y="104"/>
                  </a:lnTo>
                  <a:lnTo>
                    <a:pt x="60" y="104"/>
                  </a:lnTo>
                  <a:lnTo>
                    <a:pt x="62" y="106"/>
                  </a:lnTo>
                  <a:lnTo>
                    <a:pt x="62" y="108"/>
                  </a:lnTo>
                  <a:lnTo>
                    <a:pt x="60" y="114"/>
                  </a:lnTo>
                  <a:lnTo>
                    <a:pt x="60" y="114"/>
                  </a:lnTo>
                  <a:lnTo>
                    <a:pt x="58" y="122"/>
                  </a:lnTo>
                  <a:lnTo>
                    <a:pt x="54" y="128"/>
                  </a:lnTo>
                  <a:lnTo>
                    <a:pt x="54" y="128"/>
                  </a:lnTo>
                  <a:lnTo>
                    <a:pt x="50" y="134"/>
                  </a:lnTo>
                  <a:lnTo>
                    <a:pt x="50" y="138"/>
                  </a:lnTo>
                  <a:lnTo>
                    <a:pt x="50" y="138"/>
                  </a:lnTo>
                  <a:lnTo>
                    <a:pt x="50" y="138"/>
                  </a:lnTo>
                  <a:lnTo>
                    <a:pt x="54" y="138"/>
                  </a:lnTo>
                  <a:lnTo>
                    <a:pt x="54" y="138"/>
                  </a:lnTo>
                  <a:lnTo>
                    <a:pt x="58" y="138"/>
                  </a:lnTo>
                  <a:lnTo>
                    <a:pt x="64" y="140"/>
                  </a:lnTo>
                  <a:lnTo>
                    <a:pt x="64" y="140"/>
                  </a:lnTo>
                  <a:lnTo>
                    <a:pt x="68" y="142"/>
                  </a:lnTo>
                  <a:lnTo>
                    <a:pt x="72" y="140"/>
                  </a:lnTo>
                  <a:lnTo>
                    <a:pt x="72" y="140"/>
                  </a:lnTo>
                  <a:lnTo>
                    <a:pt x="78" y="140"/>
                  </a:lnTo>
                  <a:lnTo>
                    <a:pt x="84" y="142"/>
                  </a:lnTo>
                  <a:lnTo>
                    <a:pt x="84" y="142"/>
                  </a:lnTo>
                  <a:lnTo>
                    <a:pt x="90" y="142"/>
                  </a:lnTo>
                  <a:lnTo>
                    <a:pt x="92" y="140"/>
                  </a:lnTo>
                  <a:lnTo>
                    <a:pt x="92" y="140"/>
                  </a:lnTo>
                  <a:lnTo>
                    <a:pt x="94" y="138"/>
                  </a:lnTo>
                  <a:lnTo>
                    <a:pt x="94" y="138"/>
                  </a:lnTo>
                  <a:lnTo>
                    <a:pt x="96" y="134"/>
                  </a:lnTo>
                  <a:lnTo>
                    <a:pt x="100" y="130"/>
                  </a:lnTo>
                  <a:lnTo>
                    <a:pt x="100" y="130"/>
                  </a:lnTo>
                  <a:lnTo>
                    <a:pt x="102" y="128"/>
                  </a:lnTo>
                  <a:lnTo>
                    <a:pt x="102" y="124"/>
                  </a:lnTo>
                  <a:lnTo>
                    <a:pt x="102" y="116"/>
                  </a:lnTo>
                  <a:lnTo>
                    <a:pt x="102" y="116"/>
                  </a:lnTo>
                  <a:lnTo>
                    <a:pt x="100" y="114"/>
                  </a:lnTo>
                  <a:lnTo>
                    <a:pt x="102" y="112"/>
                  </a:lnTo>
                  <a:lnTo>
                    <a:pt x="104" y="110"/>
                  </a:lnTo>
                  <a:lnTo>
                    <a:pt x="104" y="110"/>
                  </a:lnTo>
                  <a:lnTo>
                    <a:pt x="104" y="102"/>
                  </a:lnTo>
                  <a:lnTo>
                    <a:pt x="106" y="94"/>
                  </a:lnTo>
                  <a:lnTo>
                    <a:pt x="106" y="94"/>
                  </a:lnTo>
                  <a:lnTo>
                    <a:pt x="106" y="86"/>
                  </a:lnTo>
                  <a:lnTo>
                    <a:pt x="108" y="80"/>
                  </a:lnTo>
                  <a:lnTo>
                    <a:pt x="108" y="80"/>
                  </a:lnTo>
                  <a:lnTo>
                    <a:pt x="106" y="80"/>
                  </a:lnTo>
                  <a:lnTo>
                    <a:pt x="104" y="80"/>
                  </a:lnTo>
                  <a:lnTo>
                    <a:pt x="100" y="82"/>
                  </a:lnTo>
                  <a:lnTo>
                    <a:pt x="100" y="82"/>
                  </a:lnTo>
                  <a:lnTo>
                    <a:pt x="98" y="82"/>
                  </a:lnTo>
                  <a:lnTo>
                    <a:pt x="98" y="80"/>
                  </a:lnTo>
                  <a:lnTo>
                    <a:pt x="96" y="74"/>
                  </a:lnTo>
                  <a:lnTo>
                    <a:pt x="96" y="74"/>
                  </a:lnTo>
                  <a:lnTo>
                    <a:pt x="96" y="60"/>
                  </a:lnTo>
                  <a:lnTo>
                    <a:pt x="96" y="60"/>
                  </a:lnTo>
                  <a:lnTo>
                    <a:pt x="96" y="56"/>
                  </a:lnTo>
                  <a:lnTo>
                    <a:pt x="94" y="54"/>
                  </a:lnTo>
                  <a:lnTo>
                    <a:pt x="90" y="52"/>
                  </a:lnTo>
                  <a:lnTo>
                    <a:pt x="90" y="52"/>
                  </a:lnTo>
                  <a:lnTo>
                    <a:pt x="88" y="52"/>
                  </a:lnTo>
                  <a:lnTo>
                    <a:pt x="86" y="50"/>
                  </a:lnTo>
                  <a:lnTo>
                    <a:pt x="86" y="48"/>
                  </a:lnTo>
                  <a:lnTo>
                    <a:pt x="84" y="44"/>
                  </a:lnTo>
                  <a:lnTo>
                    <a:pt x="80" y="46"/>
                  </a:lnTo>
                  <a:lnTo>
                    <a:pt x="80" y="46"/>
                  </a:lnTo>
                  <a:lnTo>
                    <a:pt x="72" y="46"/>
                  </a:lnTo>
                  <a:lnTo>
                    <a:pt x="66" y="44"/>
                  </a:lnTo>
                  <a:lnTo>
                    <a:pt x="64" y="42"/>
                  </a:lnTo>
                  <a:lnTo>
                    <a:pt x="64" y="42"/>
                  </a:lnTo>
                  <a:lnTo>
                    <a:pt x="64" y="38"/>
                  </a:lnTo>
                  <a:lnTo>
                    <a:pt x="62" y="34"/>
                  </a:lnTo>
                  <a:lnTo>
                    <a:pt x="62" y="32"/>
                  </a:lnTo>
                  <a:lnTo>
                    <a:pt x="62" y="32"/>
                  </a:lnTo>
                  <a:lnTo>
                    <a:pt x="64" y="24"/>
                  </a:lnTo>
                  <a:lnTo>
                    <a:pt x="62" y="18"/>
                  </a:lnTo>
                  <a:lnTo>
                    <a:pt x="62" y="18"/>
                  </a:lnTo>
                  <a:lnTo>
                    <a:pt x="58" y="12"/>
                  </a:lnTo>
                  <a:lnTo>
                    <a:pt x="56" y="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5" name="Freeform 111"/>
            <p:cNvSpPr>
              <a:spLocks noChangeAspect="1" noEditPoints="1"/>
            </p:cNvSpPr>
            <p:nvPr/>
          </p:nvSpPr>
          <p:spPr bwMode="gray">
            <a:xfrm>
              <a:off x="7475124" y="4506569"/>
              <a:ext cx="346823" cy="223716"/>
            </a:xfrm>
            <a:custGeom>
              <a:avLst/>
              <a:gdLst/>
              <a:ahLst/>
              <a:cxnLst>
                <a:cxn ang="0">
                  <a:pos x="184" y="58"/>
                </a:cxn>
                <a:cxn ang="0">
                  <a:pos x="190" y="66"/>
                </a:cxn>
                <a:cxn ang="0">
                  <a:pos x="200" y="74"/>
                </a:cxn>
                <a:cxn ang="0">
                  <a:pos x="200" y="62"/>
                </a:cxn>
                <a:cxn ang="0">
                  <a:pos x="190" y="50"/>
                </a:cxn>
                <a:cxn ang="0">
                  <a:pos x="184" y="44"/>
                </a:cxn>
                <a:cxn ang="0">
                  <a:pos x="0" y="68"/>
                </a:cxn>
                <a:cxn ang="0">
                  <a:pos x="16" y="108"/>
                </a:cxn>
                <a:cxn ang="0">
                  <a:pos x="22" y="108"/>
                </a:cxn>
                <a:cxn ang="0">
                  <a:pos x="36" y="102"/>
                </a:cxn>
                <a:cxn ang="0">
                  <a:pos x="38" y="94"/>
                </a:cxn>
                <a:cxn ang="0">
                  <a:pos x="42" y="90"/>
                </a:cxn>
                <a:cxn ang="0">
                  <a:pos x="48" y="88"/>
                </a:cxn>
                <a:cxn ang="0">
                  <a:pos x="68" y="94"/>
                </a:cxn>
                <a:cxn ang="0">
                  <a:pos x="78" y="108"/>
                </a:cxn>
                <a:cxn ang="0">
                  <a:pos x="84" y="114"/>
                </a:cxn>
                <a:cxn ang="0">
                  <a:pos x="90" y="120"/>
                </a:cxn>
                <a:cxn ang="0">
                  <a:pos x="96" y="126"/>
                </a:cxn>
                <a:cxn ang="0">
                  <a:pos x="104" y="128"/>
                </a:cxn>
                <a:cxn ang="0">
                  <a:pos x="118" y="132"/>
                </a:cxn>
                <a:cxn ang="0">
                  <a:pos x="128" y="136"/>
                </a:cxn>
                <a:cxn ang="0">
                  <a:pos x="122" y="128"/>
                </a:cxn>
                <a:cxn ang="0">
                  <a:pos x="122" y="120"/>
                </a:cxn>
                <a:cxn ang="0">
                  <a:pos x="114" y="120"/>
                </a:cxn>
                <a:cxn ang="0">
                  <a:pos x="104" y="108"/>
                </a:cxn>
                <a:cxn ang="0">
                  <a:pos x="100" y="96"/>
                </a:cxn>
                <a:cxn ang="0">
                  <a:pos x="90" y="90"/>
                </a:cxn>
                <a:cxn ang="0">
                  <a:pos x="86" y="74"/>
                </a:cxn>
                <a:cxn ang="0">
                  <a:pos x="94" y="70"/>
                </a:cxn>
                <a:cxn ang="0">
                  <a:pos x="94" y="62"/>
                </a:cxn>
                <a:cxn ang="0">
                  <a:pos x="88" y="56"/>
                </a:cxn>
                <a:cxn ang="0">
                  <a:pos x="82" y="52"/>
                </a:cxn>
                <a:cxn ang="0">
                  <a:pos x="72" y="48"/>
                </a:cxn>
                <a:cxn ang="0">
                  <a:pos x="68" y="40"/>
                </a:cxn>
                <a:cxn ang="0">
                  <a:pos x="56" y="28"/>
                </a:cxn>
                <a:cxn ang="0">
                  <a:pos x="46" y="20"/>
                </a:cxn>
                <a:cxn ang="0">
                  <a:pos x="30" y="16"/>
                </a:cxn>
                <a:cxn ang="0">
                  <a:pos x="14" y="10"/>
                </a:cxn>
                <a:cxn ang="0">
                  <a:pos x="2" y="0"/>
                </a:cxn>
                <a:cxn ang="0">
                  <a:pos x="146" y="32"/>
                </a:cxn>
                <a:cxn ang="0">
                  <a:pos x="144" y="38"/>
                </a:cxn>
                <a:cxn ang="0">
                  <a:pos x="140" y="46"/>
                </a:cxn>
                <a:cxn ang="0">
                  <a:pos x="128" y="44"/>
                </a:cxn>
                <a:cxn ang="0">
                  <a:pos x="112" y="52"/>
                </a:cxn>
                <a:cxn ang="0">
                  <a:pos x="112" y="58"/>
                </a:cxn>
                <a:cxn ang="0">
                  <a:pos x="126" y="60"/>
                </a:cxn>
                <a:cxn ang="0">
                  <a:pos x="142" y="54"/>
                </a:cxn>
                <a:cxn ang="0">
                  <a:pos x="146" y="50"/>
                </a:cxn>
                <a:cxn ang="0">
                  <a:pos x="152" y="46"/>
                </a:cxn>
                <a:cxn ang="0">
                  <a:pos x="156" y="40"/>
                </a:cxn>
                <a:cxn ang="0">
                  <a:pos x="154" y="32"/>
                </a:cxn>
                <a:cxn ang="0">
                  <a:pos x="150" y="30"/>
                </a:cxn>
                <a:cxn ang="0">
                  <a:pos x="156" y="24"/>
                </a:cxn>
                <a:cxn ang="0">
                  <a:pos x="158" y="34"/>
                </a:cxn>
                <a:cxn ang="0">
                  <a:pos x="162" y="34"/>
                </a:cxn>
                <a:cxn ang="0">
                  <a:pos x="136" y="6"/>
                </a:cxn>
                <a:cxn ang="0">
                  <a:pos x="146" y="14"/>
                </a:cxn>
                <a:cxn ang="0">
                  <a:pos x="150" y="12"/>
                </a:cxn>
              </a:cxnLst>
              <a:rect l="0" t="0" r="r" b="b"/>
              <a:pathLst>
                <a:path w="204" h="136">
                  <a:moveTo>
                    <a:pt x="182" y="42"/>
                  </a:moveTo>
                  <a:lnTo>
                    <a:pt x="182" y="42"/>
                  </a:lnTo>
                  <a:lnTo>
                    <a:pt x="182" y="54"/>
                  </a:lnTo>
                  <a:lnTo>
                    <a:pt x="182" y="54"/>
                  </a:lnTo>
                  <a:lnTo>
                    <a:pt x="184" y="58"/>
                  </a:lnTo>
                  <a:lnTo>
                    <a:pt x="186" y="60"/>
                  </a:lnTo>
                  <a:lnTo>
                    <a:pt x="186" y="60"/>
                  </a:lnTo>
                  <a:lnTo>
                    <a:pt x="186" y="64"/>
                  </a:lnTo>
                  <a:lnTo>
                    <a:pt x="186" y="64"/>
                  </a:lnTo>
                  <a:lnTo>
                    <a:pt x="190" y="66"/>
                  </a:lnTo>
                  <a:lnTo>
                    <a:pt x="190" y="66"/>
                  </a:lnTo>
                  <a:lnTo>
                    <a:pt x="190" y="70"/>
                  </a:lnTo>
                  <a:lnTo>
                    <a:pt x="190" y="70"/>
                  </a:lnTo>
                  <a:lnTo>
                    <a:pt x="200" y="74"/>
                  </a:lnTo>
                  <a:lnTo>
                    <a:pt x="200" y="74"/>
                  </a:lnTo>
                  <a:lnTo>
                    <a:pt x="204" y="70"/>
                  </a:lnTo>
                  <a:lnTo>
                    <a:pt x="204" y="70"/>
                  </a:lnTo>
                  <a:lnTo>
                    <a:pt x="202" y="66"/>
                  </a:lnTo>
                  <a:lnTo>
                    <a:pt x="200" y="62"/>
                  </a:lnTo>
                  <a:lnTo>
                    <a:pt x="200" y="62"/>
                  </a:lnTo>
                  <a:lnTo>
                    <a:pt x="196" y="62"/>
                  </a:lnTo>
                  <a:lnTo>
                    <a:pt x="196" y="62"/>
                  </a:lnTo>
                  <a:lnTo>
                    <a:pt x="190" y="54"/>
                  </a:lnTo>
                  <a:lnTo>
                    <a:pt x="190" y="54"/>
                  </a:lnTo>
                  <a:lnTo>
                    <a:pt x="190" y="50"/>
                  </a:lnTo>
                  <a:lnTo>
                    <a:pt x="190" y="50"/>
                  </a:lnTo>
                  <a:lnTo>
                    <a:pt x="188" y="50"/>
                  </a:lnTo>
                  <a:lnTo>
                    <a:pt x="186" y="48"/>
                  </a:lnTo>
                  <a:lnTo>
                    <a:pt x="186" y="48"/>
                  </a:lnTo>
                  <a:lnTo>
                    <a:pt x="184" y="44"/>
                  </a:lnTo>
                  <a:lnTo>
                    <a:pt x="184" y="42"/>
                  </a:lnTo>
                  <a:lnTo>
                    <a:pt x="182" y="42"/>
                  </a:lnTo>
                  <a:close/>
                  <a:moveTo>
                    <a:pt x="2" y="2"/>
                  </a:moveTo>
                  <a:lnTo>
                    <a:pt x="2" y="62"/>
                  </a:lnTo>
                  <a:lnTo>
                    <a:pt x="0" y="68"/>
                  </a:lnTo>
                  <a:lnTo>
                    <a:pt x="2" y="74"/>
                  </a:lnTo>
                  <a:lnTo>
                    <a:pt x="2" y="108"/>
                  </a:lnTo>
                  <a:lnTo>
                    <a:pt x="2" y="108"/>
                  </a:lnTo>
                  <a:lnTo>
                    <a:pt x="16" y="108"/>
                  </a:lnTo>
                  <a:lnTo>
                    <a:pt x="16" y="108"/>
                  </a:lnTo>
                  <a:lnTo>
                    <a:pt x="20" y="106"/>
                  </a:lnTo>
                  <a:lnTo>
                    <a:pt x="20" y="106"/>
                  </a:lnTo>
                  <a:lnTo>
                    <a:pt x="22" y="106"/>
                  </a:lnTo>
                  <a:lnTo>
                    <a:pt x="22" y="108"/>
                  </a:lnTo>
                  <a:lnTo>
                    <a:pt x="22" y="108"/>
                  </a:lnTo>
                  <a:lnTo>
                    <a:pt x="26" y="108"/>
                  </a:lnTo>
                  <a:lnTo>
                    <a:pt x="30" y="108"/>
                  </a:lnTo>
                  <a:lnTo>
                    <a:pt x="36" y="104"/>
                  </a:lnTo>
                  <a:lnTo>
                    <a:pt x="36" y="102"/>
                  </a:lnTo>
                  <a:lnTo>
                    <a:pt x="36" y="102"/>
                  </a:lnTo>
                  <a:lnTo>
                    <a:pt x="38" y="100"/>
                  </a:lnTo>
                  <a:lnTo>
                    <a:pt x="38" y="100"/>
                  </a:lnTo>
                  <a:lnTo>
                    <a:pt x="38" y="98"/>
                  </a:lnTo>
                  <a:lnTo>
                    <a:pt x="38" y="94"/>
                  </a:lnTo>
                  <a:lnTo>
                    <a:pt x="38" y="94"/>
                  </a:lnTo>
                  <a:lnTo>
                    <a:pt x="40" y="88"/>
                  </a:lnTo>
                  <a:lnTo>
                    <a:pt x="40" y="88"/>
                  </a:lnTo>
                  <a:lnTo>
                    <a:pt x="42" y="88"/>
                  </a:lnTo>
                  <a:lnTo>
                    <a:pt x="42" y="90"/>
                  </a:lnTo>
                  <a:lnTo>
                    <a:pt x="42" y="90"/>
                  </a:lnTo>
                  <a:lnTo>
                    <a:pt x="44" y="90"/>
                  </a:lnTo>
                  <a:lnTo>
                    <a:pt x="44" y="90"/>
                  </a:lnTo>
                  <a:lnTo>
                    <a:pt x="46" y="90"/>
                  </a:lnTo>
                  <a:lnTo>
                    <a:pt x="48" y="88"/>
                  </a:lnTo>
                  <a:lnTo>
                    <a:pt x="48" y="88"/>
                  </a:lnTo>
                  <a:lnTo>
                    <a:pt x="54" y="92"/>
                  </a:lnTo>
                  <a:lnTo>
                    <a:pt x="54" y="92"/>
                  </a:lnTo>
                  <a:lnTo>
                    <a:pt x="60" y="92"/>
                  </a:lnTo>
                  <a:lnTo>
                    <a:pt x="68" y="94"/>
                  </a:lnTo>
                  <a:lnTo>
                    <a:pt x="68" y="94"/>
                  </a:lnTo>
                  <a:lnTo>
                    <a:pt x="76" y="102"/>
                  </a:lnTo>
                  <a:lnTo>
                    <a:pt x="76" y="102"/>
                  </a:lnTo>
                  <a:lnTo>
                    <a:pt x="76" y="106"/>
                  </a:lnTo>
                  <a:lnTo>
                    <a:pt x="76" y="108"/>
                  </a:lnTo>
                  <a:lnTo>
                    <a:pt x="78" y="108"/>
                  </a:lnTo>
                  <a:lnTo>
                    <a:pt x="80" y="110"/>
                  </a:lnTo>
                  <a:lnTo>
                    <a:pt x="80" y="110"/>
                  </a:lnTo>
                  <a:lnTo>
                    <a:pt x="82" y="112"/>
                  </a:lnTo>
                  <a:lnTo>
                    <a:pt x="82" y="114"/>
                  </a:lnTo>
                  <a:lnTo>
                    <a:pt x="84" y="114"/>
                  </a:lnTo>
                  <a:lnTo>
                    <a:pt x="86" y="114"/>
                  </a:lnTo>
                  <a:lnTo>
                    <a:pt x="86" y="114"/>
                  </a:lnTo>
                  <a:lnTo>
                    <a:pt x="86" y="118"/>
                  </a:lnTo>
                  <a:lnTo>
                    <a:pt x="86" y="118"/>
                  </a:lnTo>
                  <a:lnTo>
                    <a:pt x="90" y="120"/>
                  </a:lnTo>
                  <a:lnTo>
                    <a:pt x="92" y="122"/>
                  </a:lnTo>
                  <a:lnTo>
                    <a:pt x="92" y="122"/>
                  </a:lnTo>
                  <a:lnTo>
                    <a:pt x="92" y="126"/>
                  </a:lnTo>
                  <a:lnTo>
                    <a:pt x="92" y="126"/>
                  </a:lnTo>
                  <a:lnTo>
                    <a:pt x="96" y="126"/>
                  </a:lnTo>
                  <a:lnTo>
                    <a:pt x="98" y="126"/>
                  </a:lnTo>
                  <a:lnTo>
                    <a:pt x="98" y="126"/>
                  </a:lnTo>
                  <a:lnTo>
                    <a:pt x="102" y="130"/>
                  </a:lnTo>
                  <a:lnTo>
                    <a:pt x="102" y="130"/>
                  </a:lnTo>
                  <a:lnTo>
                    <a:pt x="104" y="128"/>
                  </a:lnTo>
                  <a:lnTo>
                    <a:pt x="106" y="128"/>
                  </a:lnTo>
                  <a:lnTo>
                    <a:pt x="108" y="130"/>
                  </a:lnTo>
                  <a:lnTo>
                    <a:pt x="108" y="130"/>
                  </a:lnTo>
                  <a:lnTo>
                    <a:pt x="112" y="130"/>
                  </a:lnTo>
                  <a:lnTo>
                    <a:pt x="118" y="132"/>
                  </a:lnTo>
                  <a:lnTo>
                    <a:pt x="118" y="132"/>
                  </a:lnTo>
                  <a:lnTo>
                    <a:pt x="120" y="134"/>
                  </a:lnTo>
                  <a:lnTo>
                    <a:pt x="120" y="134"/>
                  </a:lnTo>
                  <a:lnTo>
                    <a:pt x="124" y="136"/>
                  </a:lnTo>
                  <a:lnTo>
                    <a:pt x="128" y="136"/>
                  </a:lnTo>
                  <a:lnTo>
                    <a:pt x="128" y="136"/>
                  </a:lnTo>
                  <a:lnTo>
                    <a:pt x="128" y="130"/>
                  </a:lnTo>
                  <a:lnTo>
                    <a:pt x="128" y="130"/>
                  </a:lnTo>
                  <a:lnTo>
                    <a:pt x="126" y="128"/>
                  </a:lnTo>
                  <a:lnTo>
                    <a:pt x="122" y="128"/>
                  </a:lnTo>
                  <a:lnTo>
                    <a:pt x="122" y="128"/>
                  </a:lnTo>
                  <a:lnTo>
                    <a:pt x="120" y="126"/>
                  </a:lnTo>
                  <a:lnTo>
                    <a:pt x="120" y="126"/>
                  </a:lnTo>
                  <a:lnTo>
                    <a:pt x="122" y="120"/>
                  </a:lnTo>
                  <a:lnTo>
                    <a:pt x="122" y="120"/>
                  </a:lnTo>
                  <a:lnTo>
                    <a:pt x="118" y="118"/>
                  </a:lnTo>
                  <a:lnTo>
                    <a:pt x="118" y="118"/>
                  </a:lnTo>
                  <a:lnTo>
                    <a:pt x="116" y="120"/>
                  </a:lnTo>
                  <a:lnTo>
                    <a:pt x="114" y="120"/>
                  </a:lnTo>
                  <a:lnTo>
                    <a:pt x="114" y="120"/>
                  </a:lnTo>
                  <a:lnTo>
                    <a:pt x="112" y="114"/>
                  </a:lnTo>
                  <a:lnTo>
                    <a:pt x="112" y="110"/>
                  </a:lnTo>
                  <a:lnTo>
                    <a:pt x="112" y="110"/>
                  </a:lnTo>
                  <a:lnTo>
                    <a:pt x="104" y="108"/>
                  </a:lnTo>
                  <a:lnTo>
                    <a:pt x="104" y="108"/>
                  </a:lnTo>
                  <a:lnTo>
                    <a:pt x="104" y="102"/>
                  </a:lnTo>
                  <a:lnTo>
                    <a:pt x="104" y="102"/>
                  </a:lnTo>
                  <a:lnTo>
                    <a:pt x="100" y="100"/>
                  </a:lnTo>
                  <a:lnTo>
                    <a:pt x="100" y="100"/>
                  </a:lnTo>
                  <a:lnTo>
                    <a:pt x="100" y="96"/>
                  </a:lnTo>
                  <a:lnTo>
                    <a:pt x="100" y="96"/>
                  </a:lnTo>
                  <a:lnTo>
                    <a:pt x="98" y="94"/>
                  </a:lnTo>
                  <a:lnTo>
                    <a:pt x="94" y="94"/>
                  </a:lnTo>
                  <a:lnTo>
                    <a:pt x="94" y="94"/>
                  </a:lnTo>
                  <a:lnTo>
                    <a:pt x="90" y="90"/>
                  </a:lnTo>
                  <a:lnTo>
                    <a:pt x="88" y="86"/>
                  </a:lnTo>
                  <a:lnTo>
                    <a:pt x="88" y="76"/>
                  </a:lnTo>
                  <a:lnTo>
                    <a:pt x="88" y="76"/>
                  </a:lnTo>
                  <a:lnTo>
                    <a:pt x="86" y="76"/>
                  </a:lnTo>
                  <a:lnTo>
                    <a:pt x="86" y="74"/>
                  </a:lnTo>
                  <a:lnTo>
                    <a:pt x="86" y="72"/>
                  </a:lnTo>
                  <a:lnTo>
                    <a:pt x="86" y="72"/>
                  </a:lnTo>
                  <a:lnTo>
                    <a:pt x="88" y="72"/>
                  </a:lnTo>
                  <a:lnTo>
                    <a:pt x="92" y="72"/>
                  </a:lnTo>
                  <a:lnTo>
                    <a:pt x="94" y="70"/>
                  </a:lnTo>
                  <a:lnTo>
                    <a:pt x="96" y="68"/>
                  </a:lnTo>
                  <a:lnTo>
                    <a:pt x="96" y="68"/>
                  </a:lnTo>
                  <a:lnTo>
                    <a:pt x="96" y="62"/>
                  </a:lnTo>
                  <a:lnTo>
                    <a:pt x="96" y="62"/>
                  </a:lnTo>
                  <a:lnTo>
                    <a:pt x="94" y="62"/>
                  </a:lnTo>
                  <a:lnTo>
                    <a:pt x="94" y="62"/>
                  </a:lnTo>
                  <a:lnTo>
                    <a:pt x="92" y="58"/>
                  </a:lnTo>
                  <a:lnTo>
                    <a:pt x="92" y="58"/>
                  </a:lnTo>
                  <a:lnTo>
                    <a:pt x="88" y="56"/>
                  </a:lnTo>
                  <a:lnTo>
                    <a:pt x="88" y="56"/>
                  </a:lnTo>
                  <a:lnTo>
                    <a:pt x="86" y="58"/>
                  </a:lnTo>
                  <a:lnTo>
                    <a:pt x="86" y="58"/>
                  </a:lnTo>
                  <a:lnTo>
                    <a:pt x="84" y="58"/>
                  </a:lnTo>
                  <a:lnTo>
                    <a:pt x="84" y="58"/>
                  </a:lnTo>
                  <a:lnTo>
                    <a:pt x="82" y="52"/>
                  </a:lnTo>
                  <a:lnTo>
                    <a:pt x="80" y="52"/>
                  </a:lnTo>
                  <a:lnTo>
                    <a:pt x="80" y="52"/>
                  </a:lnTo>
                  <a:lnTo>
                    <a:pt x="80" y="48"/>
                  </a:lnTo>
                  <a:lnTo>
                    <a:pt x="80" y="48"/>
                  </a:lnTo>
                  <a:lnTo>
                    <a:pt x="72" y="48"/>
                  </a:lnTo>
                  <a:lnTo>
                    <a:pt x="70" y="48"/>
                  </a:lnTo>
                  <a:lnTo>
                    <a:pt x="66" y="46"/>
                  </a:lnTo>
                  <a:lnTo>
                    <a:pt x="66" y="46"/>
                  </a:lnTo>
                  <a:lnTo>
                    <a:pt x="66" y="44"/>
                  </a:lnTo>
                  <a:lnTo>
                    <a:pt x="68" y="40"/>
                  </a:lnTo>
                  <a:lnTo>
                    <a:pt x="68" y="40"/>
                  </a:lnTo>
                  <a:lnTo>
                    <a:pt x="64" y="34"/>
                  </a:lnTo>
                  <a:lnTo>
                    <a:pt x="58" y="28"/>
                  </a:lnTo>
                  <a:lnTo>
                    <a:pt x="58" y="28"/>
                  </a:lnTo>
                  <a:lnTo>
                    <a:pt x="56" y="28"/>
                  </a:lnTo>
                  <a:lnTo>
                    <a:pt x="52" y="28"/>
                  </a:lnTo>
                  <a:lnTo>
                    <a:pt x="52" y="28"/>
                  </a:lnTo>
                  <a:lnTo>
                    <a:pt x="50" y="24"/>
                  </a:lnTo>
                  <a:lnTo>
                    <a:pt x="46" y="20"/>
                  </a:lnTo>
                  <a:lnTo>
                    <a:pt x="46" y="20"/>
                  </a:lnTo>
                  <a:lnTo>
                    <a:pt x="40" y="20"/>
                  </a:lnTo>
                  <a:lnTo>
                    <a:pt x="40" y="20"/>
                  </a:lnTo>
                  <a:lnTo>
                    <a:pt x="36" y="16"/>
                  </a:lnTo>
                  <a:lnTo>
                    <a:pt x="36" y="16"/>
                  </a:lnTo>
                  <a:lnTo>
                    <a:pt x="30" y="16"/>
                  </a:lnTo>
                  <a:lnTo>
                    <a:pt x="30" y="16"/>
                  </a:lnTo>
                  <a:lnTo>
                    <a:pt x="26" y="12"/>
                  </a:lnTo>
                  <a:lnTo>
                    <a:pt x="26" y="12"/>
                  </a:lnTo>
                  <a:lnTo>
                    <a:pt x="20" y="12"/>
                  </a:lnTo>
                  <a:lnTo>
                    <a:pt x="14" y="10"/>
                  </a:lnTo>
                  <a:lnTo>
                    <a:pt x="14" y="10"/>
                  </a:lnTo>
                  <a:lnTo>
                    <a:pt x="4" y="2"/>
                  </a:lnTo>
                  <a:lnTo>
                    <a:pt x="4" y="0"/>
                  </a:lnTo>
                  <a:lnTo>
                    <a:pt x="4" y="0"/>
                  </a:lnTo>
                  <a:lnTo>
                    <a:pt x="2" y="0"/>
                  </a:lnTo>
                  <a:lnTo>
                    <a:pt x="2" y="2"/>
                  </a:lnTo>
                  <a:lnTo>
                    <a:pt x="2" y="2"/>
                  </a:lnTo>
                  <a:close/>
                  <a:moveTo>
                    <a:pt x="150" y="30"/>
                  </a:moveTo>
                  <a:lnTo>
                    <a:pt x="150" y="30"/>
                  </a:lnTo>
                  <a:lnTo>
                    <a:pt x="146" y="32"/>
                  </a:lnTo>
                  <a:lnTo>
                    <a:pt x="146" y="34"/>
                  </a:lnTo>
                  <a:lnTo>
                    <a:pt x="148" y="34"/>
                  </a:lnTo>
                  <a:lnTo>
                    <a:pt x="148" y="38"/>
                  </a:lnTo>
                  <a:lnTo>
                    <a:pt x="148" y="38"/>
                  </a:lnTo>
                  <a:lnTo>
                    <a:pt x="144" y="38"/>
                  </a:lnTo>
                  <a:lnTo>
                    <a:pt x="142" y="40"/>
                  </a:lnTo>
                  <a:lnTo>
                    <a:pt x="142" y="40"/>
                  </a:lnTo>
                  <a:lnTo>
                    <a:pt x="142" y="42"/>
                  </a:lnTo>
                  <a:lnTo>
                    <a:pt x="142" y="42"/>
                  </a:lnTo>
                  <a:lnTo>
                    <a:pt x="140" y="46"/>
                  </a:lnTo>
                  <a:lnTo>
                    <a:pt x="138" y="48"/>
                  </a:lnTo>
                  <a:lnTo>
                    <a:pt x="130" y="48"/>
                  </a:lnTo>
                  <a:lnTo>
                    <a:pt x="130" y="48"/>
                  </a:lnTo>
                  <a:lnTo>
                    <a:pt x="128" y="44"/>
                  </a:lnTo>
                  <a:lnTo>
                    <a:pt x="128" y="44"/>
                  </a:lnTo>
                  <a:lnTo>
                    <a:pt x="122" y="50"/>
                  </a:lnTo>
                  <a:lnTo>
                    <a:pt x="120" y="52"/>
                  </a:lnTo>
                  <a:lnTo>
                    <a:pt x="114" y="52"/>
                  </a:lnTo>
                  <a:lnTo>
                    <a:pt x="114" y="52"/>
                  </a:lnTo>
                  <a:lnTo>
                    <a:pt x="112" y="52"/>
                  </a:lnTo>
                  <a:lnTo>
                    <a:pt x="108" y="50"/>
                  </a:lnTo>
                  <a:lnTo>
                    <a:pt x="108" y="50"/>
                  </a:lnTo>
                  <a:lnTo>
                    <a:pt x="106" y="54"/>
                  </a:lnTo>
                  <a:lnTo>
                    <a:pt x="106" y="54"/>
                  </a:lnTo>
                  <a:lnTo>
                    <a:pt x="112" y="58"/>
                  </a:lnTo>
                  <a:lnTo>
                    <a:pt x="112" y="58"/>
                  </a:lnTo>
                  <a:lnTo>
                    <a:pt x="114" y="60"/>
                  </a:lnTo>
                  <a:lnTo>
                    <a:pt x="114" y="60"/>
                  </a:lnTo>
                  <a:lnTo>
                    <a:pt x="120" y="60"/>
                  </a:lnTo>
                  <a:lnTo>
                    <a:pt x="126" y="60"/>
                  </a:lnTo>
                  <a:lnTo>
                    <a:pt x="126" y="60"/>
                  </a:lnTo>
                  <a:lnTo>
                    <a:pt x="132" y="60"/>
                  </a:lnTo>
                  <a:lnTo>
                    <a:pt x="138" y="58"/>
                  </a:lnTo>
                  <a:lnTo>
                    <a:pt x="138" y="58"/>
                  </a:lnTo>
                  <a:lnTo>
                    <a:pt x="142" y="54"/>
                  </a:lnTo>
                  <a:lnTo>
                    <a:pt x="142" y="54"/>
                  </a:lnTo>
                  <a:lnTo>
                    <a:pt x="144" y="54"/>
                  </a:lnTo>
                  <a:lnTo>
                    <a:pt x="146" y="52"/>
                  </a:lnTo>
                  <a:lnTo>
                    <a:pt x="146" y="52"/>
                  </a:lnTo>
                  <a:lnTo>
                    <a:pt x="146" y="50"/>
                  </a:lnTo>
                  <a:lnTo>
                    <a:pt x="146" y="48"/>
                  </a:lnTo>
                  <a:lnTo>
                    <a:pt x="146" y="48"/>
                  </a:lnTo>
                  <a:lnTo>
                    <a:pt x="150" y="48"/>
                  </a:lnTo>
                  <a:lnTo>
                    <a:pt x="152" y="46"/>
                  </a:lnTo>
                  <a:lnTo>
                    <a:pt x="152" y="46"/>
                  </a:lnTo>
                  <a:lnTo>
                    <a:pt x="154" y="44"/>
                  </a:lnTo>
                  <a:lnTo>
                    <a:pt x="152" y="40"/>
                  </a:lnTo>
                  <a:lnTo>
                    <a:pt x="152" y="40"/>
                  </a:lnTo>
                  <a:lnTo>
                    <a:pt x="156" y="40"/>
                  </a:lnTo>
                  <a:lnTo>
                    <a:pt x="156" y="40"/>
                  </a:lnTo>
                  <a:lnTo>
                    <a:pt x="156" y="38"/>
                  </a:lnTo>
                  <a:lnTo>
                    <a:pt x="156" y="36"/>
                  </a:lnTo>
                  <a:lnTo>
                    <a:pt x="156" y="36"/>
                  </a:lnTo>
                  <a:lnTo>
                    <a:pt x="156" y="32"/>
                  </a:lnTo>
                  <a:lnTo>
                    <a:pt x="154" y="32"/>
                  </a:lnTo>
                  <a:lnTo>
                    <a:pt x="154" y="32"/>
                  </a:lnTo>
                  <a:lnTo>
                    <a:pt x="154" y="30"/>
                  </a:lnTo>
                  <a:lnTo>
                    <a:pt x="154" y="30"/>
                  </a:lnTo>
                  <a:lnTo>
                    <a:pt x="150" y="30"/>
                  </a:lnTo>
                  <a:lnTo>
                    <a:pt x="150" y="30"/>
                  </a:lnTo>
                  <a:close/>
                  <a:moveTo>
                    <a:pt x="152" y="16"/>
                  </a:moveTo>
                  <a:lnTo>
                    <a:pt x="152" y="16"/>
                  </a:lnTo>
                  <a:lnTo>
                    <a:pt x="152" y="20"/>
                  </a:lnTo>
                  <a:lnTo>
                    <a:pt x="152" y="20"/>
                  </a:lnTo>
                  <a:lnTo>
                    <a:pt x="156" y="24"/>
                  </a:lnTo>
                  <a:lnTo>
                    <a:pt x="158" y="26"/>
                  </a:lnTo>
                  <a:lnTo>
                    <a:pt x="158" y="26"/>
                  </a:lnTo>
                  <a:lnTo>
                    <a:pt x="158" y="30"/>
                  </a:lnTo>
                  <a:lnTo>
                    <a:pt x="158" y="32"/>
                  </a:lnTo>
                  <a:lnTo>
                    <a:pt x="158" y="34"/>
                  </a:lnTo>
                  <a:lnTo>
                    <a:pt x="160" y="36"/>
                  </a:lnTo>
                  <a:lnTo>
                    <a:pt x="162" y="36"/>
                  </a:lnTo>
                  <a:lnTo>
                    <a:pt x="162" y="36"/>
                  </a:lnTo>
                  <a:lnTo>
                    <a:pt x="162" y="34"/>
                  </a:lnTo>
                  <a:lnTo>
                    <a:pt x="162" y="34"/>
                  </a:lnTo>
                  <a:lnTo>
                    <a:pt x="164" y="28"/>
                  </a:lnTo>
                  <a:lnTo>
                    <a:pt x="160" y="22"/>
                  </a:lnTo>
                  <a:lnTo>
                    <a:pt x="152" y="16"/>
                  </a:lnTo>
                  <a:lnTo>
                    <a:pt x="152" y="16"/>
                  </a:lnTo>
                  <a:close/>
                  <a:moveTo>
                    <a:pt x="136" y="6"/>
                  </a:moveTo>
                  <a:lnTo>
                    <a:pt x="136" y="6"/>
                  </a:lnTo>
                  <a:lnTo>
                    <a:pt x="136" y="10"/>
                  </a:lnTo>
                  <a:lnTo>
                    <a:pt x="136" y="10"/>
                  </a:lnTo>
                  <a:lnTo>
                    <a:pt x="146" y="14"/>
                  </a:lnTo>
                  <a:lnTo>
                    <a:pt x="146" y="14"/>
                  </a:lnTo>
                  <a:lnTo>
                    <a:pt x="148" y="16"/>
                  </a:lnTo>
                  <a:lnTo>
                    <a:pt x="150" y="16"/>
                  </a:lnTo>
                  <a:lnTo>
                    <a:pt x="150" y="16"/>
                  </a:lnTo>
                  <a:lnTo>
                    <a:pt x="150" y="12"/>
                  </a:lnTo>
                  <a:lnTo>
                    <a:pt x="150" y="12"/>
                  </a:lnTo>
                  <a:lnTo>
                    <a:pt x="136" y="6"/>
                  </a:lnTo>
                  <a:lnTo>
                    <a:pt x="136" y="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6" name="Freeform 112"/>
            <p:cNvSpPr>
              <a:spLocks noChangeAspect="1"/>
            </p:cNvSpPr>
            <p:nvPr/>
          </p:nvSpPr>
          <p:spPr bwMode="gray">
            <a:xfrm>
              <a:off x="2396879" y="4161125"/>
              <a:ext cx="136009" cy="72379"/>
            </a:xfrm>
            <a:custGeom>
              <a:avLst/>
              <a:gdLst/>
              <a:ahLst/>
              <a:cxnLst>
                <a:cxn ang="0">
                  <a:pos x="78" y="20"/>
                </a:cxn>
                <a:cxn ang="0">
                  <a:pos x="72" y="18"/>
                </a:cxn>
                <a:cxn ang="0">
                  <a:pos x="64" y="10"/>
                </a:cxn>
                <a:cxn ang="0">
                  <a:pos x="66" y="4"/>
                </a:cxn>
                <a:cxn ang="0">
                  <a:pos x="64" y="6"/>
                </a:cxn>
                <a:cxn ang="0">
                  <a:pos x="64" y="6"/>
                </a:cxn>
                <a:cxn ang="0">
                  <a:pos x="64" y="2"/>
                </a:cxn>
                <a:cxn ang="0">
                  <a:pos x="48" y="0"/>
                </a:cxn>
                <a:cxn ang="0">
                  <a:pos x="46" y="4"/>
                </a:cxn>
                <a:cxn ang="0">
                  <a:pos x="40" y="6"/>
                </a:cxn>
                <a:cxn ang="0">
                  <a:pos x="34" y="8"/>
                </a:cxn>
                <a:cxn ang="0">
                  <a:pos x="26" y="12"/>
                </a:cxn>
                <a:cxn ang="0">
                  <a:pos x="24" y="12"/>
                </a:cxn>
                <a:cxn ang="0">
                  <a:pos x="18" y="8"/>
                </a:cxn>
                <a:cxn ang="0">
                  <a:pos x="12" y="10"/>
                </a:cxn>
                <a:cxn ang="0">
                  <a:pos x="10" y="6"/>
                </a:cxn>
                <a:cxn ang="0">
                  <a:pos x="10" y="0"/>
                </a:cxn>
                <a:cxn ang="0">
                  <a:pos x="2" y="0"/>
                </a:cxn>
                <a:cxn ang="0">
                  <a:pos x="2" y="2"/>
                </a:cxn>
                <a:cxn ang="0">
                  <a:pos x="2" y="6"/>
                </a:cxn>
                <a:cxn ang="0">
                  <a:pos x="2" y="12"/>
                </a:cxn>
                <a:cxn ang="0">
                  <a:pos x="4" y="16"/>
                </a:cxn>
                <a:cxn ang="0">
                  <a:pos x="2" y="22"/>
                </a:cxn>
                <a:cxn ang="0">
                  <a:pos x="6" y="20"/>
                </a:cxn>
                <a:cxn ang="0">
                  <a:pos x="6" y="20"/>
                </a:cxn>
                <a:cxn ang="0">
                  <a:pos x="10" y="20"/>
                </a:cxn>
                <a:cxn ang="0">
                  <a:pos x="10" y="22"/>
                </a:cxn>
                <a:cxn ang="0">
                  <a:pos x="18" y="22"/>
                </a:cxn>
                <a:cxn ang="0">
                  <a:pos x="22" y="30"/>
                </a:cxn>
                <a:cxn ang="0">
                  <a:pos x="28" y="30"/>
                </a:cxn>
                <a:cxn ang="0">
                  <a:pos x="32" y="38"/>
                </a:cxn>
                <a:cxn ang="0">
                  <a:pos x="36" y="36"/>
                </a:cxn>
                <a:cxn ang="0">
                  <a:pos x="38" y="32"/>
                </a:cxn>
                <a:cxn ang="0">
                  <a:pos x="42" y="32"/>
                </a:cxn>
                <a:cxn ang="0">
                  <a:pos x="42" y="28"/>
                </a:cxn>
                <a:cxn ang="0">
                  <a:pos x="38" y="24"/>
                </a:cxn>
                <a:cxn ang="0">
                  <a:pos x="36" y="24"/>
                </a:cxn>
                <a:cxn ang="0">
                  <a:pos x="34" y="22"/>
                </a:cxn>
                <a:cxn ang="0">
                  <a:pos x="42" y="20"/>
                </a:cxn>
                <a:cxn ang="0">
                  <a:pos x="50" y="10"/>
                </a:cxn>
                <a:cxn ang="0">
                  <a:pos x="54" y="12"/>
                </a:cxn>
                <a:cxn ang="0">
                  <a:pos x="58" y="18"/>
                </a:cxn>
                <a:cxn ang="0">
                  <a:pos x="60" y="24"/>
                </a:cxn>
                <a:cxn ang="0">
                  <a:pos x="68" y="22"/>
                </a:cxn>
                <a:cxn ang="0">
                  <a:pos x="68" y="26"/>
                </a:cxn>
                <a:cxn ang="0">
                  <a:pos x="64" y="30"/>
                </a:cxn>
                <a:cxn ang="0">
                  <a:pos x="62" y="36"/>
                </a:cxn>
                <a:cxn ang="0">
                  <a:pos x="68" y="42"/>
                </a:cxn>
                <a:cxn ang="0">
                  <a:pos x="74" y="44"/>
                </a:cxn>
                <a:cxn ang="0">
                  <a:pos x="76" y="40"/>
                </a:cxn>
                <a:cxn ang="0">
                  <a:pos x="80" y="32"/>
                </a:cxn>
                <a:cxn ang="0">
                  <a:pos x="78" y="28"/>
                </a:cxn>
                <a:cxn ang="0">
                  <a:pos x="78" y="20"/>
                </a:cxn>
              </a:cxnLst>
              <a:rect l="0" t="0" r="r" b="b"/>
              <a:pathLst>
                <a:path w="80" h="44">
                  <a:moveTo>
                    <a:pt x="78" y="20"/>
                  </a:moveTo>
                  <a:lnTo>
                    <a:pt x="78" y="20"/>
                  </a:lnTo>
                  <a:lnTo>
                    <a:pt x="72" y="18"/>
                  </a:lnTo>
                  <a:lnTo>
                    <a:pt x="72" y="18"/>
                  </a:lnTo>
                  <a:lnTo>
                    <a:pt x="72" y="14"/>
                  </a:lnTo>
                  <a:lnTo>
                    <a:pt x="64" y="10"/>
                  </a:lnTo>
                  <a:lnTo>
                    <a:pt x="64" y="10"/>
                  </a:lnTo>
                  <a:lnTo>
                    <a:pt x="66" y="4"/>
                  </a:lnTo>
                  <a:lnTo>
                    <a:pt x="66" y="4"/>
                  </a:lnTo>
                  <a:lnTo>
                    <a:pt x="64" y="6"/>
                  </a:lnTo>
                  <a:lnTo>
                    <a:pt x="64" y="6"/>
                  </a:lnTo>
                  <a:lnTo>
                    <a:pt x="64" y="6"/>
                  </a:lnTo>
                  <a:lnTo>
                    <a:pt x="64" y="2"/>
                  </a:lnTo>
                  <a:lnTo>
                    <a:pt x="64" y="2"/>
                  </a:lnTo>
                  <a:lnTo>
                    <a:pt x="56" y="0"/>
                  </a:lnTo>
                  <a:lnTo>
                    <a:pt x="48" y="0"/>
                  </a:lnTo>
                  <a:lnTo>
                    <a:pt x="48" y="0"/>
                  </a:lnTo>
                  <a:lnTo>
                    <a:pt x="46" y="4"/>
                  </a:lnTo>
                  <a:lnTo>
                    <a:pt x="46" y="4"/>
                  </a:lnTo>
                  <a:lnTo>
                    <a:pt x="40" y="6"/>
                  </a:lnTo>
                  <a:lnTo>
                    <a:pt x="34" y="8"/>
                  </a:lnTo>
                  <a:lnTo>
                    <a:pt x="34" y="8"/>
                  </a:lnTo>
                  <a:lnTo>
                    <a:pt x="30" y="10"/>
                  </a:lnTo>
                  <a:lnTo>
                    <a:pt x="26" y="12"/>
                  </a:lnTo>
                  <a:lnTo>
                    <a:pt x="26" y="12"/>
                  </a:lnTo>
                  <a:lnTo>
                    <a:pt x="24" y="12"/>
                  </a:lnTo>
                  <a:lnTo>
                    <a:pt x="22" y="10"/>
                  </a:lnTo>
                  <a:lnTo>
                    <a:pt x="18" y="8"/>
                  </a:lnTo>
                  <a:lnTo>
                    <a:pt x="12" y="10"/>
                  </a:lnTo>
                  <a:lnTo>
                    <a:pt x="12" y="10"/>
                  </a:lnTo>
                  <a:lnTo>
                    <a:pt x="10" y="6"/>
                  </a:lnTo>
                  <a:lnTo>
                    <a:pt x="10" y="6"/>
                  </a:lnTo>
                  <a:lnTo>
                    <a:pt x="10" y="4"/>
                  </a:lnTo>
                  <a:lnTo>
                    <a:pt x="10" y="0"/>
                  </a:lnTo>
                  <a:lnTo>
                    <a:pt x="4" y="0"/>
                  </a:lnTo>
                  <a:lnTo>
                    <a:pt x="2" y="0"/>
                  </a:lnTo>
                  <a:lnTo>
                    <a:pt x="2" y="0"/>
                  </a:lnTo>
                  <a:lnTo>
                    <a:pt x="2" y="2"/>
                  </a:lnTo>
                  <a:lnTo>
                    <a:pt x="2" y="6"/>
                  </a:lnTo>
                  <a:lnTo>
                    <a:pt x="2" y="6"/>
                  </a:lnTo>
                  <a:lnTo>
                    <a:pt x="0" y="10"/>
                  </a:lnTo>
                  <a:lnTo>
                    <a:pt x="2" y="12"/>
                  </a:lnTo>
                  <a:lnTo>
                    <a:pt x="4" y="14"/>
                  </a:lnTo>
                  <a:lnTo>
                    <a:pt x="4" y="16"/>
                  </a:lnTo>
                  <a:lnTo>
                    <a:pt x="4" y="16"/>
                  </a:lnTo>
                  <a:lnTo>
                    <a:pt x="2" y="22"/>
                  </a:lnTo>
                  <a:lnTo>
                    <a:pt x="2" y="22"/>
                  </a:lnTo>
                  <a:lnTo>
                    <a:pt x="6" y="20"/>
                  </a:lnTo>
                  <a:lnTo>
                    <a:pt x="6" y="20"/>
                  </a:lnTo>
                  <a:lnTo>
                    <a:pt x="6" y="20"/>
                  </a:lnTo>
                  <a:lnTo>
                    <a:pt x="10" y="20"/>
                  </a:lnTo>
                  <a:lnTo>
                    <a:pt x="10" y="20"/>
                  </a:lnTo>
                  <a:lnTo>
                    <a:pt x="10" y="22"/>
                  </a:lnTo>
                  <a:lnTo>
                    <a:pt x="10" y="22"/>
                  </a:lnTo>
                  <a:lnTo>
                    <a:pt x="16" y="22"/>
                  </a:lnTo>
                  <a:lnTo>
                    <a:pt x="18" y="22"/>
                  </a:lnTo>
                  <a:lnTo>
                    <a:pt x="18" y="22"/>
                  </a:lnTo>
                  <a:lnTo>
                    <a:pt x="22" y="30"/>
                  </a:lnTo>
                  <a:lnTo>
                    <a:pt x="22" y="30"/>
                  </a:lnTo>
                  <a:lnTo>
                    <a:pt x="28" y="30"/>
                  </a:lnTo>
                  <a:lnTo>
                    <a:pt x="32" y="38"/>
                  </a:lnTo>
                  <a:lnTo>
                    <a:pt x="32" y="38"/>
                  </a:lnTo>
                  <a:lnTo>
                    <a:pt x="36" y="36"/>
                  </a:lnTo>
                  <a:lnTo>
                    <a:pt x="36" y="36"/>
                  </a:lnTo>
                  <a:lnTo>
                    <a:pt x="38" y="32"/>
                  </a:lnTo>
                  <a:lnTo>
                    <a:pt x="38" y="32"/>
                  </a:lnTo>
                  <a:lnTo>
                    <a:pt x="42" y="32"/>
                  </a:lnTo>
                  <a:lnTo>
                    <a:pt x="42" y="32"/>
                  </a:lnTo>
                  <a:lnTo>
                    <a:pt x="42" y="28"/>
                  </a:lnTo>
                  <a:lnTo>
                    <a:pt x="42" y="28"/>
                  </a:lnTo>
                  <a:lnTo>
                    <a:pt x="38" y="24"/>
                  </a:lnTo>
                  <a:lnTo>
                    <a:pt x="38" y="24"/>
                  </a:lnTo>
                  <a:lnTo>
                    <a:pt x="36" y="24"/>
                  </a:lnTo>
                  <a:lnTo>
                    <a:pt x="36" y="24"/>
                  </a:lnTo>
                  <a:lnTo>
                    <a:pt x="34" y="22"/>
                  </a:lnTo>
                  <a:lnTo>
                    <a:pt x="34" y="22"/>
                  </a:lnTo>
                  <a:lnTo>
                    <a:pt x="42" y="20"/>
                  </a:lnTo>
                  <a:lnTo>
                    <a:pt x="42" y="20"/>
                  </a:lnTo>
                  <a:lnTo>
                    <a:pt x="46" y="16"/>
                  </a:lnTo>
                  <a:lnTo>
                    <a:pt x="50" y="10"/>
                  </a:lnTo>
                  <a:lnTo>
                    <a:pt x="50" y="10"/>
                  </a:lnTo>
                  <a:lnTo>
                    <a:pt x="54" y="12"/>
                  </a:lnTo>
                  <a:lnTo>
                    <a:pt x="54" y="12"/>
                  </a:lnTo>
                  <a:lnTo>
                    <a:pt x="58" y="18"/>
                  </a:lnTo>
                  <a:lnTo>
                    <a:pt x="60" y="24"/>
                  </a:lnTo>
                  <a:lnTo>
                    <a:pt x="60" y="24"/>
                  </a:lnTo>
                  <a:lnTo>
                    <a:pt x="68" y="22"/>
                  </a:lnTo>
                  <a:lnTo>
                    <a:pt x="68" y="22"/>
                  </a:lnTo>
                  <a:lnTo>
                    <a:pt x="68" y="26"/>
                  </a:lnTo>
                  <a:lnTo>
                    <a:pt x="68" y="26"/>
                  </a:lnTo>
                  <a:lnTo>
                    <a:pt x="66" y="28"/>
                  </a:lnTo>
                  <a:lnTo>
                    <a:pt x="64" y="30"/>
                  </a:lnTo>
                  <a:lnTo>
                    <a:pt x="64" y="30"/>
                  </a:lnTo>
                  <a:lnTo>
                    <a:pt x="62" y="36"/>
                  </a:lnTo>
                  <a:lnTo>
                    <a:pt x="64" y="40"/>
                  </a:lnTo>
                  <a:lnTo>
                    <a:pt x="68" y="42"/>
                  </a:lnTo>
                  <a:lnTo>
                    <a:pt x="74" y="44"/>
                  </a:lnTo>
                  <a:lnTo>
                    <a:pt x="74" y="44"/>
                  </a:lnTo>
                  <a:lnTo>
                    <a:pt x="76" y="40"/>
                  </a:lnTo>
                  <a:lnTo>
                    <a:pt x="76" y="40"/>
                  </a:lnTo>
                  <a:lnTo>
                    <a:pt x="78" y="38"/>
                  </a:lnTo>
                  <a:lnTo>
                    <a:pt x="80" y="32"/>
                  </a:lnTo>
                  <a:lnTo>
                    <a:pt x="80" y="32"/>
                  </a:lnTo>
                  <a:lnTo>
                    <a:pt x="78" y="28"/>
                  </a:lnTo>
                  <a:lnTo>
                    <a:pt x="76" y="26"/>
                  </a:lnTo>
                  <a:lnTo>
                    <a:pt x="78" y="2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7" name="Freeform 113"/>
            <p:cNvSpPr>
              <a:spLocks noChangeAspect="1"/>
            </p:cNvSpPr>
            <p:nvPr/>
          </p:nvSpPr>
          <p:spPr bwMode="gray">
            <a:xfrm>
              <a:off x="5683202" y="3394569"/>
              <a:ext cx="350224" cy="378343"/>
            </a:xfrm>
            <a:custGeom>
              <a:avLst/>
              <a:gdLst/>
              <a:ahLst/>
              <a:cxnLst>
                <a:cxn ang="0">
                  <a:pos x="198" y="32"/>
                </a:cxn>
                <a:cxn ang="0">
                  <a:pos x="178" y="42"/>
                </a:cxn>
                <a:cxn ang="0">
                  <a:pos x="168" y="52"/>
                </a:cxn>
                <a:cxn ang="0">
                  <a:pos x="152" y="54"/>
                </a:cxn>
                <a:cxn ang="0">
                  <a:pos x="160" y="78"/>
                </a:cxn>
                <a:cxn ang="0">
                  <a:pos x="172" y="90"/>
                </a:cxn>
                <a:cxn ang="0">
                  <a:pos x="164" y="110"/>
                </a:cxn>
                <a:cxn ang="0">
                  <a:pos x="156" y="132"/>
                </a:cxn>
                <a:cxn ang="0">
                  <a:pos x="140" y="146"/>
                </a:cxn>
                <a:cxn ang="0">
                  <a:pos x="122" y="164"/>
                </a:cxn>
                <a:cxn ang="0">
                  <a:pos x="112" y="172"/>
                </a:cxn>
                <a:cxn ang="0">
                  <a:pos x="114" y="186"/>
                </a:cxn>
                <a:cxn ang="0">
                  <a:pos x="118" y="200"/>
                </a:cxn>
                <a:cxn ang="0">
                  <a:pos x="116" y="220"/>
                </a:cxn>
                <a:cxn ang="0">
                  <a:pos x="98" y="224"/>
                </a:cxn>
                <a:cxn ang="0">
                  <a:pos x="90" y="226"/>
                </a:cxn>
                <a:cxn ang="0">
                  <a:pos x="88" y="226"/>
                </a:cxn>
                <a:cxn ang="0">
                  <a:pos x="82" y="222"/>
                </a:cxn>
                <a:cxn ang="0">
                  <a:pos x="80" y="216"/>
                </a:cxn>
                <a:cxn ang="0">
                  <a:pos x="70" y="212"/>
                </a:cxn>
                <a:cxn ang="0">
                  <a:pos x="68" y="204"/>
                </a:cxn>
                <a:cxn ang="0">
                  <a:pos x="68" y="198"/>
                </a:cxn>
                <a:cxn ang="0">
                  <a:pos x="56" y="200"/>
                </a:cxn>
                <a:cxn ang="0">
                  <a:pos x="44" y="204"/>
                </a:cxn>
                <a:cxn ang="0">
                  <a:pos x="28" y="204"/>
                </a:cxn>
                <a:cxn ang="0">
                  <a:pos x="20" y="206"/>
                </a:cxn>
                <a:cxn ang="0">
                  <a:pos x="12" y="206"/>
                </a:cxn>
                <a:cxn ang="0">
                  <a:pos x="6" y="206"/>
                </a:cxn>
                <a:cxn ang="0">
                  <a:pos x="0" y="208"/>
                </a:cxn>
                <a:cxn ang="0">
                  <a:pos x="18" y="178"/>
                </a:cxn>
                <a:cxn ang="0">
                  <a:pos x="32" y="166"/>
                </a:cxn>
                <a:cxn ang="0">
                  <a:pos x="22" y="150"/>
                </a:cxn>
                <a:cxn ang="0">
                  <a:pos x="8" y="134"/>
                </a:cxn>
                <a:cxn ang="0">
                  <a:pos x="18" y="124"/>
                </a:cxn>
                <a:cxn ang="0">
                  <a:pos x="40" y="122"/>
                </a:cxn>
                <a:cxn ang="0">
                  <a:pos x="56" y="118"/>
                </a:cxn>
                <a:cxn ang="0">
                  <a:pos x="66" y="102"/>
                </a:cxn>
                <a:cxn ang="0">
                  <a:pos x="82" y="90"/>
                </a:cxn>
                <a:cxn ang="0">
                  <a:pos x="86" y="76"/>
                </a:cxn>
                <a:cxn ang="0">
                  <a:pos x="98" y="78"/>
                </a:cxn>
                <a:cxn ang="0">
                  <a:pos x="104" y="64"/>
                </a:cxn>
                <a:cxn ang="0">
                  <a:pos x="106" y="48"/>
                </a:cxn>
                <a:cxn ang="0">
                  <a:pos x="120" y="42"/>
                </a:cxn>
                <a:cxn ang="0">
                  <a:pos x="124" y="26"/>
                </a:cxn>
                <a:cxn ang="0">
                  <a:pos x="148" y="6"/>
                </a:cxn>
                <a:cxn ang="0">
                  <a:pos x="170" y="4"/>
                </a:cxn>
                <a:cxn ang="0">
                  <a:pos x="196" y="10"/>
                </a:cxn>
              </a:cxnLst>
              <a:rect l="0" t="0" r="r" b="b"/>
              <a:pathLst>
                <a:path w="206" h="230">
                  <a:moveTo>
                    <a:pt x="206" y="20"/>
                  </a:moveTo>
                  <a:lnTo>
                    <a:pt x="202" y="26"/>
                  </a:lnTo>
                  <a:lnTo>
                    <a:pt x="198" y="32"/>
                  </a:lnTo>
                  <a:lnTo>
                    <a:pt x="194" y="34"/>
                  </a:lnTo>
                  <a:lnTo>
                    <a:pt x="188" y="40"/>
                  </a:lnTo>
                  <a:lnTo>
                    <a:pt x="178" y="42"/>
                  </a:lnTo>
                  <a:lnTo>
                    <a:pt x="172" y="46"/>
                  </a:lnTo>
                  <a:lnTo>
                    <a:pt x="172" y="48"/>
                  </a:lnTo>
                  <a:lnTo>
                    <a:pt x="168" y="52"/>
                  </a:lnTo>
                  <a:lnTo>
                    <a:pt x="164" y="48"/>
                  </a:lnTo>
                  <a:lnTo>
                    <a:pt x="158" y="52"/>
                  </a:lnTo>
                  <a:lnTo>
                    <a:pt x="152" y="54"/>
                  </a:lnTo>
                  <a:lnTo>
                    <a:pt x="152" y="58"/>
                  </a:lnTo>
                  <a:lnTo>
                    <a:pt x="158" y="64"/>
                  </a:lnTo>
                  <a:lnTo>
                    <a:pt x="160" y="78"/>
                  </a:lnTo>
                  <a:lnTo>
                    <a:pt x="162" y="80"/>
                  </a:lnTo>
                  <a:lnTo>
                    <a:pt x="166" y="84"/>
                  </a:lnTo>
                  <a:lnTo>
                    <a:pt x="172" y="90"/>
                  </a:lnTo>
                  <a:lnTo>
                    <a:pt x="172" y="98"/>
                  </a:lnTo>
                  <a:lnTo>
                    <a:pt x="168" y="104"/>
                  </a:lnTo>
                  <a:lnTo>
                    <a:pt x="164" y="110"/>
                  </a:lnTo>
                  <a:lnTo>
                    <a:pt x="164" y="120"/>
                  </a:lnTo>
                  <a:lnTo>
                    <a:pt x="162" y="128"/>
                  </a:lnTo>
                  <a:lnTo>
                    <a:pt x="156" y="132"/>
                  </a:lnTo>
                  <a:lnTo>
                    <a:pt x="152" y="136"/>
                  </a:lnTo>
                  <a:lnTo>
                    <a:pt x="148" y="142"/>
                  </a:lnTo>
                  <a:lnTo>
                    <a:pt x="140" y="146"/>
                  </a:lnTo>
                  <a:lnTo>
                    <a:pt x="134" y="156"/>
                  </a:lnTo>
                  <a:lnTo>
                    <a:pt x="128" y="162"/>
                  </a:lnTo>
                  <a:lnTo>
                    <a:pt x="122" y="164"/>
                  </a:lnTo>
                  <a:lnTo>
                    <a:pt x="120" y="160"/>
                  </a:lnTo>
                  <a:lnTo>
                    <a:pt x="116" y="168"/>
                  </a:lnTo>
                  <a:lnTo>
                    <a:pt x="112" y="172"/>
                  </a:lnTo>
                  <a:lnTo>
                    <a:pt x="108" y="180"/>
                  </a:lnTo>
                  <a:lnTo>
                    <a:pt x="112" y="184"/>
                  </a:lnTo>
                  <a:lnTo>
                    <a:pt x="114" y="186"/>
                  </a:lnTo>
                  <a:lnTo>
                    <a:pt x="112" y="192"/>
                  </a:lnTo>
                  <a:lnTo>
                    <a:pt x="112" y="198"/>
                  </a:lnTo>
                  <a:lnTo>
                    <a:pt x="118" y="200"/>
                  </a:lnTo>
                  <a:lnTo>
                    <a:pt x="120" y="206"/>
                  </a:lnTo>
                  <a:lnTo>
                    <a:pt x="120" y="222"/>
                  </a:lnTo>
                  <a:lnTo>
                    <a:pt x="116" y="220"/>
                  </a:lnTo>
                  <a:lnTo>
                    <a:pt x="108" y="220"/>
                  </a:lnTo>
                  <a:lnTo>
                    <a:pt x="104" y="220"/>
                  </a:lnTo>
                  <a:lnTo>
                    <a:pt x="98" y="224"/>
                  </a:lnTo>
                  <a:lnTo>
                    <a:pt x="96" y="230"/>
                  </a:lnTo>
                  <a:lnTo>
                    <a:pt x="90" y="230"/>
                  </a:lnTo>
                  <a:lnTo>
                    <a:pt x="90" y="226"/>
                  </a:lnTo>
                  <a:lnTo>
                    <a:pt x="90" y="226"/>
                  </a:lnTo>
                  <a:lnTo>
                    <a:pt x="88" y="226"/>
                  </a:lnTo>
                  <a:lnTo>
                    <a:pt x="88" y="226"/>
                  </a:lnTo>
                  <a:lnTo>
                    <a:pt x="84" y="226"/>
                  </a:lnTo>
                  <a:lnTo>
                    <a:pt x="84" y="226"/>
                  </a:lnTo>
                  <a:lnTo>
                    <a:pt x="82" y="222"/>
                  </a:lnTo>
                  <a:lnTo>
                    <a:pt x="82" y="222"/>
                  </a:lnTo>
                  <a:lnTo>
                    <a:pt x="80" y="216"/>
                  </a:lnTo>
                  <a:lnTo>
                    <a:pt x="80" y="216"/>
                  </a:lnTo>
                  <a:lnTo>
                    <a:pt x="76" y="214"/>
                  </a:lnTo>
                  <a:lnTo>
                    <a:pt x="70" y="212"/>
                  </a:lnTo>
                  <a:lnTo>
                    <a:pt x="70" y="212"/>
                  </a:lnTo>
                  <a:lnTo>
                    <a:pt x="70" y="208"/>
                  </a:lnTo>
                  <a:lnTo>
                    <a:pt x="70" y="204"/>
                  </a:lnTo>
                  <a:lnTo>
                    <a:pt x="68" y="204"/>
                  </a:lnTo>
                  <a:lnTo>
                    <a:pt x="68" y="204"/>
                  </a:lnTo>
                  <a:lnTo>
                    <a:pt x="68" y="198"/>
                  </a:lnTo>
                  <a:lnTo>
                    <a:pt x="68" y="198"/>
                  </a:lnTo>
                  <a:lnTo>
                    <a:pt x="58" y="200"/>
                  </a:lnTo>
                  <a:lnTo>
                    <a:pt x="58" y="200"/>
                  </a:lnTo>
                  <a:lnTo>
                    <a:pt x="56" y="200"/>
                  </a:lnTo>
                  <a:lnTo>
                    <a:pt x="52" y="200"/>
                  </a:lnTo>
                  <a:lnTo>
                    <a:pt x="52" y="200"/>
                  </a:lnTo>
                  <a:lnTo>
                    <a:pt x="44" y="204"/>
                  </a:lnTo>
                  <a:lnTo>
                    <a:pt x="44" y="204"/>
                  </a:lnTo>
                  <a:lnTo>
                    <a:pt x="36" y="204"/>
                  </a:lnTo>
                  <a:lnTo>
                    <a:pt x="28" y="204"/>
                  </a:lnTo>
                  <a:lnTo>
                    <a:pt x="26" y="206"/>
                  </a:lnTo>
                  <a:lnTo>
                    <a:pt x="26" y="206"/>
                  </a:lnTo>
                  <a:lnTo>
                    <a:pt x="20" y="206"/>
                  </a:lnTo>
                  <a:lnTo>
                    <a:pt x="14" y="204"/>
                  </a:lnTo>
                  <a:lnTo>
                    <a:pt x="12" y="206"/>
                  </a:lnTo>
                  <a:lnTo>
                    <a:pt x="12" y="206"/>
                  </a:lnTo>
                  <a:lnTo>
                    <a:pt x="10" y="206"/>
                  </a:lnTo>
                  <a:lnTo>
                    <a:pt x="6" y="206"/>
                  </a:lnTo>
                  <a:lnTo>
                    <a:pt x="6" y="206"/>
                  </a:lnTo>
                  <a:lnTo>
                    <a:pt x="6" y="208"/>
                  </a:lnTo>
                  <a:lnTo>
                    <a:pt x="6" y="208"/>
                  </a:lnTo>
                  <a:lnTo>
                    <a:pt x="0" y="208"/>
                  </a:lnTo>
                  <a:lnTo>
                    <a:pt x="2" y="192"/>
                  </a:lnTo>
                  <a:lnTo>
                    <a:pt x="10" y="180"/>
                  </a:lnTo>
                  <a:lnTo>
                    <a:pt x="18" y="178"/>
                  </a:lnTo>
                  <a:lnTo>
                    <a:pt x="26" y="176"/>
                  </a:lnTo>
                  <a:lnTo>
                    <a:pt x="32" y="172"/>
                  </a:lnTo>
                  <a:lnTo>
                    <a:pt x="32" y="166"/>
                  </a:lnTo>
                  <a:lnTo>
                    <a:pt x="26" y="164"/>
                  </a:lnTo>
                  <a:lnTo>
                    <a:pt x="26" y="156"/>
                  </a:lnTo>
                  <a:lnTo>
                    <a:pt x="22" y="150"/>
                  </a:lnTo>
                  <a:lnTo>
                    <a:pt x="16" y="148"/>
                  </a:lnTo>
                  <a:lnTo>
                    <a:pt x="10" y="138"/>
                  </a:lnTo>
                  <a:lnTo>
                    <a:pt x="8" y="134"/>
                  </a:lnTo>
                  <a:lnTo>
                    <a:pt x="10" y="130"/>
                  </a:lnTo>
                  <a:lnTo>
                    <a:pt x="4" y="116"/>
                  </a:lnTo>
                  <a:lnTo>
                    <a:pt x="18" y="124"/>
                  </a:lnTo>
                  <a:lnTo>
                    <a:pt x="22" y="122"/>
                  </a:lnTo>
                  <a:lnTo>
                    <a:pt x="28" y="122"/>
                  </a:lnTo>
                  <a:lnTo>
                    <a:pt x="40" y="122"/>
                  </a:lnTo>
                  <a:lnTo>
                    <a:pt x="46" y="124"/>
                  </a:lnTo>
                  <a:lnTo>
                    <a:pt x="48" y="120"/>
                  </a:lnTo>
                  <a:lnTo>
                    <a:pt x="56" y="118"/>
                  </a:lnTo>
                  <a:lnTo>
                    <a:pt x="58" y="112"/>
                  </a:lnTo>
                  <a:lnTo>
                    <a:pt x="58" y="106"/>
                  </a:lnTo>
                  <a:lnTo>
                    <a:pt x="66" y="102"/>
                  </a:lnTo>
                  <a:lnTo>
                    <a:pt x="74" y="90"/>
                  </a:lnTo>
                  <a:lnTo>
                    <a:pt x="78" y="92"/>
                  </a:lnTo>
                  <a:lnTo>
                    <a:pt x="82" y="90"/>
                  </a:lnTo>
                  <a:lnTo>
                    <a:pt x="84" y="86"/>
                  </a:lnTo>
                  <a:lnTo>
                    <a:pt x="80" y="80"/>
                  </a:lnTo>
                  <a:lnTo>
                    <a:pt x="86" y="76"/>
                  </a:lnTo>
                  <a:lnTo>
                    <a:pt x="90" y="72"/>
                  </a:lnTo>
                  <a:lnTo>
                    <a:pt x="92" y="76"/>
                  </a:lnTo>
                  <a:lnTo>
                    <a:pt x="98" y="78"/>
                  </a:lnTo>
                  <a:lnTo>
                    <a:pt x="102" y="76"/>
                  </a:lnTo>
                  <a:lnTo>
                    <a:pt x="104" y="70"/>
                  </a:lnTo>
                  <a:lnTo>
                    <a:pt x="104" y="64"/>
                  </a:lnTo>
                  <a:lnTo>
                    <a:pt x="110" y="60"/>
                  </a:lnTo>
                  <a:lnTo>
                    <a:pt x="110" y="52"/>
                  </a:lnTo>
                  <a:lnTo>
                    <a:pt x="106" y="48"/>
                  </a:lnTo>
                  <a:lnTo>
                    <a:pt x="108" y="42"/>
                  </a:lnTo>
                  <a:lnTo>
                    <a:pt x="114" y="44"/>
                  </a:lnTo>
                  <a:lnTo>
                    <a:pt x="120" y="42"/>
                  </a:lnTo>
                  <a:lnTo>
                    <a:pt x="122" y="34"/>
                  </a:lnTo>
                  <a:lnTo>
                    <a:pt x="120" y="28"/>
                  </a:lnTo>
                  <a:lnTo>
                    <a:pt x="124" y="26"/>
                  </a:lnTo>
                  <a:lnTo>
                    <a:pt x="124" y="18"/>
                  </a:lnTo>
                  <a:lnTo>
                    <a:pt x="138" y="8"/>
                  </a:lnTo>
                  <a:lnTo>
                    <a:pt x="148" y="6"/>
                  </a:lnTo>
                  <a:lnTo>
                    <a:pt x="156" y="4"/>
                  </a:lnTo>
                  <a:lnTo>
                    <a:pt x="164" y="4"/>
                  </a:lnTo>
                  <a:lnTo>
                    <a:pt x="170" y="4"/>
                  </a:lnTo>
                  <a:lnTo>
                    <a:pt x="172" y="0"/>
                  </a:lnTo>
                  <a:lnTo>
                    <a:pt x="182" y="0"/>
                  </a:lnTo>
                  <a:lnTo>
                    <a:pt x="196" y="10"/>
                  </a:lnTo>
                  <a:lnTo>
                    <a:pt x="200" y="14"/>
                  </a:lnTo>
                  <a:lnTo>
                    <a:pt x="206" y="2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8" name="Freeform 114"/>
            <p:cNvSpPr>
              <a:spLocks noChangeAspect="1" noEditPoints="1"/>
            </p:cNvSpPr>
            <p:nvPr/>
          </p:nvSpPr>
          <p:spPr bwMode="gray">
            <a:xfrm>
              <a:off x="5468987" y="3703824"/>
              <a:ext cx="180212" cy="263195"/>
            </a:xfrm>
            <a:custGeom>
              <a:avLst/>
              <a:gdLst/>
              <a:ahLst/>
              <a:cxnLst>
                <a:cxn ang="0">
                  <a:pos x="56" y="6"/>
                </a:cxn>
                <a:cxn ang="0">
                  <a:pos x="58" y="12"/>
                </a:cxn>
                <a:cxn ang="0">
                  <a:pos x="58" y="0"/>
                </a:cxn>
                <a:cxn ang="0">
                  <a:pos x="54" y="2"/>
                </a:cxn>
                <a:cxn ang="0">
                  <a:pos x="54" y="6"/>
                </a:cxn>
                <a:cxn ang="0">
                  <a:pos x="60" y="18"/>
                </a:cxn>
                <a:cxn ang="0">
                  <a:pos x="62" y="24"/>
                </a:cxn>
                <a:cxn ang="0">
                  <a:pos x="68" y="28"/>
                </a:cxn>
                <a:cxn ang="0">
                  <a:pos x="72" y="34"/>
                </a:cxn>
                <a:cxn ang="0">
                  <a:pos x="76" y="38"/>
                </a:cxn>
                <a:cxn ang="0">
                  <a:pos x="88" y="42"/>
                </a:cxn>
                <a:cxn ang="0">
                  <a:pos x="90" y="44"/>
                </a:cxn>
                <a:cxn ang="0">
                  <a:pos x="94" y="48"/>
                </a:cxn>
                <a:cxn ang="0">
                  <a:pos x="96" y="48"/>
                </a:cxn>
                <a:cxn ang="0">
                  <a:pos x="100" y="54"/>
                </a:cxn>
                <a:cxn ang="0">
                  <a:pos x="100" y="58"/>
                </a:cxn>
                <a:cxn ang="0">
                  <a:pos x="104" y="60"/>
                </a:cxn>
                <a:cxn ang="0">
                  <a:pos x="106" y="62"/>
                </a:cxn>
                <a:cxn ang="0">
                  <a:pos x="106" y="66"/>
                </a:cxn>
                <a:cxn ang="0">
                  <a:pos x="102" y="72"/>
                </a:cxn>
                <a:cxn ang="0">
                  <a:pos x="102" y="76"/>
                </a:cxn>
                <a:cxn ang="0">
                  <a:pos x="100" y="80"/>
                </a:cxn>
                <a:cxn ang="0">
                  <a:pos x="100" y="82"/>
                </a:cxn>
                <a:cxn ang="0">
                  <a:pos x="96" y="86"/>
                </a:cxn>
                <a:cxn ang="0">
                  <a:pos x="94" y="94"/>
                </a:cxn>
                <a:cxn ang="0">
                  <a:pos x="90" y="96"/>
                </a:cxn>
                <a:cxn ang="0">
                  <a:pos x="90" y="104"/>
                </a:cxn>
                <a:cxn ang="0">
                  <a:pos x="86" y="102"/>
                </a:cxn>
                <a:cxn ang="0">
                  <a:pos x="82" y="112"/>
                </a:cxn>
                <a:cxn ang="0">
                  <a:pos x="82" y="124"/>
                </a:cxn>
                <a:cxn ang="0">
                  <a:pos x="68" y="128"/>
                </a:cxn>
                <a:cxn ang="0">
                  <a:pos x="68" y="130"/>
                </a:cxn>
                <a:cxn ang="0">
                  <a:pos x="68" y="130"/>
                </a:cxn>
                <a:cxn ang="0">
                  <a:pos x="64" y="136"/>
                </a:cxn>
                <a:cxn ang="0">
                  <a:pos x="64" y="140"/>
                </a:cxn>
                <a:cxn ang="0">
                  <a:pos x="48" y="142"/>
                </a:cxn>
                <a:cxn ang="0">
                  <a:pos x="46" y="148"/>
                </a:cxn>
                <a:cxn ang="0">
                  <a:pos x="44" y="154"/>
                </a:cxn>
                <a:cxn ang="0">
                  <a:pos x="34" y="156"/>
                </a:cxn>
                <a:cxn ang="0">
                  <a:pos x="28" y="158"/>
                </a:cxn>
                <a:cxn ang="0">
                  <a:pos x="28" y="160"/>
                </a:cxn>
                <a:cxn ang="0">
                  <a:pos x="16" y="156"/>
                </a:cxn>
                <a:cxn ang="0">
                  <a:pos x="0" y="124"/>
                </a:cxn>
                <a:cxn ang="0">
                  <a:pos x="44" y="104"/>
                </a:cxn>
                <a:cxn ang="0">
                  <a:pos x="48" y="98"/>
                </a:cxn>
                <a:cxn ang="0">
                  <a:pos x="54" y="64"/>
                </a:cxn>
                <a:cxn ang="0">
                  <a:pos x="44" y="54"/>
                </a:cxn>
                <a:cxn ang="0">
                  <a:pos x="48" y="44"/>
                </a:cxn>
                <a:cxn ang="0">
                  <a:pos x="50" y="40"/>
                </a:cxn>
                <a:cxn ang="0">
                  <a:pos x="50" y="32"/>
                </a:cxn>
                <a:cxn ang="0">
                  <a:pos x="48" y="32"/>
                </a:cxn>
                <a:cxn ang="0">
                  <a:pos x="50" y="28"/>
                </a:cxn>
                <a:cxn ang="0">
                  <a:pos x="54" y="26"/>
                </a:cxn>
                <a:cxn ang="0">
                  <a:pos x="52" y="24"/>
                </a:cxn>
                <a:cxn ang="0">
                  <a:pos x="50" y="22"/>
                </a:cxn>
                <a:cxn ang="0">
                  <a:pos x="52" y="18"/>
                </a:cxn>
                <a:cxn ang="0">
                  <a:pos x="54" y="22"/>
                </a:cxn>
                <a:cxn ang="0">
                  <a:pos x="56" y="22"/>
                </a:cxn>
                <a:cxn ang="0">
                  <a:pos x="58" y="20"/>
                </a:cxn>
                <a:cxn ang="0">
                  <a:pos x="60" y="18"/>
                </a:cxn>
              </a:cxnLst>
              <a:rect l="0" t="0" r="r" b="b"/>
              <a:pathLst>
                <a:path w="106" h="160">
                  <a:moveTo>
                    <a:pt x="54" y="6"/>
                  </a:moveTo>
                  <a:lnTo>
                    <a:pt x="56" y="6"/>
                  </a:lnTo>
                  <a:lnTo>
                    <a:pt x="54" y="12"/>
                  </a:lnTo>
                  <a:lnTo>
                    <a:pt x="58" y="12"/>
                  </a:lnTo>
                  <a:lnTo>
                    <a:pt x="58" y="12"/>
                  </a:lnTo>
                  <a:lnTo>
                    <a:pt x="58" y="0"/>
                  </a:lnTo>
                  <a:lnTo>
                    <a:pt x="58" y="0"/>
                  </a:lnTo>
                  <a:lnTo>
                    <a:pt x="54" y="2"/>
                  </a:lnTo>
                  <a:lnTo>
                    <a:pt x="54" y="2"/>
                  </a:lnTo>
                  <a:lnTo>
                    <a:pt x="54" y="6"/>
                  </a:lnTo>
                  <a:lnTo>
                    <a:pt x="54" y="6"/>
                  </a:lnTo>
                  <a:close/>
                  <a:moveTo>
                    <a:pt x="60" y="18"/>
                  </a:moveTo>
                  <a:lnTo>
                    <a:pt x="60" y="18"/>
                  </a:lnTo>
                  <a:lnTo>
                    <a:pt x="62" y="24"/>
                  </a:lnTo>
                  <a:lnTo>
                    <a:pt x="62" y="24"/>
                  </a:lnTo>
                  <a:lnTo>
                    <a:pt x="68" y="28"/>
                  </a:lnTo>
                  <a:lnTo>
                    <a:pt x="68" y="28"/>
                  </a:lnTo>
                  <a:lnTo>
                    <a:pt x="72" y="34"/>
                  </a:lnTo>
                  <a:lnTo>
                    <a:pt x="76" y="38"/>
                  </a:lnTo>
                  <a:lnTo>
                    <a:pt x="76" y="38"/>
                  </a:lnTo>
                  <a:lnTo>
                    <a:pt x="80" y="38"/>
                  </a:lnTo>
                  <a:lnTo>
                    <a:pt x="88" y="42"/>
                  </a:lnTo>
                  <a:lnTo>
                    <a:pt x="88" y="42"/>
                  </a:lnTo>
                  <a:lnTo>
                    <a:pt x="90" y="44"/>
                  </a:lnTo>
                  <a:lnTo>
                    <a:pt x="94" y="48"/>
                  </a:lnTo>
                  <a:lnTo>
                    <a:pt x="94" y="48"/>
                  </a:lnTo>
                  <a:lnTo>
                    <a:pt x="96" y="48"/>
                  </a:lnTo>
                  <a:lnTo>
                    <a:pt x="96" y="48"/>
                  </a:lnTo>
                  <a:lnTo>
                    <a:pt x="100" y="54"/>
                  </a:lnTo>
                  <a:lnTo>
                    <a:pt x="100" y="54"/>
                  </a:lnTo>
                  <a:lnTo>
                    <a:pt x="100" y="56"/>
                  </a:lnTo>
                  <a:lnTo>
                    <a:pt x="100" y="58"/>
                  </a:lnTo>
                  <a:lnTo>
                    <a:pt x="100" y="58"/>
                  </a:lnTo>
                  <a:lnTo>
                    <a:pt x="104" y="60"/>
                  </a:lnTo>
                  <a:lnTo>
                    <a:pt x="106" y="62"/>
                  </a:lnTo>
                  <a:lnTo>
                    <a:pt x="106" y="62"/>
                  </a:lnTo>
                  <a:lnTo>
                    <a:pt x="106" y="66"/>
                  </a:lnTo>
                  <a:lnTo>
                    <a:pt x="106" y="66"/>
                  </a:lnTo>
                  <a:lnTo>
                    <a:pt x="102" y="72"/>
                  </a:lnTo>
                  <a:lnTo>
                    <a:pt x="102" y="72"/>
                  </a:lnTo>
                  <a:lnTo>
                    <a:pt x="102" y="76"/>
                  </a:lnTo>
                  <a:lnTo>
                    <a:pt x="102" y="76"/>
                  </a:lnTo>
                  <a:lnTo>
                    <a:pt x="100" y="80"/>
                  </a:lnTo>
                  <a:lnTo>
                    <a:pt x="100" y="80"/>
                  </a:lnTo>
                  <a:lnTo>
                    <a:pt x="100" y="82"/>
                  </a:lnTo>
                  <a:lnTo>
                    <a:pt x="100" y="82"/>
                  </a:lnTo>
                  <a:lnTo>
                    <a:pt x="96" y="86"/>
                  </a:lnTo>
                  <a:lnTo>
                    <a:pt x="96" y="86"/>
                  </a:lnTo>
                  <a:lnTo>
                    <a:pt x="94" y="94"/>
                  </a:lnTo>
                  <a:lnTo>
                    <a:pt x="94" y="94"/>
                  </a:lnTo>
                  <a:lnTo>
                    <a:pt x="90" y="96"/>
                  </a:lnTo>
                  <a:lnTo>
                    <a:pt x="90" y="96"/>
                  </a:lnTo>
                  <a:lnTo>
                    <a:pt x="90" y="100"/>
                  </a:lnTo>
                  <a:lnTo>
                    <a:pt x="90" y="104"/>
                  </a:lnTo>
                  <a:lnTo>
                    <a:pt x="90" y="104"/>
                  </a:lnTo>
                  <a:lnTo>
                    <a:pt x="86" y="102"/>
                  </a:lnTo>
                  <a:lnTo>
                    <a:pt x="86" y="102"/>
                  </a:lnTo>
                  <a:lnTo>
                    <a:pt x="82" y="112"/>
                  </a:lnTo>
                  <a:lnTo>
                    <a:pt x="82" y="124"/>
                  </a:lnTo>
                  <a:lnTo>
                    <a:pt x="82" y="124"/>
                  </a:lnTo>
                  <a:lnTo>
                    <a:pt x="76" y="126"/>
                  </a:lnTo>
                  <a:lnTo>
                    <a:pt x="68" y="128"/>
                  </a:lnTo>
                  <a:lnTo>
                    <a:pt x="68" y="128"/>
                  </a:lnTo>
                  <a:lnTo>
                    <a:pt x="68" y="130"/>
                  </a:lnTo>
                  <a:lnTo>
                    <a:pt x="68" y="130"/>
                  </a:lnTo>
                  <a:lnTo>
                    <a:pt x="68" y="130"/>
                  </a:lnTo>
                  <a:lnTo>
                    <a:pt x="64" y="136"/>
                  </a:lnTo>
                  <a:lnTo>
                    <a:pt x="64" y="136"/>
                  </a:lnTo>
                  <a:lnTo>
                    <a:pt x="64" y="140"/>
                  </a:lnTo>
                  <a:lnTo>
                    <a:pt x="64" y="140"/>
                  </a:lnTo>
                  <a:lnTo>
                    <a:pt x="58" y="142"/>
                  </a:lnTo>
                  <a:lnTo>
                    <a:pt x="48" y="142"/>
                  </a:lnTo>
                  <a:lnTo>
                    <a:pt x="48" y="142"/>
                  </a:lnTo>
                  <a:lnTo>
                    <a:pt x="46" y="148"/>
                  </a:lnTo>
                  <a:lnTo>
                    <a:pt x="44" y="154"/>
                  </a:lnTo>
                  <a:lnTo>
                    <a:pt x="44" y="154"/>
                  </a:lnTo>
                  <a:lnTo>
                    <a:pt x="38" y="154"/>
                  </a:lnTo>
                  <a:lnTo>
                    <a:pt x="34" y="156"/>
                  </a:lnTo>
                  <a:lnTo>
                    <a:pt x="34" y="156"/>
                  </a:lnTo>
                  <a:lnTo>
                    <a:pt x="28" y="158"/>
                  </a:lnTo>
                  <a:lnTo>
                    <a:pt x="28" y="160"/>
                  </a:lnTo>
                  <a:lnTo>
                    <a:pt x="28" y="160"/>
                  </a:lnTo>
                  <a:lnTo>
                    <a:pt x="24" y="160"/>
                  </a:lnTo>
                  <a:lnTo>
                    <a:pt x="16" y="156"/>
                  </a:lnTo>
                  <a:lnTo>
                    <a:pt x="0" y="128"/>
                  </a:lnTo>
                  <a:lnTo>
                    <a:pt x="0" y="124"/>
                  </a:lnTo>
                  <a:lnTo>
                    <a:pt x="0" y="124"/>
                  </a:lnTo>
                  <a:lnTo>
                    <a:pt x="44" y="104"/>
                  </a:lnTo>
                  <a:lnTo>
                    <a:pt x="44" y="104"/>
                  </a:lnTo>
                  <a:lnTo>
                    <a:pt x="48" y="98"/>
                  </a:lnTo>
                  <a:lnTo>
                    <a:pt x="50" y="84"/>
                  </a:lnTo>
                  <a:lnTo>
                    <a:pt x="54" y="64"/>
                  </a:lnTo>
                  <a:lnTo>
                    <a:pt x="44" y="54"/>
                  </a:lnTo>
                  <a:lnTo>
                    <a:pt x="44" y="54"/>
                  </a:lnTo>
                  <a:lnTo>
                    <a:pt x="46" y="50"/>
                  </a:lnTo>
                  <a:lnTo>
                    <a:pt x="48" y="44"/>
                  </a:lnTo>
                  <a:lnTo>
                    <a:pt x="48" y="44"/>
                  </a:lnTo>
                  <a:lnTo>
                    <a:pt x="50" y="40"/>
                  </a:lnTo>
                  <a:lnTo>
                    <a:pt x="50" y="36"/>
                  </a:lnTo>
                  <a:lnTo>
                    <a:pt x="50" y="32"/>
                  </a:lnTo>
                  <a:lnTo>
                    <a:pt x="50" y="32"/>
                  </a:lnTo>
                  <a:lnTo>
                    <a:pt x="48" y="32"/>
                  </a:lnTo>
                  <a:lnTo>
                    <a:pt x="48" y="32"/>
                  </a:lnTo>
                  <a:lnTo>
                    <a:pt x="50" y="28"/>
                  </a:lnTo>
                  <a:lnTo>
                    <a:pt x="50" y="28"/>
                  </a:lnTo>
                  <a:lnTo>
                    <a:pt x="54" y="26"/>
                  </a:lnTo>
                  <a:lnTo>
                    <a:pt x="54" y="26"/>
                  </a:lnTo>
                  <a:lnTo>
                    <a:pt x="52" y="24"/>
                  </a:lnTo>
                  <a:lnTo>
                    <a:pt x="50" y="22"/>
                  </a:lnTo>
                  <a:lnTo>
                    <a:pt x="50" y="22"/>
                  </a:lnTo>
                  <a:lnTo>
                    <a:pt x="50" y="18"/>
                  </a:lnTo>
                  <a:lnTo>
                    <a:pt x="52" y="18"/>
                  </a:lnTo>
                  <a:lnTo>
                    <a:pt x="52" y="18"/>
                  </a:lnTo>
                  <a:lnTo>
                    <a:pt x="54" y="22"/>
                  </a:lnTo>
                  <a:lnTo>
                    <a:pt x="56" y="22"/>
                  </a:lnTo>
                  <a:lnTo>
                    <a:pt x="56" y="22"/>
                  </a:lnTo>
                  <a:lnTo>
                    <a:pt x="56" y="22"/>
                  </a:lnTo>
                  <a:lnTo>
                    <a:pt x="58" y="20"/>
                  </a:lnTo>
                  <a:lnTo>
                    <a:pt x="60" y="18"/>
                  </a:lnTo>
                  <a:lnTo>
                    <a:pt x="60" y="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89" name="Freeform 115"/>
            <p:cNvSpPr>
              <a:spLocks noChangeAspect="1"/>
            </p:cNvSpPr>
            <p:nvPr/>
          </p:nvSpPr>
          <p:spPr bwMode="gray">
            <a:xfrm>
              <a:off x="4625730" y="2397718"/>
              <a:ext cx="3400" cy="3290"/>
            </a:xfrm>
            <a:custGeom>
              <a:avLst/>
              <a:gdLst/>
              <a:ahLst/>
              <a:cxnLst>
                <a:cxn ang="0">
                  <a:pos x="2" y="0"/>
                </a:cxn>
                <a:cxn ang="0">
                  <a:pos x="2" y="0"/>
                </a:cxn>
                <a:cxn ang="0">
                  <a:pos x="2" y="2"/>
                </a:cxn>
                <a:cxn ang="0">
                  <a:pos x="2" y="2"/>
                </a:cxn>
                <a:cxn ang="0">
                  <a:pos x="0" y="2"/>
                </a:cxn>
                <a:cxn ang="0">
                  <a:pos x="0" y="2"/>
                </a:cxn>
                <a:cxn ang="0">
                  <a:pos x="0" y="2"/>
                </a:cxn>
                <a:cxn ang="0">
                  <a:pos x="2" y="0"/>
                </a:cxn>
                <a:cxn ang="0">
                  <a:pos x="2" y="0"/>
                </a:cxn>
              </a:cxnLst>
              <a:rect l="0" t="0" r="r" b="b"/>
              <a:pathLst>
                <a:path w="2" h="2">
                  <a:moveTo>
                    <a:pt x="2" y="0"/>
                  </a:moveTo>
                  <a:lnTo>
                    <a:pt x="2" y="0"/>
                  </a:lnTo>
                  <a:lnTo>
                    <a:pt x="2" y="2"/>
                  </a:lnTo>
                  <a:lnTo>
                    <a:pt x="2" y="2"/>
                  </a:lnTo>
                  <a:lnTo>
                    <a:pt x="0" y="2"/>
                  </a:lnTo>
                  <a:lnTo>
                    <a:pt x="0" y="2"/>
                  </a:lnTo>
                  <a:lnTo>
                    <a:pt x="0" y="2"/>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0" name="Freeform 116"/>
            <p:cNvSpPr>
              <a:spLocks noChangeAspect="1"/>
            </p:cNvSpPr>
            <p:nvPr/>
          </p:nvSpPr>
          <p:spPr bwMode="gray">
            <a:xfrm>
              <a:off x="4608729" y="2401008"/>
              <a:ext cx="3400" cy="3290"/>
            </a:xfrm>
            <a:custGeom>
              <a:avLst/>
              <a:gdLst/>
              <a:ahLst/>
              <a:cxnLst>
                <a:cxn ang="0">
                  <a:pos x="0" y="0"/>
                </a:cxn>
                <a:cxn ang="0">
                  <a:pos x="0" y="0"/>
                </a:cxn>
                <a:cxn ang="0">
                  <a:pos x="0" y="2"/>
                </a:cxn>
                <a:cxn ang="0">
                  <a:pos x="2" y="2"/>
                </a:cxn>
                <a:cxn ang="0">
                  <a:pos x="2" y="2"/>
                </a:cxn>
                <a:cxn ang="0">
                  <a:pos x="2" y="0"/>
                </a:cxn>
                <a:cxn ang="0">
                  <a:pos x="0" y="0"/>
                </a:cxn>
                <a:cxn ang="0">
                  <a:pos x="0" y="0"/>
                </a:cxn>
              </a:cxnLst>
              <a:rect l="0" t="0" r="r" b="b"/>
              <a:pathLst>
                <a:path w="2" h="2">
                  <a:moveTo>
                    <a:pt x="0" y="0"/>
                  </a:moveTo>
                  <a:lnTo>
                    <a:pt x="0" y="0"/>
                  </a:lnTo>
                  <a:lnTo>
                    <a:pt x="0" y="2"/>
                  </a:lnTo>
                  <a:lnTo>
                    <a:pt x="2" y="2"/>
                  </a:lnTo>
                  <a:lnTo>
                    <a:pt x="2" y="2"/>
                  </a:lnTo>
                  <a:lnTo>
                    <a:pt x="2"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1" name="Freeform 117"/>
            <p:cNvSpPr>
              <a:spLocks noChangeAspect="1"/>
            </p:cNvSpPr>
            <p:nvPr/>
          </p:nvSpPr>
          <p:spPr bwMode="gray">
            <a:xfrm>
              <a:off x="4488021" y="2509576"/>
              <a:ext cx="6801" cy="3290"/>
            </a:xfrm>
            <a:custGeom>
              <a:avLst/>
              <a:gdLst/>
              <a:ahLst/>
              <a:cxnLst>
                <a:cxn ang="0">
                  <a:pos x="2" y="0"/>
                </a:cxn>
                <a:cxn ang="0">
                  <a:pos x="2" y="0"/>
                </a:cxn>
                <a:cxn ang="0">
                  <a:pos x="4" y="2"/>
                </a:cxn>
                <a:cxn ang="0">
                  <a:pos x="2" y="2"/>
                </a:cxn>
                <a:cxn ang="0">
                  <a:pos x="2" y="2"/>
                </a:cxn>
                <a:cxn ang="0">
                  <a:pos x="2" y="0"/>
                </a:cxn>
                <a:cxn ang="0">
                  <a:pos x="0" y="0"/>
                </a:cxn>
                <a:cxn ang="0">
                  <a:pos x="2" y="0"/>
                </a:cxn>
                <a:cxn ang="0">
                  <a:pos x="2" y="0"/>
                </a:cxn>
              </a:cxnLst>
              <a:rect l="0" t="0" r="r" b="b"/>
              <a:pathLst>
                <a:path w="4" h="2">
                  <a:moveTo>
                    <a:pt x="2" y="0"/>
                  </a:moveTo>
                  <a:lnTo>
                    <a:pt x="2" y="0"/>
                  </a:lnTo>
                  <a:lnTo>
                    <a:pt x="4" y="2"/>
                  </a:lnTo>
                  <a:lnTo>
                    <a:pt x="2" y="2"/>
                  </a:lnTo>
                  <a:lnTo>
                    <a:pt x="2" y="2"/>
                  </a:lnTo>
                  <a:lnTo>
                    <a:pt x="2" y="0"/>
                  </a:lnTo>
                  <a:lnTo>
                    <a:pt x="0" y="0"/>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2" name="Freeform 118"/>
            <p:cNvSpPr>
              <a:spLocks noChangeAspect="1"/>
            </p:cNvSpPr>
            <p:nvPr/>
          </p:nvSpPr>
          <p:spPr bwMode="gray">
            <a:xfrm>
              <a:off x="4454019" y="2542475"/>
              <a:ext cx="6801" cy="9870"/>
            </a:xfrm>
            <a:custGeom>
              <a:avLst/>
              <a:gdLst/>
              <a:ahLst/>
              <a:cxnLst>
                <a:cxn ang="0">
                  <a:pos x="2" y="0"/>
                </a:cxn>
                <a:cxn ang="0">
                  <a:pos x="2" y="0"/>
                </a:cxn>
                <a:cxn ang="0">
                  <a:pos x="2" y="2"/>
                </a:cxn>
                <a:cxn ang="0">
                  <a:pos x="2" y="2"/>
                </a:cxn>
                <a:cxn ang="0">
                  <a:pos x="4" y="2"/>
                </a:cxn>
                <a:cxn ang="0">
                  <a:pos x="4" y="2"/>
                </a:cxn>
                <a:cxn ang="0">
                  <a:pos x="2" y="2"/>
                </a:cxn>
                <a:cxn ang="0">
                  <a:pos x="2" y="4"/>
                </a:cxn>
                <a:cxn ang="0">
                  <a:pos x="2" y="4"/>
                </a:cxn>
                <a:cxn ang="0">
                  <a:pos x="0" y="6"/>
                </a:cxn>
                <a:cxn ang="0">
                  <a:pos x="0" y="6"/>
                </a:cxn>
                <a:cxn ang="0">
                  <a:pos x="0" y="2"/>
                </a:cxn>
                <a:cxn ang="0">
                  <a:pos x="0" y="0"/>
                </a:cxn>
                <a:cxn ang="0">
                  <a:pos x="2" y="0"/>
                </a:cxn>
                <a:cxn ang="0">
                  <a:pos x="2" y="0"/>
                </a:cxn>
              </a:cxnLst>
              <a:rect l="0" t="0" r="r" b="b"/>
              <a:pathLst>
                <a:path w="4" h="6">
                  <a:moveTo>
                    <a:pt x="2" y="0"/>
                  </a:moveTo>
                  <a:lnTo>
                    <a:pt x="2" y="0"/>
                  </a:lnTo>
                  <a:lnTo>
                    <a:pt x="2" y="2"/>
                  </a:lnTo>
                  <a:lnTo>
                    <a:pt x="2" y="2"/>
                  </a:lnTo>
                  <a:lnTo>
                    <a:pt x="4" y="2"/>
                  </a:lnTo>
                  <a:lnTo>
                    <a:pt x="4" y="2"/>
                  </a:lnTo>
                  <a:lnTo>
                    <a:pt x="2" y="2"/>
                  </a:lnTo>
                  <a:lnTo>
                    <a:pt x="2" y="4"/>
                  </a:lnTo>
                  <a:lnTo>
                    <a:pt x="2" y="4"/>
                  </a:lnTo>
                  <a:lnTo>
                    <a:pt x="0" y="6"/>
                  </a:lnTo>
                  <a:lnTo>
                    <a:pt x="0" y="6"/>
                  </a:lnTo>
                  <a:lnTo>
                    <a:pt x="0" y="2"/>
                  </a:lnTo>
                  <a:lnTo>
                    <a:pt x="0" y="0"/>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3" name="Freeform 119"/>
            <p:cNvSpPr>
              <a:spLocks noChangeAspect="1"/>
            </p:cNvSpPr>
            <p:nvPr/>
          </p:nvSpPr>
          <p:spPr bwMode="gray">
            <a:xfrm>
              <a:off x="4406416" y="2174002"/>
              <a:ext cx="596741" cy="526390"/>
            </a:xfrm>
            <a:custGeom>
              <a:avLst/>
              <a:gdLst/>
              <a:ahLst/>
              <a:cxnLst>
                <a:cxn ang="0">
                  <a:pos x="91" y="280"/>
                </a:cxn>
                <a:cxn ang="0">
                  <a:pos x="95" y="252"/>
                </a:cxn>
                <a:cxn ang="0">
                  <a:pos x="97" y="228"/>
                </a:cxn>
                <a:cxn ang="0">
                  <a:pos x="103" y="186"/>
                </a:cxn>
                <a:cxn ang="0">
                  <a:pos x="131" y="172"/>
                </a:cxn>
                <a:cxn ang="0">
                  <a:pos x="149" y="126"/>
                </a:cxn>
                <a:cxn ang="0">
                  <a:pos x="169" y="100"/>
                </a:cxn>
                <a:cxn ang="0">
                  <a:pos x="187" y="88"/>
                </a:cxn>
                <a:cxn ang="0">
                  <a:pos x="205" y="64"/>
                </a:cxn>
                <a:cxn ang="0">
                  <a:pos x="257" y="72"/>
                </a:cxn>
                <a:cxn ang="0">
                  <a:pos x="281" y="64"/>
                </a:cxn>
                <a:cxn ang="0">
                  <a:pos x="301" y="42"/>
                </a:cxn>
                <a:cxn ang="0">
                  <a:pos x="333" y="58"/>
                </a:cxn>
                <a:cxn ang="0">
                  <a:pos x="341" y="42"/>
                </a:cxn>
                <a:cxn ang="0">
                  <a:pos x="337" y="40"/>
                </a:cxn>
                <a:cxn ang="0">
                  <a:pos x="347" y="28"/>
                </a:cxn>
                <a:cxn ang="0">
                  <a:pos x="327" y="8"/>
                </a:cxn>
                <a:cxn ang="0">
                  <a:pos x="315" y="16"/>
                </a:cxn>
                <a:cxn ang="0">
                  <a:pos x="309" y="0"/>
                </a:cxn>
                <a:cxn ang="0">
                  <a:pos x="301" y="20"/>
                </a:cxn>
                <a:cxn ang="0">
                  <a:pos x="295" y="20"/>
                </a:cxn>
                <a:cxn ang="0">
                  <a:pos x="289" y="16"/>
                </a:cxn>
                <a:cxn ang="0">
                  <a:pos x="275" y="24"/>
                </a:cxn>
                <a:cxn ang="0">
                  <a:pos x="275" y="14"/>
                </a:cxn>
                <a:cxn ang="0">
                  <a:pos x="263" y="22"/>
                </a:cxn>
                <a:cxn ang="0">
                  <a:pos x="245" y="32"/>
                </a:cxn>
                <a:cxn ang="0">
                  <a:pos x="225" y="24"/>
                </a:cxn>
                <a:cxn ang="0">
                  <a:pos x="229" y="36"/>
                </a:cxn>
                <a:cxn ang="0">
                  <a:pos x="221" y="36"/>
                </a:cxn>
                <a:cxn ang="0">
                  <a:pos x="211" y="38"/>
                </a:cxn>
                <a:cxn ang="0">
                  <a:pos x="195" y="36"/>
                </a:cxn>
                <a:cxn ang="0">
                  <a:pos x="189" y="50"/>
                </a:cxn>
                <a:cxn ang="0">
                  <a:pos x="181" y="54"/>
                </a:cxn>
                <a:cxn ang="0">
                  <a:pos x="169" y="76"/>
                </a:cxn>
                <a:cxn ang="0">
                  <a:pos x="171" y="82"/>
                </a:cxn>
                <a:cxn ang="0">
                  <a:pos x="151" y="92"/>
                </a:cxn>
                <a:cxn ang="0">
                  <a:pos x="157" y="102"/>
                </a:cxn>
                <a:cxn ang="0">
                  <a:pos x="141" y="120"/>
                </a:cxn>
                <a:cxn ang="0">
                  <a:pos x="125" y="132"/>
                </a:cxn>
                <a:cxn ang="0">
                  <a:pos x="103" y="152"/>
                </a:cxn>
                <a:cxn ang="0">
                  <a:pos x="91" y="168"/>
                </a:cxn>
                <a:cxn ang="0">
                  <a:pos x="74" y="184"/>
                </a:cxn>
                <a:cxn ang="0">
                  <a:pos x="79" y="196"/>
                </a:cxn>
                <a:cxn ang="0">
                  <a:pos x="54" y="198"/>
                </a:cxn>
                <a:cxn ang="0">
                  <a:pos x="42" y="204"/>
                </a:cxn>
                <a:cxn ang="0">
                  <a:pos x="32" y="218"/>
                </a:cxn>
                <a:cxn ang="0">
                  <a:pos x="24" y="228"/>
                </a:cxn>
                <a:cxn ang="0">
                  <a:pos x="4" y="228"/>
                </a:cxn>
                <a:cxn ang="0">
                  <a:pos x="0" y="248"/>
                </a:cxn>
                <a:cxn ang="0">
                  <a:pos x="18" y="244"/>
                </a:cxn>
                <a:cxn ang="0">
                  <a:pos x="30" y="250"/>
                </a:cxn>
                <a:cxn ang="0">
                  <a:pos x="6" y="256"/>
                </a:cxn>
                <a:cxn ang="0">
                  <a:pos x="0" y="264"/>
                </a:cxn>
                <a:cxn ang="0">
                  <a:pos x="6" y="270"/>
                </a:cxn>
                <a:cxn ang="0">
                  <a:pos x="28" y="264"/>
                </a:cxn>
                <a:cxn ang="0">
                  <a:pos x="14" y="282"/>
                </a:cxn>
                <a:cxn ang="0">
                  <a:pos x="10" y="290"/>
                </a:cxn>
                <a:cxn ang="0">
                  <a:pos x="14" y="304"/>
                </a:cxn>
                <a:cxn ang="0">
                  <a:pos x="32" y="320"/>
                </a:cxn>
                <a:cxn ang="0">
                  <a:pos x="68" y="304"/>
                </a:cxn>
              </a:cxnLst>
              <a:rect l="0" t="0" r="r" b="b"/>
              <a:pathLst>
                <a:path w="351" h="320">
                  <a:moveTo>
                    <a:pt x="85" y="300"/>
                  </a:moveTo>
                  <a:lnTo>
                    <a:pt x="85" y="300"/>
                  </a:lnTo>
                  <a:lnTo>
                    <a:pt x="89" y="300"/>
                  </a:lnTo>
                  <a:lnTo>
                    <a:pt x="89" y="300"/>
                  </a:lnTo>
                  <a:lnTo>
                    <a:pt x="91" y="300"/>
                  </a:lnTo>
                  <a:lnTo>
                    <a:pt x="91" y="298"/>
                  </a:lnTo>
                  <a:lnTo>
                    <a:pt x="93" y="292"/>
                  </a:lnTo>
                  <a:lnTo>
                    <a:pt x="93" y="292"/>
                  </a:lnTo>
                  <a:lnTo>
                    <a:pt x="91" y="290"/>
                  </a:lnTo>
                  <a:lnTo>
                    <a:pt x="89" y="284"/>
                  </a:lnTo>
                  <a:lnTo>
                    <a:pt x="89" y="284"/>
                  </a:lnTo>
                  <a:lnTo>
                    <a:pt x="89" y="282"/>
                  </a:lnTo>
                  <a:lnTo>
                    <a:pt x="91" y="280"/>
                  </a:lnTo>
                  <a:lnTo>
                    <a:pt x="91" y="280"/>
                  </a:lnTo>
                  <a:lnTo>
                    <a:pt x="93" y="280"/>
                  </a:lnTo>
                  <a:lnTo>
                    <a:pt x="93" y="278"/>
                  </a:lnTo>
                  <a:lnTo>
                    <a:pt x="93" y="276"/>
                  </a:lnTo>
                  <a:lnTo>
                    <a:pt x="95" y="274"/>
                  </a:lnTo>
                  <a:lnTo>
                    <a:pt x="95" y="274"/>
                  </a:lnTo>
                  <a:lnTo>
                    <a:pt x="97" y="272"/>
                  </a:lnTo>
                  <a:lnTo>
                    <a:pt x="95" y="268"/>
                  </a:lnTo>
                  <a:lnTo>
                    <a:pt x="95" y="268"/>
                  </a:lnTo>
                  <a:lnTo>
                    <a:pt x="93" y="266"/>
                  </a:lnTo>
                  <a:lnTo>
                    <a:pt x="93" y="264"/>
                  </a:lnTo>
                  <a:lnTo>
                    <a:pt x="95" y="260"/>
                  </a:lnTo>
                  <a:lnTo>
                    <a:pt x="95" y="260"/>
                  </a:lnTo>
                  <a:lnTo>
                    <a:pt x="95" y="252"/>
                  </a:lnTo>
                  <a:lnTo>
                    <a:pt x="95" y="252"/>
                  </a:lnTo>
                  <a:lnTo>
                    <a:pt x="95" y="252"/>
                  </a:lnTo>
                  <a:lnTo>
                    <a:pt x="99" y="250"/>
                  </a:lnTo>
                  <a:lnTo>
                    <a:pt x="99" y="250"/>
                  </a:lnTo>
                  <a:lnTo>
                    <a:pt x="101" y="248"/>
                  </a:lnTo>
                  <a:lnTo>
                    <a:pt x="101" y="246"/>
                  </a:lnTo>
                  <a:lnTo>
                    <a:pt x="101" y="242"/>
                  </a:lnTo>
                  <a:lnTo>
                    <a:pt x="101" y="242"/>
                  </a:lnTo>
                  <a:lnTo>
                    <a:pt x="99" y="236"/>
                  </a:lnTo>
                  <a:lnTo>
                    <a:pt x="97" y="234"/>
                  </a:lnTo>
                  <a:lnTo>
                    <a:pt x="97" y="234"/>
                  </a:lnTo>
                  <a:lnTo>
                    <a:pt x="95" y="234"/>
                  </a:lnTo>
                  <a:lnTo>
                    <a:pt x="95" y="232"/>
                  </a:lnTo>
                  <a:lnTo>
                    <a:pt x="97" y="228"/>
                  </a:lnTo>
                  <a:lnTo>
                    <a:pt x="97" y="228"/>
                  </a:lnTo>
                  <a:lnTo>
                    <a:pt x="97" y="222"/>
                  </a:lnTo>
                  <a:lnTo>
                    <a:pt x="97" y="216"/>
                  </a:lnTo>
                  <a:lnTo>
                    <a:pt x="97" y="216"/>
                  </a:lnTo>
                  <a:lnTo>
                    <a:pt x="97" y="210"/>
                  </a:lnTo>
                  <a:lnTo>
                    <a:pt x="97" y="204"/>
                  </a:lnTo>
                  <a:lnTo>
                    <a:pt x="97" y="204"/>
                  </a:lnTo>
                  <a:lnTo>
                    <a:pt x="97" y="200"/>
                  </a:lnTo>
                  <a:lnTo>
                    <a:pt x="95" y="196"/>
                  </a:lnTo>
                  <a:lnTo>
                    <a:pt x="95" y="196"/>
                  </a:lnTo>
                  <a:lnTo>
                    <a:pt x="97" y="192"/>
                  </a:lnTo>
                  <a:lnTo>
                    <a:pt x="99" y="190"/>
                  </a:lnTo>
                  <a:lnTo>
                    <a:pt x="101" y="188"/>
                  </a:lnTo>
                  <a:lnTo>
                    <a:pt x="103" y="186"/>
                  </a:lnTo>
                  <a:lnTo>
                    <a:pt x="103" y="186"/>
                  </a:lnTo>
                  <a:lnTo>
                    <a:pt x="103" y="182"/>
                  </a:lnTo>
                  <a:lnTo>
                    <a:pt x="107" y="180"/>
                  </a:lnTo>
                  <a:lnTo>
                    <a:pt x="109" y="176"/>
                  </a:lnTo>
                  <a:lnTo>
                    <a:pt x="109" y="174"/>
                  </a:lnTo>
                  <a:lnTo>
                    <a:pt x="109" y="174"/>
                  </a:lnTo>
                  <a:lnTo>
                    <a:pt x="111" y="172"/>
                  </a:lnTo>
                  <a:lnTo>
                    <a:pt x="113" y="168"/>
                  </a:lnTo>
                  <a:lnTo>
                    <a:pt x="121" y="166"/>
                  </a:lnTo>
                  <a:lnTo>
                    <a:pt x="121" y="166"/>
                  </a:lnTo>
                  <a:lnTo>
                    <a:pt x="123" y="166"/>
                  </a:lnTo>
                  <a:lnTo>
                    <a:pt x="125" y="168"/>
                  </a:lnTo>
                  <a:lnTo>
                    <a:pt x="129" y="172"/>
                  </a:lnTo>
                  <a:lnTo>
                    <a:pt x="129" y="172"/>
                  </a:lnTo>
                  <a:lnTo>
                    <a:pt x="131" y="172"/>
                  </a:lnTo>
                  <a:lnTo>
                    <a:pt x="133" y="170"/>
                  </a:lnTo>
                  <a:lnTo>
                    <a:pt x="133" y="164"/>
                  </a:lnTo>
                  <a:lnTo>
                    <a:pt x="133" y="164"/>
                  </a:lnTo>
                  <a:lnTo>
                    <a:pt x="135" y="156"/>
                  </a:lnTo>
                  <a:lnTo>
                    <a:pt x="133" y="150"/>
                  </a:lnTo>
                  <a:lnTo>
                    <a:pt x="133" y="150"/>
                  </a:lnTo>
                  <a:lnTo>
                    <a:pt x="135" y="148"/>
                  </a:lnTo>
                  <a:lnTo>
                    <a:pt x="137" y="146"/>
                  </a:lnTo>
                  <a:lnTo>
                    <a:pt x="141" y="144"/>
                  </a:lnTo>
                  <a:lnTo>
                    <a:pt x="141" y="144"/>
                  </a:lnTo>
                  <a:lnTo>
                    <a:pt x="143" y="140"/>
                  </a:lnTo>
                  <a:lnTo>
                    <a:pt x="147" y="134"/>
                  </a:lnTo>
                  <a:lnTo>
                    <a:pt x="149" y="126"/>
                  </a:lnTo>
                  <a:lnTo>
                    <a:pt x="149" y="126"/>
                  </a:lnTo>
                  <a:lnTo>
                    <a:pt x="149" y="120"/>
                  </a:lnTo>
                  <a:lnTo>
                    <a:pt x="151" y="118"/>
                  </a:lnTo>
                  <a:lnTo>
                    <a:pt x="153" y="116"/>
                  </a:lnTo>
                  <a:lnTo>
                    <a:pt x="153" y="116"/>
                  </a:lnTo>
                  <a:lnTo>
                    <a:pt x="157" y="116"/>
                  </a:lnTo>
                  <a:lnTo>
                    <a:pt x="157" y="114"/>
                  </a:lnTo>
                  <a:lnTo>
                    <a:pt x="157" y="114"/>
                  </a:lnTo>
                  <a:lnTo>
                    <a:pt x="157" y="114"/>
                  </a:lnTo>
                  <a:lnTo>
                    <a:pt x="159" y="112"/>
                  </a:lnTo>
                  <a:lnTo>
                    <a:pt x="161" y="110"/>
                  </a:lnTo>
                  <a:lnTo>
                    <a:pt x="165" y="106"/>
                  </a:lnTo>
                  <a:lnTo>
                    <a:pt x="165" y="106"/>
                  </a:lnTo>
                  <a:lnTo>
                    <a:pt x="167" y="104"/>
                  </a:lnTo>
                  <a:lnTo>
                    <a:pt x="169" y="100"/>
                  </a:lnTo>
                  <a:lnTo>
                    <a:pt x="169" y="100"/>
                  </a:lnTo>
                  <a:lnTo>
                    <a:pt x="169" y="94"/>
                  </a:lnTo>
                  <a:lnTo>
                    <a:pt x="171" y="90"/>
                  </a:lnTo>
                  <a:lnTo>
                    <a:pt x="171" y="90"/>
                  </a:lnTo>
                  <a:lnTo>
                    <a:pt x="175" y="86"/>
                  </a:lnTo>
                  <a:lnTo>
                    <a:pt x="177" y="84"/>
                  </a:lnTo>
                  <a:lnTo>
                    <a:pt x="177" y="84"/>
                  </a:lnTo>
                  <a:lnTo>
                    <a:pt x="183" y="90"/>
                  </a:lnTo>
                  <a:lnTo>
                    <a:pt x="187" y="92"/>
                  </a:lnTo>
                  <a:lnTo>
                    <a:pt x="187" y="92"/>
                  </a:lnTo>
                  <a:lnTo>
                    <a:pt x="187" y="92"/>
                  </a:lnTo>
                  <a:lnTo>
                    <a:pt x="187" y="92"/>
                  </a:lnTo>
                  <a:lnTo>
                    <a:pt x="185" y="90"/>
                  </a:lnTo>
                  <a:lnTo>
                    <a:pt x="187" y="88"/>
                  </a:lnTo>
                  <a:lnTo>
                    <a:pt x="187" y="84"/>
                  </a:lnTo>
                  <a:lnTo>
                    <a:pt x="187" y="84"/>
                  </a:lnTo>
                  <a:lnTo>
                    <a:pt x="187" y="82"/>
                  </a:lnTo>
                  <a:lnTo>
                    <a:pt x="187" y="82"/>
                  </a:lnTo>
                  <a:lnTo>
                    <a:pt x="191" y="82"/>
                  </a:lnTo>
                  <a:lnTo>
                    <a:pt x="191" y="82"/>
                  </a:lnTo>
                  <a:lnTo>
                    <a:pt x="195" y="82"/>
                  </a:lnTo>
                  <a:lnTo>
                    <a:pt x="201" y="84"/>
                  </a:lnTo>
                  <a:lnTo>
                    <a:pt x="201" y="84"/>
                  </a:lnTo>
                  <a:lnTo>
                    <a:pt x="203" y="82"/>
                  </a:lnTo>
                  <a:lnTo>
                    <a:pt x="203" y="80"/>
                  </a:lnTo>
                  <a:lnTo>
                    <a:pt x="205" y="76"/>
                  </a:lnTo>
                  <a:lnTo>
                    <a:pt x="207" y="68"/>
                  </a:lnTo>
                  <a:lnTo>
                    <a:pt x="205" y="64"/>
                  </a:lnTo>
                  <a:lnTo>
                    <a:pt x="211" y="64"/>
                  </a:lnTo>
                  <a:lnTo>
                    <a:pt x="217" y="60"/>
                  </a:lnTo>
                  <a:lnTo>
                    <a:pt x="219" y="58"/>
                  </a:lnTo>
                  <a:lnTo>
                    <a:pt x="219" y="58"/>
                  </a:lnTo>
                  <a:lnTo>
                    <a:pt x="219" y="56"/>
                  </a:lnTo>
                  <a:lnTo>
                    <a:pt x="221" y="56"/>
                  </a:lnTo>
                  <a:lnTo>
                    <a:pt x="225" y="56"/>
                  </a:lnTo>
                  <a:lnTo>
                    <a:pt x="239" y="72"/>
                  </a:lnTo>
                  <a:lnTo>
                    <a:pt x="239" y="72"/>
                  </a:lnTo>
                  <a:lnTo>
                    <a:pt x="245" y="70"/>
                  </a:lnTo>
                  <a:lnTo>
                    <a:pt x="253" y="70"/>
                  </a:lnTo>
                  <a:lnTo>
                    <a:pt x="253" y="70"/>
                  </a:lnTo>
                  <a:lnTo>
                    <a:pt x="257" y="72"/>
                  </a:lnTo>
                  <a:lnTo>
                    <a:pt x="257" y="72"/>
                  </a:lnTo>
                  <a:lnTo>
                    <a:pt x="257" y="70"/>
                  </a:lnTo>
                  <a:lnTo>
                    <a:pt x="259" y="70"/>
                  </a:lnTo>
                  <a:lnTo>
                    <a:pt x="259" y="70"/>
                  </a:lnTo>
                  <a:lnTo>
                    <a:pt x="263" y="70"/>
                  </a:lnTo>
                  <a:lnTo>
                    <a:pt x="263" y="72"/>
                  </a:lnTo>
                  <a:lnTo>
                    <a:pt x="271" y="78"/>
                  </a:lnTo>
                  <a:lnTo>
                    <a:pt x="271" y="78"/>
                  </a:lnTo>
                  <a:lnTo>
                    <a:pt x="271" y="76"/>
                  </a:lnTo>
                  <a:lnTo>
                    <a:pt x="271" y="74"/>
                  </a:lnTo>
                  <a:lnTo>
                    <a:pt x="273" y="72"/>
                  </a:lnTo>
                  <a:lnTo>
                    <a:pt x="273" y="72"/>
                  </a:lnTo>
                  <a:lnTo>
                    <a:pt x="279" y="68"/>
                  </a:lnTo>
                  <a:lnTo>
                    <a:pt x="281" y="64"/>
                  </a:lnTo>
                  <a:lnTo>
                    <a:pt x="281" y="64"/>
                  </a:lnTo>
                  <a:lnTo>
                    <a:pt x="281" y="58"/>
                  </a:lnTo>
                  <a:lnTo>
                    <a:pt x="279" y="56"/>
                  </a:lnTo>
                  <a:lnTo>
                    <a:pt x="279" y="56"/>
                  </a:lnTo>
                  <a:lnTo>
                    <a:pt x="281" y="54"/>
                  </a:lnTo>
                  <a:lnTo>
                    <a:pt x="281" y="50"/>
                  </a:lnTo>
                  <a:lnTo>
                    <a:pt x="281" y="50"/>
                  </a:lnTo>
                  <a:lnTo>
                    <a:pt x="283" y="48"/>
                  </a:lnTo>
                  <a:lnTo>
                    <a:pt x="287" y="46"/>
                  </a:lnTo>
                  <a:lnTo>
                    <a:pt x="287" y="46"/>
                  </a:lnTo>
                  <a:lnTo>
                    <a:pt x="289" y="44"/>
                  </a:lnTo>
                  <a:lnTo>
                    <a:pt x="291" y="42"/>
                  </a:lnTo>
                  <a:lnTo>
                    <a:pt x="293" y="40"/>
                  </a:lnTo>
                  <a:lnTo>
                    <a:pt x="293" y="40"/>
                  </a:lnTo>
                  <a:lnTo>
                    <a:pt x="301" y="42"/>
                  </a:lnTo>
                  <a:lnTo>
                    <a:pt x="301" y="42"/>
                  </a:lnTo>
                  <a:lnTo>
                    <a:pt x="303" y="42"/>
                  </a:lnTo>
                  <a:lnTo>
                    <a:pt x="307" y="38"/>
                  </a:lnTo>
                  <a:lnTo>
                    <a:pt x="311" y="36"/>
                  </a:lnTo>
                  <a:lnTo>
                    <a:pt x="311" y="36"/>
                  </a:lnTo>
                  <a:lnTo>
                    <a:pt x="315" y="40"/>
                  </a:lnTo>
                  <a:lnTo>
                    <a:pt x="319" y="48"/>
                  </a:lnTo>
                  <a:lnTo>
                    <a:pt x="319" y="48"/>
                  </a:lnTo>
                  <a:lnTo>
                    <a:pt x="327" y="54"/>
                  </a:lnTo>
                  <a:lnTo>
                    <a:pt x="327" y="54"/>
                  </a:lnTo>
                  <a:lnTo>
                    <a:pt x="333" y="54"/>
                  </a:lnTo>
                  <a:lnTo>
                    <a:pt x="333" y="54"/>
                  </a:lnTo>
                  <a:lnTo>
                    <a:pt x="333" y="58"/>
                  </a:lnTo>
                  <a:lnTo>
                    <a:pt x="333" y="58"/>
                  </a:lnTo>
                  <a:lnTo>
                    <a:pt x="335" y="60"/>
                  </a:lnTo>
                  <a:lnTo>
                    <a:pt x="335" y="60"/>
                  </a:lnTo>
                  <a:lnTo>
                    <a:pt x="337" y="60"/>
                  </a:lnTo>
                  <a:lnTo>
                    <a:pt x="337" y="60"/>
                  </a:lnTo>
                  <a:lnTo>
                    <a:pt x="339" y="54"/>
                  </a:lnTo>
                  <a:lnTo>
                    <a:pt x="339" y="50"/>
                  </a:lnTo>
                  <a:lnTo>
                    <a:pt x="339" y="50"/>
                  </a:lnTo>
                  <a:lnTo>
                    <a:pt x="339" y="44"/>
                  </a:lnTo>
                  <a:lnTo>
                    <a:pt x="337" y="42"/>
                  </a:lnTo>
                  <a:lnTo>
                    <a:pt x="337" y="42"/>
                  </a:lnTo>
                  <a:lnTo>
                    <a:pt x="339" y="42"/>
                  </a:lnTo>
                  <a:lnTo>
                    <a:pt x="341" y="42"/>
                  </a:lnTo>
                  <a:lnTo>
                    <a:pt x="341" y="42"/>
                  </a:lnTo>
                  <a:lnTo>
                    <a:pt x="341" y="42"/>
                  </a:lnTo>
                  <a:lnTo>
                    <a:pt x="343" y="40"/>
                  </a:lnTo>
                  <a:lnTo>
                    <a:pt x="347" y="38"/>
                  </a:lnTo>
                  <a:lnTo>
                    <a:pt x="351" y="36"/>
                  </a:lnTo>
                  <a:lnTo>
                    <a:pt x="351" y="36"/>
                  </a:lnTo>
                  <a:lnTo>
                    <a:pt x="347" y="36"/>
                  </a:lnTo>
                  <a:lnTo>
                    <a:pt x="347" y="36"/>
                  </a:lnTo>
                  <a:lnTo>
                    <a:pt x="345" y="34"/>
                  </a:lnTo>
                  <a:lnTo>
                    <a:pt x="345" y="34"/>
                  </a:lnTo>
                  <a:lnTo>
                    <a:pt x="341" y="40"/>
                  </a:lnTo>
                  <a:lnTo>
                    <a:pt x="341" y="40"/>
                  </a:lnTo>
                  <a:lnTo>
                    <a:pt x="339" y="36"/>
                  </a:lnTo>
                  <a:lnTo>
                    <a:pt x="339" y="36"/>
                  </a:lnTo>
                  <a:lnTo>
                    <a:pt x="339" y="38"/>
                  </a:lnTo>
                  <a:lnTo>
                    <a:pt x="337" y="40"/>
                  </a:lnTo>
                  <a:lnTo>
                    <a:pt x="337" y="40"/>
                  </a:lnTo>
                  <a:lnTo>
                    <a:pt x="333" y="42"/>
                  </a:lnTo>
                  <a:lnTo>
                    <a:pt x="333" y="42"/>
                  </a:lnTo>
                  <a:lnTo>
                    <a:pt x="333" y="36"/>
                  </a:lnTo>
                  <a:lnTo>
                    <a:pt x="333" y="36"/>
                  </a:lnTo>
                  <a:lnTo>
                    <a:pt x="329" y="32"/>
                  </a:lnTo>
                  <a:lnTo>
                    <a:pt x="329" y="32"/>
                  </a:lnTo>
                  <a:lnTo>
                    <a:pt x="335" y="34"/>
                  </a:lnTo>
                  <a:lnTo>
                    <a:pt x="341" y="32"/>
                  </a:lnTo>
                  <a:lnTo>
                    <a:pt x="341" y="32"/>
                  </a:lnTo>
                  <a:lnTo>
                    <a:pt x="341" y="30"/>
                  </a:lnTo>
                  <a:lnTo>
                    <a:pt x="343" y="28"/>
                  </a:lnTo>
                  <a:lnTo>
                    <a:pt x="343" y="28"/>
                  </a:lnTo>
                  <a:lnTo>
                    <a:pt x="347" y="28"/>
                  </a:lnTo>
                  <a:lnTo>
                    <a:pt x="351" y="28"/>
                  </a:lnTo>
                  <a:lnTo>
                    <a:pt x="351" y="28"/>
                  </a:lnTo>
                  <a:lnTo>
                    <a:pt x="347" y="20"/>
                  </a:lnTo>
                  <a:lnTo>
                    <a:pt x="345" y="20"/>
                  </a:lnTo>
                  <a:lnTo>
                    <a:pt x="339" y="20"/>
                  </a:lnTo>
                  <a:lnTo>
                    <a:pt x="339" y="20"/>
                  </a:lnTo>
                  <a:lnTo>
                    <a:pt x="341" y="16"/>
                  </a:lnTo>
                  <a:lnTo>
                    <a:pt x="341" y="14"/>
                  </a:lnTo>
                  <a:lnTo>
                    <a:pt x="335" y="18"/>
                  </a:lnTo>
                  <a:lnTo>
                    <a:pt x="335" y="18"/>
                  </a:lnTo>
                  <a:lnTo>
                    <a:pt x="331" y="8"/>
                  </a:lnTo>
                  <a:lnTo>
                    <a:pt x="331" y="8"/>
                  </a:lnTo>
                  <a:lnTo>
                    <a:pt x="327" y="8"/>
                  </a:lnTo>
                  <a:lnTo>
                    <a:pt x="327" y="8"/>
                  </a:lnTo>
                  <a:lnTo>
                    <a:pt x="323" y="14"/>
                  </a:lnTo>
                  <a:lnTo>
                    <a:pt x="325" y="20"/>
                  </a:lnTo>
                  <a:lnTo>
                    <a:pt x="325" y="20"/>
                  </a:lnTo>
                  <a:lnTo>
                    <a:pt x="321" y="22"/>
                  </a:lnTo>
                  <a:lnTo>
                    <a:pt x="321" y="22"/>
                  </a:lnTo>
                  <a:lnTo>
                    <a:pt x="319" y="20"/>
                  </a:lnTo>
                  <a:lnTo>
                    <a:pt x="321" y="16"/>
                  </a:lnTo>
                  <a:lnTo>
                    <a:pt x="321" y="12"/>
                  </a:lnTo>
                  <a:lnTo>
                    <a:pt x="319" y="12"/>
                  </a:lnTo>
                  <a:lnTo>
                    <a:pt x="319" y="12"/>
                  </a:lnTo>
                  <a:lnTo>
                    <a:pt x="317" y="14"/>
                  </a:lnTo>
                  <a:lnTo>
                    <a:pt x="317" y="14"/>
                  </a:lnTo>
                  <a:lnTo>
                    <a:pt x="317" y="16"/>
                  </a:lnTo>
                  <a:lnTo>
                    <a:pt x="315" y="16"/>
                  </a:lnTo>
                  <a:lnTo>
                    <a:pt x="315" y="16"/>
                  </a:lnTo>
                  <a:lnTo>
                    <a:pt x="315" y="12"/>
                  </a:lnTo>
                  <a:lnTo>
                    <a:pt x="315" y="10"/>
                  </a:lnTo>
                  <a:lnTo>
                    <a:pt x="315" y="10"/>
                  </a:lnTo>
                  <a:lnTo>
                    <a:pt x="319" y="8"/>
                  </a:lnTo>
                  <a:lnTo>
                    <a:pt x="321" y="8"/>
                  </a:lnTo>
                  <a:lnTo>
                    <a:pt x="319" y="6"/>
                  </a:lnTo>
                  <a:lnTo>
                    <a:pt x="319" y="6"/>
                  </a:lnTo>
                  <a:lnTo>
                    <a:pt x="319" y="2"/>
                  </a:lnTo>
                  <a:lnTo>
                    <a:pt x="319" y="2"/>
                  </a:lnTo>
                  <a:lnTo>
                    <a:pt x="313" y="2"/>
                  </a:lnTo>
                  <a:lnTo>
                    <a:pt x="313" y="0"/>
                  </a:lnTo>
                  <a:lnTo>
                    <a:pt x="313" y="0"/>
                  </a:lnTo>
                  <a:lnTo>
                    <a:pt x="309" y="0"/>
                  </a:lnTo>
                  <a:lnTo>
                    <a:pt x="309" y="0"/>
                  </a:lnTo>
                  <a:lnTo>
                    <a:pt x="309" y="6"/>
                  </a:lnTo>
                  <a:lnTo>
                    <a:pt x="307" y="6"/>
                  </a:lnTo>
                  <a:lnTo>
                    <a:pt x="307" y="6"/>
                  </a:lnTo>
                  <a:lnTo>
                    <a:pt x="305" y="6"/>
                  </a:lnTo>
                  <a:lnTo>
                    <a:pt x="305" y="6"/>
                  </a:lnTo>
                  <a:lnTo>
                    <a:pt x="305" y="10"/>
                  </a:lnTo>
                  <a:lnTo>
                    <a:pt x="305" y="10"/>
                  </a:lnTo>
                  <a:lnTo>
                    <a:pt x="307" y="12"/>
                  </a:lnTo>
                  <a:lnTo>
                    <a:pt x="307" y="12"/>
                  </a:lnTo>
                  <a:lnTo>
                    <a:pt x="303" y="14"/>
                  </a:lnTo>
                  <a:lnTo>
                    <a:pt x="303" y="14"/>
                  </a:lnTo>
                  <a:lnTo>
                    <a:pt x="301" y="18"/>
                  </a:lnTo>
                  <a:lnTo>
                    <a:pt x="301" y="20"/>
                  </a:lnTo>
                  <a:lnTo>
                    <a:pt x="301" y="20"/>
                  </a:lnTo>
                  <a:lnTo>
                    <a:pt x="295" y="24"/>
                  </a:lnTo>
                  <a:lnTo>
                    <a:pt x="295" y="24"/>
                  </a:lnTo>
                  <a:lnTo>
                    <a:pt x="295" y="28"/>
                  </a:lnTo>
                  <a:lnTo>
                    <a:pt x="295" y="28"/>
                  </a:lnTo>
                  <a:lnTo>
                    <a:pt x="293" y="26"/>
                  </a:lnTo>
                  <a:lnTo>
                    <a:pt x="293" y="24"/>
                  </a:lnTo>
                  <a:lnTo>
                    <a:pt x="293" y="20"/>
                  </a:lnTo>
                  <a:lnTo>
                    <a:pt x="293" y="20"/>
                  </a:lnTo>
                  <a:lnTo>
                    <a:pt x="293" y="20"/>
                  </a:lnTo>
                  <a:lnTo>
                    <a:pt x="293" y="22"/>
                  </a:lnTo>
                  <a:lnTo>
                    <a:pt x="295" y="22"/>
                  </a:lnTo>
                  <a:lnTo>
                    <a:pt x="295" y="20"/>
                  </a:lnTo>
                  <a:lnTo>
                    <a:pt x="295" y="20"/>
                  </a:lnTo>
                  <a:lnTo>
                    <a:pt x="295" y="18"/>
                  </a:lnTo>
                  <a:lnTo>
                    <a:pt x="295" y="16"/>
                  </a:lnTo>
                  <a:lnTo>
                    <a:pt x="295" y="16"/>
                  </a:lnTo>
                  <a:lnTo>
                    <a:pt x="297" y="12"/>
                  </a:lnTo>
                  <a:lnTo>
                    <a:pt x="297" y="12"/>
                  </a:lnTo>
                  <a:lnTo>
                    <a:pt x="297" y="10"/>
                  </a:lnTo>
                  <a:lnTo>
                    <a:pt x="297" y="8"/>
                  </a:lnTo>
                  <a:lnTo>
                    <a:pt x="295" y="8"/>
                  </a:lnTo>
                  <a:lnTo>
                    <a:pt x="295" y="8"/>
                  </a:lnTo>
                  <a:lnTo>
                    <a:pt x="295" y="12"/>
                  </a:lnTo>
                  <a:lnTo>
                    <a:pt x="293" y="12"/>
                  </a:lnTo>
                  <a:lnTo>
                    <a:pt x="293" y="12"/>
                  </a:lnTo>
                  <a:lnTo>
                    <a:pt x="291" y="16"/>
                  </a:lnTo>
                  <a:lnTo>
                    <a:pt x="289" y="16"/>
                  </a:lnTo>
                  <a:lnTo>
                    <a:pt x="289" y="16"/>
                  </a:lnTo>
                  <a:lnTo>
                    <a:pt x="285" y="24"/>
                  </a:lnTo>
                  <a:lnTo>
                    <a:pt x="285" y="24"/>
                  </a:lnTo>
                  <a:lnTo>
                    <a:pt x="283" y="26"/>
                  </a:lnTo>
                  <a:lnTo>
                    <a:pt x="279" y="28"/>
                  </a:lnTo>
                  <a:lnTo>
                    <a:pt x="279" y="28"/>
                  </a:lnTo>
                  <a:lnTo>
                    <a:pt x="279" y="30"/>
                  </a:lnTo>
                  <a:lnTo>
                    <a:pt x="279" y="34"/>
                  </a:lnTo>
                  <a:lnTo>
                    <a:pt x="279" y="34"/>
                  </a:lnTo>
                  <a:lnTo>
                    <a:pt x="275" y="38"/>
                  </a:lnTo>
                  <a:lnTo>
                    <a:pt x="275" y="38"/>
                  </a:lnTo>
                  <a:lnTo>
                    <a:pt x="273" y="36"/>
                  </a:lnTo>
                  <a:lnTo>
                    <a:pt x="273" y="36"/>
                  </a:lnTo>
                  <a:lnTo>
                    <a:pt x="275" y="24"/>
                  </a:lnTo>
                  <a:lnTo>
                    <a:pt x="275" y="24"/>
                  </a:lnTo>
                  <a:lnTo>
                    <a:pt x="279" y="24"/>
                  </a:lnTo>
                  <a:lnTo>
                    <a:pt x="281" y="22"/>
                  </a:lnTo>
                  <a:lnTo>
                    <a:pt x="281" y="22"/>
                  </a:lnTo>
                  <a:lnTo>
                    <a:pt x="283" y="16"/>
                  </a:lnTo>
                  <a:lnTo>
                    <a:pt x="283" y="16"/>
                  </a:lnTo>
                  <a:lnTo>
                    <a:pt x="277" y="16"/>
                  </a:lnTo>
                  <a:lnTo>
                    <a:pt x="277" y="16"/>
                  </a:lnTo>
                  <a:lnTo>
                    <a:pt x="277" y="12"/>
                  </a:lnTo>
                  <a:lnTo>
                    <a:pt x="277" y="12"/>
                  </a:lnTo>
                  <a:lnTo>
                    <a:pt x="277" y="12"/>
                  </a:lnTo>
                  <a:lnTo>
                    <a:pt x="275" y="12"/>
                  </a:lnTo>
                  <a:lnTo>
                    <a:pt x="275" y="14"/>
                  </a:lnTo>
                  <a:lnTo>
                    <a:pt x="275" y="14"/>
                  </a:lnTo>
                  <a:lnTo>
                    <a:pt x="273" y="14"/>
                  </a:lnTo>
                  <a:lnTo>
                    <a:pt x="271" y="12"/>
                  </a:lnTo>
                  <a:lnTo>
                    <a:pt x="267" y="10"/>
                  </a:lnTo>
                  <a:lnTo>
                    <a:pt x="267" y="10"/>
                  </a:lnTo>
                  <a:lnTo>
                    <a:pt x="265" y="10"/>
                  </a:lnTo>
                  <a:lnTo>
                    <a:pt x="265" y="10"/>
                  </a:lnTo>
                  <a:lnTo>
                    <a:pt x="267" y="18"/>
                  </a:lnTo>
                  <a:lnTo>
                    <a:pt x="265" y="18"/>
                  </a:lnTo>
                  <a:lnTo>
                    <a:pt x="265" y="18"/>
                  </a:lnTo>
                  <a:lnTo>
                    <a:pt x="265" y="20"/>
                  </a:lnTo>
                  <a:lnTo>
                    <a:pt x="267" y="20"/>
                  </a:lnTo>
                  <a:lnTo>
                    <a:pt x="267" y="20"/>
                  </a:lnTo>
                  <a:lnTo>
                    <a:pt x="263" y="22"/>
                  </a:lnTo>
                  <a:lnTo>
                    <a:pt x="263" y="22"/>
                  </a:lnTo>
                  <a:lnTo>
                    <a:pt x="261" y="16"/>
                  </a:lnTo>
                  <a:lnTo>
                    <a:pt x="261" y="16"/>
                  </a:lnTo>
                  <a:lnTo>
                    <a:pt x="257" y="16"/>
                  </a:lnTo>
                  <a:lnTo>
                    <a:pt x="257" y="16"/>
                  </a:lnTo>
                  <a:lnTo>
                    <a:pt x="257" y="18"/>
                  </a:lnTo>
                  <a:lnTo>
                    <a:pt x="259" y="18"/>
                  </a:lnTo>
                  <a:lnTo>
                    <a:pt x="259" y="18"/>
                  </a:lnTo>
                  <a:lnTo>
                    <a:pt x="255" y="22"/>
                  </a:lnTo>
                  <a:lnTo>
                    <a:pt x="249" y="26"/>
                  </a:lnTo>
                  <a:lnTo>
                    <a:pt x="249" y="26"/>
                  </a:lnTo>
                  <a:lnTo>
                    <a:pt x="247" y="26"/>
                  </a:lnTo>
                  <a:lnTo>
                    <a:pt x="247" y="26"/>
                  </a:lnTo>
                  <a:lnTo>
                    <a:pt x="245" y="32"/>
                  </a:lnTo>
                  <a:lnTo>
                    <a:pt x="245" y="32"/>
                  </a:lnTo>
                  <a:lnTo>
                    <a:pt x="239" y="30"/>
                  </a:lnTo>
                  <a:lnTo>
                    <a:pt x="235" y="26"/>
                  </a:lnTo>
                  <a:lnTo>
                    <a:pt x="235" y="26"/>
                  </a:lnTo>
                  <a:lnTo>
                    <a:pt x="235" y="24"/>
                  </a:lnTo>
                  <a:lnTo>
                    <a:pt x="235" y="24"/>
                  </a:lnTo>
                  <a:lnTo>
                    <a:pt x="233" y="24"/>
                  </a:lnTo>
                  <a:lnTo>
                    <a:pt x="231" y="24"/>
                  </a:lnTo>
                  <a:lnTo>
                    <a:pt x="231" y="24"/>
                  </a:lnTo>
                  <a:lnTo>
                    <a:pt x="229" y="22"/>
                  </a:lnTo>
                  <a:lnTo>
                    <a:pt x="227" y="20"/>
                  </a:lnTo>
                  <a:lnTo>
                    <a:pt x="225" y="20"/>
                  </a:lnTo>
                  <a:lnTo>
                    <a:pt x="225" y="20"/>
                  </a:lnTo>
                  <a:lnTo>
                    <a:pt x="225" y="24"/>
                  </a:lnTo>
                  <a:lnTo>
                    <a:pt x="225" y="24"/>
                  </a:lnTo>
                  <a:lnTo>
                    <a:pt x="219" y="24"/>
                  </a:lnTo>
                  <a:lnTo>
                    <a:pt x="219" y="24"/>
                  </a:lnTo>
                  <a:lnTo>
                    <a:pt x="219" y="26"/>
                  </a:lnTo>
                  <a:lnTo>
                    <a:pt x="219" y="26"/>
                  </a:lnTo>
                  <a:lnTo>
                    <a:pt x="221" y="28"/>
                  </a:lnTo>
                  <a:lnTo>
                    <a:pt x="221" y="28"/>
                  </a:lnTo>
                  <a:lnTo>
                    <a:pt x="221" y="28"/>
                  </a:lnTo>
                  <a:lnTo>
                    <a:pt x="225" y="28"/>
                  </a:lnTo>
                  <a:lnTo>
                    <a:pt x="225" y="28"/>
                  </a:lnTo>
                  <a:lnTo>
                    <a:pt x="227" y="30"/>
                  </a:lnTo>
                  <a:lnTo>
                    <a:pt x="227" y="30"/>
                  </a:lnTo>
                  <a:lnTo>
                    <a:pt x="229" y="34"/>
                  </a:lnTo>
                  <a:lnTo>
                    <a:pt x="229" y="34"/>
                  </a:lnTo>
                  <a:lnTo>
                    <a:pt x="229" y="36"/>
                  </a:lnTo>
                  <a:lnTo>
                    <a:pt x="227" y="36"/>
                  </a:lnTo>
                  <a:lnTo>
                    <a:pt x="227" y="36"/>
                  </a:lnTo>
                  <a:lnTo>
                    <a:pt x="225" y="34"/>
                  </a:lnTo>
                  <a:lnTo>
                    <a:pt x="223" y="32"/>
                  </a:lnTo>
                  <a:lnTo>
                    <a:pt x="223" y="32"/>
                  </a:lnTo>
                  <a:lnTo>
                    <a:pt x="217" y="30"/>
                  </a:lnTo>
                  <a:lnTo>
                    <a:pt x="217" y="30"/>
                  </a:lnTo>
                  <a:lnTo>
                    <a:pt x="217" y="32"/>
                  </a:lnTo>
                  <a:lnTo>
                    <a:pt x="217" y="32"/>
                  </a:lnTo>
                  <a:lnTo>
                    <a:pt x="219" y="34"/>
                  </a:lnTo>
                  <a:lnTo>
                    <a:pt x="219" y="34"/>
                  </a:lnTo>
                  <a:lnTo>
                    <a:pt x="219" y="34"/>
                  </a:lnTo>
                  <a:lnTo>
                    <a:pt x="221" y="36"/>
                  </a:lnTo>
                  <a:lnTo>
                    <a:pt x="221" y="36"/>
                  </a:lnTo>
                  <a:lnTo>
                    <a:pt x="219" y="38"/>
                  </a:lnTo>
                  <a:lnTo>
                    <a:pt x="217" y="40"/>
                  </a:lnTo>
                  <a:lnTo>
                    <a:pt x="217" y="40"/>
                  </a:lnTo>
                  <a:lnTo>
                    <a:pt x="215" y="40"/>
                  </a:lnTo>
                  <a:lnTo>
                    <a:pt x="215" y="40"/>
                  </a:lnTo>
                  <a:lnTo>
                    <a:pt x="215" y="36"/>
                  </a:lnTo>
                  <a:lnTo>
                    <a:pt x="213" y="32"/>
                  </a:lnTo>
                  <a:lnTo>
                    <a:pt x="213" y="32"/>
                  </a:lnTo>
                  <a:lnTo>
                    <a:pt x="213" y="32"/>
                  </a:lnTo>
                  <a:lnTo>
                    <a:pt x="213" y="34"/>
                  </a:lnTo>
                  <a:lnTo>
                    <a:pt x="211" y="34"/>
                  </a:lnTo>
                  <a:lnTo>
                    <a:pt x="211" y="34"/>
                  </a:lnTo>
                  <a:lnTo>
                    <a:pt x="211" y="38"/>
                  </a:lnTo>
                  <a:lnTo>
                    <a:pt x="211" y="38"/>
                  </a:lnTo>
                  <a:lnTo>
                    <a:pt x="209" y="40"/>
                  </a:lnTo>
                  <a:lnTo>
                    <a:pt x="209" y="42"/>
                  </a:lnTo>
                  <a:lnTo>
                    <a:pt x="209" y="42"/>
                  </a:lnTo>
                  <a:lnTo>
                    <a:pt x="207" y="42"/>
                  </a:lnTo>
                  <a:lnTo>
                    <a:pt x="209" y="38"/>
                  </a:lnTo>
                  <a:lnTo>
                    <a:pt x="209" y="34"/>
                  </a:lnTo>
                  <a:lnTo>
                    <a:pt x="205" y="32"/>
                  </a:lnTo>
                  <a:lnTo>
                    <a:pt x="205" y="32"/>
                  </a:lnTo>
                  <a:lnTo>
                    <a:pt x="201" y="38"/>
                  </a:lnTo>
                  <a:lnTo>
                    <a:pt x="197" y="44"/>
                  </a:lnTo>
                  <a:lnTo>
                    <a:pt x="197" y="44"/>
                  </a:lnTo>
                  <a:lnTo>
                    <a:pt x="195" y="44"/>
                  </a:lnTo>
                  <a:lnTo>
                    <a:pt x="195" y="44"/>
                  </a:lnTo>
                  <a:lnTo>
                    <a:pt x="195" y="36"/>
                  </a:lnTo>
                  <a:lnTo>
                    <a:pt x="195" y="36"/>
                  </a:lnTo>
                  <a:lnTo>
                    <a:pt x="193" y="38"/>
                  </a:lnTo>
                  <a:lnTo>
                    <a:pt x="191" y="38"/>
                  </a:lnTo>
                  <a:lnTo>
                    <a:pt x="191" y="38"/>
                  </a:lnTo>
                  <a:lnTo>
                    <a:pt x="189" y="42"/>
                  </a:lnTo>
                  <a:lnTo>
                    <a:pt x="189" y="46"/>
                  </a:lnTo>
                  <a:lnTo>
                    <a:pt x="189" y="46"/>
                  </a:lnTo>
                  <a:lnTo>
                    <a:pt x="193" y="46"/>
                  </a:lnTo>
                  <a:lnTo>
                    <a:pt x="193" y="46"/>
                  </a:lnTo>
                  <a:lnTo>
                    <a:pt x="193" y="52"/>
                  </a:lnTo>
                  <a:lnTo>
                    <a:pt x="193" y="54"/>
                  </a:lnTo>
                  <a:lnTo>
                    <a:pt x="191" y="54"/>
                  </a:lnTo>
                  <a:lnTo>
                    <a:pt x="191" y="54"/>
                  </a:lnTo>
                  <a:lnTo>
                    <a:pt x="189" y="50"/>
                  </a:lnTo>
                  <a:lnTo>
                    <a:pt x="189" y="48"/>
                  </a:lnTo>
                  <a:lnTo>
                    <a:pt x="189" y="48"/>
                  </a:lnTo>
                  <a:lnTo>
                    <a:pt x="185" y="48"/>
                  </a:lnTo>
                  <a:lnTo>
                    <a:pt x="185" y="48"/>
                  </a:lnTo>
                  <a:lnTo>
                    <a:pt x="187" y="52"/>
                  </a:lnTo>
                  <a:lnTo>
                    <a:pt x="187" y="52"/>
                  </a:lnTo>
                  <a:lnTo>
                    <a:pt x="187" y="52"/>
                  </a:lnTo>
                  <a:lnTo>
                    <a:pt x="187" y="52"/>
                  </a:lnTo>
                  <a:lnTo>
                    <a:pt x="187" y="54"/>
                  </a:lnTo>
                  <a:lnTo>
                    <a:pt x="187" y="54"/>
                  </a:lnTo>
                  <a:lnTo>
                    <a:pt x="185" y="54"/>
                  </a:lnTo>
                  <a:lnTo>
                    <a:pt x="185" y="54"/>
                  </a:lnTo>
                  <a:lnTo>
                    <a:pt x="185" y="54"/>
                  </a:lnTo>
                  <a:lnTo>
                    <a:pt x="181" y="54"/>
                  </a:lnTo>
                  <a:lnTo>
                    <a:pt x="181" y="54"/>
                  </a:lnTo>
                  <a:lnTo>
                    <a:pt x="181" y="52"/>
                  </a:lnTo>
                  <a:lnTo>
                    <a:pt x="179" y="50"/>
                  </a:lnTo>
                  <a:lnTo>
                    <a:pt x="179" y="50"/>
                  </a:lnTo>
                  <a:lnTo>
                    <a:pt x="179" y="58"/>
                  </a:lnTo>
                  <a:lnTo>
                    <a:pt x="175" y="60"/>
                  </a:lnTo>
                  <a:lnTo>
                    <a:pt x="175" y="60"/>
                  </a:lnTo>
                  <a:lnTo>
                    <a:pt x="173" y="66"/>
                  </a:lnTo>
                  <a:lnTo>
                    <a:pt x="171" y="68"/>
                  </a:lnTo>
                  <a:lnTo>
                    <a:pt x="171" y="68"/>
                  </a:lnTo>
                  <a:lnTo>
                    <a:pt x="173" y="72"/>
                  </a:lnTo>
                  <a:lnTo>
                    <a:pt x="171" y="76"/>
                  </a:lnTo>
                  <a:lnTo>
                    <a:pt x="171" y="76"/>
                  </a:lnTo>
                  <a:lnTo>
                    <a:pt x="169" y="76"/>
                  </a:lnTo>
                  <a:lnTo>
                    <a:pt x="167" y="78"/>
                  </a:lnTo>
                  <a:lnTo>
                    <a:pt x="167" y="78"/>
                  </a:lnTo>
                  <a:lnTo>
                    <a:pt x="165" y="78"/>
                  </a:lnTo>
                  <a:lnTo>
                    <a:pt x="161" y="78"/>
                  </a:lnTo>
                  <a:lnTo>
                    <a:pt x="161" y="78"/>
                  </a:lnTo>
                  <a:lnTo>
                    <a:pt x="157" y="82"/>
                  </a:lnTo>
                  <a:lnTo>
                    <a:pt x="157" y="82"/>
                  </a:lnTo>
                  <a:lnTo>
                    <a:pt x="157" y="84"/>
                  </a:lnTo>
                  <a:lnTo>
                    <a:pt x="157" y="84"/>
                  </a:lnTo>
                  <a:lnTo>
                    <a:pt x="165" y="84"/>
                  </a:lnTo>
                  <a:lnTo>
                    <a:pt x="165" y="84"/>
                  </a:lnTo>
                  <a:lnTo>
                    <a:pt x="167" y="82"/>
                  </a:lnTo>
                  <a:lnTo>
                    <a:pt x="169" y="82"/>
                  </a:lnTo>
                  <a:lnTo>
                    <a:pt x="171" y="82"/>
                  </a:lnTo>
                  <a:lnTo>
                    <a:pt x="171" y="82"/>
                  </a:lnTo>
                  <a:lnTo>
                    <a:pt x="171" y="82"/>
                  </a:lnTo>
                  <a:lnTo>
                    <a:pt x="171" y="84"/>
                  </a:lnTo>
                  <a:lnTo>
                    <a:pt x="171" y="84"/>
                  </a:lnTo>
                  <a:lnTo>
                    <a:pt x="165" y="86"/>
                  </a:lnTo>
                  <a:lnTo>
                    <a:pt x="163" y="86"/>
                  </a:lnTo>
                  <a:lnTo>
                    <a:pt x="161" y="90"/>
                  </a:lnTo>
                  <a:lnTo>
                    <a:pt x="163" y="96"/>
                  </a:lnTo>
                  <a:lnTo>
                    <a:pt x="163" y="96"/>
                  </a:lnTo>
                  <a:lnTo>
                    <a:pt x="159" y="92"/>
                  </a:lnTo>
                  <a:lnTo>
                    <a:pt x="157" y="90"/>
                  </a:lnTo>
                  <a:lnTo>
                    <a:pt x="149" y="90"/>
                  </a:lnTo>
                  <a:lnTo>
                    <a:pt x="149" y="92"/>
                  </a:lnTo>
                  <a:lnTo>
                    <a:pt x="151" y="92"/>
                  </a:lnTo>
                  <a:lnTo>
                    <a:pt x="151" y="92"/>
                  </a:lnTo>
                  <a:lnTo>
                    <a:pt x="155" y="92"/>
                  </a:lnTo>
                  <a:lnTo>
                    <a:pt x="155" y="94"/>
                  </a:lnTo>
                  <a:lnTo>
                    <a:pt x="155" y="94"/>
                  </a:lnTo>
                  <a:lnTo>
                    <a:pt x="151" y="94"/>
                  </a:lnTo>
                  <a:lnTo>
                    <a:pt x="151" y="94"/>
                  </a:lnTo>
                  <a:lnTo>
                    <a:pt x="151" y="96"/>
                  </a:lnTo>
                  <a:lnTo>
                    <a:pt x="151" y="96"/>
                  </a:lnTo>
                  <a:lnTo>
                    <a:pt x="157" y="96"/>
                  </a:lnTo>
                  <a:lnTo>
                    <a:pt x="157" y="96"/>
                  </a:lnTo>
                  <a:lnTo>
                    <a:pt x="155" y="100"/>
                  </a:lnTo>
                  <a:lnTo>
                    <a:pt x="155" y="102"/>
                  </a:lnTo>
                  <a:lnTo>
                    <a:pt x="157" y="102"/>
                  </a:lnTo>
                  <a:lnTo>
                    <a:pt x="157" y="102"/>
                  </a:lnTo>
                  <a:lnTo>
                    <a:pt x="157" y="104"/>
                  </a:lnTo>
                  <a:lnTo>
                    <a:pt x="157" y="104"/>
                  </a:lnTo>
                  <a:lnTo>
                    <a:pt x="147" y="104"/>
                  </a:lnTo>
                  <a:lnTo>
                    <a:pt x="147" y="104"/>
                  </a:lnTo>
                  <a:lnTo>
                    <a:pt x="147" y="110"/>
                  </a:lnTo>
                  <a:lnTo>
                    <a:pt x="147" y="110"/>
                  </a:lnTo>
                  <a:lnTo>
                    <a:pt x="149" y="112"/>
                  </a:lnTo>
                  <a:lnTo>
                    <a:pt x="149" y="112"/>
                  </a:lnTo>
                  <a:lnTo>
                    <a:pt x="147" y="114"/>
                  </a:lnTo>
                  <a:lnTo>
                    <a:pt x="147" y="114"/>
                  </a:lnTo>
                  <a:lnTo>
                    <a:pt x="143" y="114"/>
                  </a:lnTo>
                  <a:lnTo>
                    <a:pt x="143" y="114"/>
                  </a:lnTo>
                  <a:lnTo>
                    <a:pt x="143" y="116"/>
                  </a:lnTo>
                  <a:lnTo>
                    <a:pt x="141" y="120"/>
                  </a:lnTo>
                  <a:lnTo>
                    <a:pt x="141" y="120"/>
                  </a:lnTo>
                  <a:lnTo>
                    <a:pt x="137" y="118"/>
                  </a:lnTo>
                  <a:lnTo>
                    <a:pt x="133" y="120"/>
                  </a:lnTo>
                  <a:lnTo>
                    <a:pt x="133" y="120"/>
                  </a:lnTo>
                  <a:lnTo>
                    <a:pt x="133" y="122"/>
                  </a:lnTo>
                  <a:lnTo>
                    <a:pt x="133" y="124"/>
                  </a:lnTo>
                  <a:lnTo>
                    <a:pt x="133" y="124"/>
                  </a:lnTo>
                  <a:lnTo>
                    <a:pt x="123" y="128"/>
                  </a:lnTo>
                  <a:lnTo>
                    <a:pt x="123" y="128"/>
                  </a:lnTo>
                  <a:lnTo>
                    <a:pt x="123" y="130"/>
                  </a:lnTo>
                  <a:lnTo>
                    <a:pt x="123" y="130"/>
                  </a:lnTo>
                  <a:lnTo>
                    <a:pt x="125" y="132"/>
                  </a:lnTo>
                  <a:lnTo>
                    <a:pt x="127" y="132"/>
                  </a:lnTo>
                  <a:lnTo>
                    <a:pt x="125" y="132"/>
                  </a:lnTo>
                  <a:lnTo>
                    <a:pt x="123" y="132"/>
                  </a:lnTo>
                  <a:lnTo>
                    <a:pt x="123" y="132"/>
                  </a:lnTo>
                  <a:lnTo>
                    <a:pt x="125" y="140"/>
                  </a:lnTo>
                  <a:lnTo>
                    <a:pt x="125" y="140"/>
                  </a:lnTo>
                  <a:lnTo>
                    <a:pt x="117" y="146"/>
                  </a:lnTo>
                  <a:lnTo>
                    <a:pt x="117" y="146"/>
                  </a:lnTo>
                  <a:lnTo>
                    <a:pt x="113" y="146"/>
                  </a:lnTo>
                  <a:lnTo>
                    <a:pt x="113" y="146"/>
                  </a:lnTo>
                  <a:lnTo>
                    <a:pt x="113" y="150"/>
                  </a:lnTo>
                  <a:lnTo>
                    <a:pt x="113" y="150"/>
                  </a:lnTo>
                  <a:lnTo>
                    <a:pt x="107" y="150"/>
                  </a:lnTo>
                  <a:lnTo>
                    <a:pt x="107" y="150"/>
                  </a:lnTo>
                  <a:lnTo>
                    <a:pt x="103" y="152"/>
                  </a:lnTo>
                  <a:lnTo>
                    <a:pt x="103" y="152"/>
                  </a:lnTo>
                  <a:lnTo>
                    <a:pt x="107" y="158"/>
                  </a:lnTo>
                  <a:lnTo>
                    <a:pt x="107" y="160"/>
                  </a:lnTo>
                  <a:lnTo>
                    <a:pt x="105" y="162"/>
                  </a:lnTo>
                  <a:lnTo>
                    <a:pt x="105" y="162"/>
                  </a:lnTo>
                  <a:lnTo>
                    <a:pt x="101" y="160"/>
                  </a:lnTo>
                  <a:lnTo>
                    <a:pt x="97" y="160"/>
                  </a:lnTo>
                  <a:lnTo>
                    <a:pt x="97" y="160"/>
                  </a:lnTo>
                  <a:lnTo>
                    <a:pt x="95" y="160"/>
                  </a:lnTo>
                  <a:lnTo>
                    <a:pt x="95" y="162"/>
                  </a:lnTo>
                  <a:lnTo>
                    <a:pt x="95" y="164"/>
                  </a:lnTo>
                  <a:lnTo>
                    <a:pt x="95" y="164"/>
                  </a:lnTo>
                  <a:lnTo>
                    <a:pt x="91" y="166"/>
                  </a:lnTo>
                  <a:lnTo>
                    <a:pt x="91" y="166"/>
                  </a:lnTo>
                  <a:lnTo>
                    <a:pt x="91" y="168"/>
                  </a:lnTo>
                  <a:lnTo>
                    <a:pt x="91" y="168"/>
                  </a:lnTo>
                  <a:lnTo>
                    <a:pt x="89" y="168"/>
                  </a:lnTo>
                  <a:lnTo>
                    <a:pt x="87" y="168"/>
                  </a:lnTo>
                  <a:lnTo>
                    <a:pt x="87" y="168"/>
                  </a:lnTo>
                  <a:lnTo>
                    <a:pt x="87" y="168"/>
                  </a:lnTo>
                  <a:lnTo>
                    <a:pt x="85" y="170"/>
                  </a:lnTo>
                  <a:lnTo>
                    <a:pt x="85" y="172"/>
                  </a:lnTo>
                  <a:lnTo>
                    <a:pt x="85" y="172"/>
                  </a:lnTo>
                  <a:lnTo>
                    <a:pt x="79" y="178"/>
                  </a:lnTo>
                  <a:lnTo>
                    <a:pt x="79" y="178"/>
                  </a:lnTo>
                  <a:lnTo>
                    <a:pt x="77" y="180"/>
                  </a:lnTo>
                  <a:lnTo>
                    <a:pt x="74" y="184"/>
                  </a:lnTo>
                  <a:lnTo>
                    <a:pt x="74" y="184"/>
                  </a:lnTo>
                  <a:lnTo>
                    <a:pt x="74" y="184"/>
                  </a:lnTo>
                  <a:lnTo>
                    <a:pt x="70" y="184"/>
                  </a:lnTo>
                  <a:lnTo>
                    <a:pt x="70" y="184"/>
                  </a:lnTo>
                  <a:lnTo>
                    <a:pt x="72" y="190"/>
                  </a:lnTo>
                  <a:lnTo>
                    <a:pt x="72" y="190"/>
                  </a:lnTo>
                  <a:lnTo>
                    <a:pt x="81" y="186"/>
                  </a:lnTo>
                  <a:lnTo>
                    <a:pt x="91" y="180"/>
                  </a:lnTo>
                  <a:lnTo>
                    <a:pt x="91" y="180"/>
                  </a:lnTo>
                  <a:lnTo>
                    <a:pt x="89" y="184"/>
                  </a:lnTo>
                  <a:lnTo>
                    <a:pt x="89" y="184"/>
                  </a:lnTo>
                  <a:lnTo>
                    <a:pt x="83" y="188"/>
                  </a:lnTo>
                  <a:lnTo>
                    <a:pt x="79" y="190"/>
                  </a:lnTo>
                  <a:lnTo>
                    <a:pt x="79" y="190"/>
                  </a:lnTo>
                  <a:lnTo>
                    <a:pt x="79" y="196"/>
                  </a:lnTo>
                  <a:lnTo>
                    <a:pt x="79" y="196"/>
                  </a:lnTo>
                  <a:lnTo>
                    <a:pt x="68" y="194"/>
                  </a:lnTo>
                  <a:lnTo>
                    <a:pt x="68" y="194"/>
                  </a:lnTo>
                  <a:lnTo>
                    <a:pt x="68" y="190"/>
                  </a:lnTo>
                  <a:lnTo>
                    <a:pt x="68" y="190"/>
                  </a:lnTo>
                  <a:lnTo>
                    <a:pt x="66" y="188"/>
                  </a:lnTo>
                  <a:lnTo>
                    <a:pt x="66" y="188"/>
                  </a:lnTo>
                  <a:lnTo>
                    <a:pt x="60" y="190"/>
                  </a:lnTo>
                  <a:lnTo>
                    <a:pt x="54" y="190"/>
                  </a:lnTo>
                  <a:lnTo>
                    <a:pt x="54" y="196"/>
                  </a:lnTo>
                  <a:lnTo>
                    <a:pt x="54" y="196"/>
                  </a:lnTo>
                  <a:lnTo>
                    <a:pt x="56" y="196"/>
                  </a:lnTo>
                  <a:lnTo>
                    <a:pt x="56" y="196"/>
                  </a:lnTo>
                  <a:lnTo>
                    <a:pt x="54" y="198"/>
                  </a:lnTo>
                  <a:lnTo>
                    <a:pt x="54" y="198"/>
                  </a:lnTo>
                  <a:lnTo>
                    <a:pt x="52" y="198"/>
                  </a:lnTo>
                  <a:lnTo>
                    <a:pt x="50" y="198"/>
                  </a:lnTo>
                  <a:lnTo>
                    <a:pt x="50" y="198"/>
                  </a:lnTo>
                  <a:lnTo>
                    <a:pt x="48" y="200"/>
                  </a:lnTo>
                  <a:lnTo>
                    <a:pt x="48" y="202"/>
                  </a:lnTo>
                  <a:lnTo>
                    <a:pt x="48" y="204"/>
                  </a:lnTo>
                  <a:lnTo>
                    <a:pt x="48" y="202"/>
                  </a:lnTo>
                  <a:lnTo>
                    <a:pt x="48" y="202"/>
                  </a:lnTo>
                  <a:lnTo>
                    <a:pt x="44" y="202"/>
                  </a:lnTo>
                  <a:lnTo>
                    <a:pt x="44" y="202"/>
                  </a:lnTo>
                  <a:lnTo>
                    <a:pt x="44" y="206"/>
                  </a:lnTo>
                  <a:lnTo>
                    <a:pt x="44" y="206"/>
                  </a:lnTo>
                  <a:lnTo>
                    <a:pt x="44" y="206"/>
                  </a:lnTo>
                  <a:lnTo>
                    <a:pt x="42" y="204"/>
                  </a:lnTo>
                  <a:lnTo>
                    <a:pt x="42" y="204"/>
                  </a:lnTo>
                  <a:lnTo>
                    <a:pt x="30" y="204"/>
                  </a:lnTo>
                  <a:lnTo>
                    <a:pt x="30" y="204"/>
                  </a:lnTo>
                  <a:lnTo>
                    <a:pt x="32" y="208"/>
                  </a:lnTo>
                  <a:lnTo>
                    <a:pt x="32" y="208"/>
                  </a:lnTo>
                  <a:lnTo>
                    <a:pt x="34" y="208"/>
                  </a:lnTo>
                  <a:lnTo>
                    <a:pt x="34" y="208"/>
                  </a:lnTo>
                  <a:lnTo>
                    <a:pt x="36" y="210"/>
                  </a:lnTo>
                  <a:lnTo>
                    <a:pt x="36" y="212"/>
                  </a:lnTo>
                  <a:lnTo>
                    <a:pt x="36" y="212"/>
                  </a:lnTo>
                  <a:lnTo>
                    <a:pt x="32" y="216"/>
                  </a:lnTo>
                  <a:lnTo>
                    <a:pt x="32" y="216"/>
                  </a:lnTo>
                  <a:lnTo>
                    <a:pt x="32" y="218"/>
                  </a:lnTo>
                  <a:lnTo>
                    <a:pt x="32" y="218"/>
                  </a:lnTo>
                  <a:lnTo>
                    <a:pt x="30" y="216"/>
                  </a:lnTo>
                  <a:lnTo>
                    <a:pt x="30" y="216"/>
                  </a:lnTo>
                  <a:lnTo>
                    <a:pt x="26" y="216"/>
                  </a:lnTo>
                  <a:lnTo>
                    <a:pt x="22" y="216"/>
                  </a:lnTo>
                  <a:lnTo>
                    <a:pt x="22" y="216"/>
                  </a:lnTo>
                  <a:lnTo>
                    <a:pt x="22" y="218"/>
                  </a:lnTo>
                  <a:lnTo>
                    <a:pt x="20" y="222"/>
                  </a:lnTo>
                  <a:lnTo>
                    <a:pt x="20" y="222"/>
                  </a:lnTo>
                  <a:lnTo>
                    <a:pt x="28" y="222"/>
                  </a:lnTo>
                  <a:lnTo>
                    <a:pt x="30" y="224"/>
                  </a:lnTo>
                  <a:lnTo>
                    <a:pt x="24" y="226"/>
                  </a:lnTo>
                  <a:lnTo>
                    <a:pt x="24" y="226"/>
                  </a:lnTo>
                  <a:lnTo>
                    <a:pt x="24" y="226"/>
                  </a:lnTo>
                  <a:lnTo>
                    <a:pt x="24" y="228"/>
                  </a:lnTo>
                  <a:lnTo>
                    <a:pt x="24" y="228"/>
                  </a:lnTo>
                  <a:lnTo>
                    <a:pt x="22" y="226"/>
                  </a:lnTo>
                  <a:lnTo>
                    <a:pt x="20" y="224"/>
                  </a:lnTo>
                  <a:lnTo>
                    <a:pt x="20" y="224"/>
                  </a:lnTo>
                  <a:lnTo>
                    <a:pt x="20" y="228"/>
                  </a:lnTo>
                  <a:lnTo>
                    <a:pt x="20" y="228"/>
                  </a:lnTo>
                  <a:lnTo>
                    <a:pt x="14" y="228"/>
                  </a:lnTo>
                  <a:lnTo>
                    <a:pt x="8" y="228"/>
                  </a:lnTo>
                  <a:lnTo>
                    <a:pt x="8" y="228"/>
                  </a:lnTo>
                  <a:lnTo>
                    <a:pt x="8" y="230"/>
                  </a:lnTo>
                  <a:lnTo>
                    <a:pt x="8" y="230"/>
                  </a:lnTo>
                  <a:lnTo>
                    <a:pt x="6" y="228"/>
                  </a:lnTo>
                  <a:lnTo>
                    <a:pt x="4" y="228"/>
                  </a:lnTo>
                  <a:lnTo>
                    <a:pt x="4" y="228"/>
                  </a:lnTo>
                  <a:lnTo>
                    <a:pt x="4" y="232"/>
                  </a:lnTo>
                  <a:lnTo>
                    <a:pt x="4" y="232"/>
                  </a:lnTo>
                  <a:lnTo>
                    <a:pt x="16" y="234"/>
                  </a:lnTo>
                  <a:lnTo>
                    <a:pt x="16" y="234"/>
                  </a:lnTo>
                  <a:lnTo>
                    <a:pt x="16" y="234"/>
                  </a:lnTo>
                  <a:lnTo>
                    <a:pt x="16" y="234"/>
                  </a:lnTo>
                  <a:lnTo>
                    <a:pt x="18" y="234"/>
                  </a:lnTo>
                  <a:lnTo>
                    <a:pt x="18" y="234"/>
                  </a:lnTo>
                  <a:lnTo>
                    <a:pt x="18" y="236"/>
                  </a:lnTo>
                  <a:lnTo>
                    <a:pt x="18" y="236"/>
                  </a:lnTo>
                  <a:lnTo>
                    <a:pt x="0" y="236"/>
                  </a:lnTo>
                  <a:lnTo>
                    <a:pt x="0" y="236"/>
                  </a:lnTo>
                  <a:lnTo>
                    <a:pt x="0" y="242"/>
                  </a:lnTo>
                  <a:lnTo>
                    <a:pt x="0" y="248"/>
                  </a:lnTo>
                  <a:lnTo>
                    <a:pt x="0" y="248"/>
                  </a:lnTo>
                  <a:lnTo>
                    <a:pt x="4" y="248"/>
                  </a:lnTo>
                  <a:lnTo>
                    <a:pt x="4" y="248"/>
                  </a:lnTo>
                  <a:lnTo>
                    <a:pt x="6" y="246"/>
                  </a:lnTo>
                  <a:lnTo>
                    <a:pt x="6" y="246"/>
                  </a:lnTo>
                  <a:lnTo>
                    <a:pt x="8" y="246"/>
                  </a:lnTo>
                  <a:lnTo>
                    <a:pt x="8" y="246"/>
                  </a:lnTo>
                  <a:lnTo>
                    <a:pt x="12" y="250"/>
                  </a:lnTo>
                  <a:lnTo>
                    <a:pt x="12" y="250"/>
                  </a:lnTo>
                  <a:lnTo>
                    <a:pt x="16" y="250"/>
                  </a:lnTo>
                  <a:lnTo>
                    <a:pt x="16" y="250"/>
                  </a:lnTo>
                  <a:lnTo>
                    <a:pt x="16" y="246"/>
                  </a:lnTo>
                  <a:lnTo>
                    <a:pt x="16" y="246"/>
                  </a:lnTo>
                  <a:lnTo>
                    <a:pt x="18" y="244"/>
                  </a:lnTo>
                  <a:lnTo>
                    <a:pt x="18" y="244"/>
                  </a:lnTo>
                  <a:lnTo>
                    <a:pt x="20" y="248"/>
                  </a:lnTo>
                  <a:lnTo>
                    <a:pt x="20" y="248"/>
                  </a:lnTo>
                  <a:lnTo>
                    <a:pt x="22" y="246"/>
                  </a:lnTo>
                  <a:lnTo>
                    <a:pt x="24" y="246"/>
                  </a:lnTo>
                  <a:lnTo>
                    <a:pt x="24" y="246"/>
                  </a:lnTo>
                  <a:lnTo>
                    <a:pt x="26" y="248"/>
                  </a:lnTo>
                  <a:lnTo>
                    <a:pt x="26" y="250"/>
                  </a:lnTo>
                  <a:lnTo>
                    <a:pt x="26" y="250"/>
                  </a:lnTo>
                  <a:lnTo>
                    <a:pt x="28" y="248"/>
                  </a:lnTo>
                  <a:lnTo>
                    <a:pt x="30" y="246"/>
                  </a:lnTo>
                  <a:lnTo>
                    <a:pt x="30" y="246"/>
                  </a:lnTo>
                  <a:lnTo>
                    <a:pt x="30" y="250"/>
                  </a:lnTo>
                  <a:lnTo>
                    <a:pt x="30" y="250"/>
                  </a:lnTo>
                  <a:lnTo>
                    <a:pt x="24" y="250"/>
                  </a:lnTo>
                  <a:lnTo>
                    <a:pt x="24" y="252"/>
                  </a:lnTo>
                  <a:lnTo>
                    <a:pt x="24" y="252"/>
                  </a:lnTo>
                  <a:lnTo>
                    <a:pt x="22" y="252"/>
                  </a:lnTo>
                  <a:lnTo>
                    <a:pt x="20" y="250"/>
                  </a:lnTo>
                  <a:lnTo>
                    <a:pt x="20" y="250"/>
                  </a:lnTo>
                  <a:lnTo>
                    <a:pt x="4" y="250"/>
                  </a:lnTo>
                  <a:lnTo>
                    <a:pt x="2" y="252"/>
                  </a:lnTo>
                  <a:lnTo>
                    <a:pt x="2" y="252"/>
                  </a:lnTo>
                  <a:lnTo>
                    <a:pt x="0" y="252"/>
                  </a:lnTo>
                  <a:lnTo>
                    <a:pt x="0" y="252"/>
                  </a:lnTo>
                  <a:lnTo>
                    <a:pt x="0" y="254"/>
                  </a:lnTo>
                  <a:lnTo>
                    <a:pt x="0" y="254"/>
                  </a:lnTo>
                  <a:lnTo>
                    <a:pt x="6" y="256"/>
                  </a:lnTo>
                  <a:lnTo>
                    <a:pt x="6" y="256"/>
                  </a:lnTo>
                  <a:lnTo>
                    <a:pt x="6" y="256"/>
                  </a:lnTo>
                  <a:lnTo>
                    <a:pt x="6" y="256"/>
                  </a:lnTo>
                  <a:lnTo>
                    <a:pt x="6" y="256"/>
                  </a:lnTo>
                  <a:lnTo>
                    <a:pt x="6" y="260"/>
                  </a:lnTo>
                  <a:lnTo>
                    <a:pt x="6" y="260"/>
                  </a:lnTo>
                  <a:lnTo>
                    <a:pt x="2" y="260"/>
                  </a:lnTo>
                  <a:lnTo>
                    <a:pt x="2" y="260"/>
                  </a:lnTo>
                  <a:lnTo>
                    <a:pt x="2" y="262"/>
                  </a:lnTo>
                  <a:lnTo>
                    <a:pt x="2" y="262"/>
                  </a:lnTo>
                  <a:lnTo>
                    <a:pt x="2" y="262"/>
                  </a:lnTo>
                  <a:lnTo>
                    <a:pt x="0" y="264"/>
                  </a:lnTo>
                  <a:lnTo>
                    <a:pt x="0" y="264"/>
                  </a:lnTo>
                  <a:lnTo>
                    <a:pt x="0" y="264"/>
                  </a:lnTo>
                  <a:lnTo>
                    <a:pt x="0" y="264"/>
                  </a:lnTo>
                  <a:lnTo>
                    <a:pt x="6" y="266"/>
                  </a:lnTo>
                  <a:lnTo>
                    <a:pt x="6" y="266"/>
                  </a:lnTo>
                  <a:lnTo>
                    <a:pt x="6" y="264"/>
                  </a:lnTo>
                  <a:lnTo>
                    <a:pt x="6" y="264"/>
                  </a:lnTo>
                  <a:lnTo>
                    <a:pt x="8" y="264"/>
                  </a:lnTo>
                  <a:lnTo>
                    <a:pt x="8" y="264"/>
                  </a:lnTo>
                  <a:lnTo>
                    <a:pt x="8" y="264"/>
                  </a:lnTo>
                  <a:lnTo>
                    <a:pt x="10" y="266"/>
                  </a:lnTo>
                  <a:lnTo>
                    <a:pt x="8" y="266"/>
                  </a:lnTo>
                  <a:lnTo>
                    <a:pt x="6" y="266"/>
                  </a:lnTo>
                  <a:lnTo>
                    <a:pt x="6" y="266"/>
                  </a:lnTo>
                  <a:lnTo>
                    <a:pt x="6" y="270"/>
                  </a:lnTo>
                  <a:lnTo>
                    <a:pt x="6" y="270"/>
                  </a:lnTo>
                  <a:lnTo>
                    <a:pt x="12" y="268"/>
                  </a:lnTo>
                  <a:lnTo>
                    <a:pt x="12" y="268"/>
                  </a:lnTo>
                  <a:lnTo>
                    <a:pt x="12" y="272"/>
                  </a:lnTo>
                  <a:lnTo>
                    <a:pt x="14" y="272"/>
                  </a:lnTo>
                  <a:lnTo>
                    <a:pt x="16" y="272"/>
                  </a:lnTo>
                  <a:lnTo>
                    <a:pt x="16" y="272"/>
                  </a:lnTo>
                  <a:lnTo>
                    <a:pt x="18" y="270"/>
                  </a:lnTo>
                  <a:lnTo>
                    <a:pt x="20" y="266"/>
                  </a:lnTo>
                  <a:lnTo>
                    <a:pt x="22" y="264"/>
                  </a:lnTo>
                  <a:lnTo>
                    <a:pt x="22" y="264"/>
                  </a:lnTo>
                  <a:lnTo>
                    <a:pt x="28" y="264"/>
                  </a:lnTo>
                  <a:lnTo>
                    <a:pt x="28" y="264"/>
                  </a:lnTo>
                  <a:lnTo>
                    <a:pt x="28" y="264"/>
                  </a:lnTo>
                  <a:lnTo>
                    <a:pt x="28" y="264"/>
                  </a:lnTo>
                  <a:lnTo>
                    <a:pt x="26" y="268"/>
                  </a:lnTo>
                  <a:lnTo>
                    <a:pt x="26" y="268"/>
                  </a:lnTo>
                  <a:lnTo>
                    <a:pt x="22" y="268"/>
                  </a:lnTo>
                  <a:lnTo>
                    <a:pt x="22" y="268"/>
                  </a:lnTo>
                  <a:lnTo>
                    <a:pt x="20" y="270"/>
                  </a:lnTo>
                  <a:lnTo>
                    <a:pt x="20" y="272"/>
                  </a:lnTo>
                  <a:lnTo>
                    <a:pt x="18" y="274"/>
                  </a:lnTo>
                  <a:lnTo>
                    <a:pt x="18" y="274"/>
                  </a:lnTo>
                  <a:lnTo>
                    <a:pt x="16" y="276"/>
                  </a:lnTo>
                  <a:lnTo>
                    <a:pt x="16" y="276"/>
                  </a:lnTo>
                  <a:lnTo>
                    <a:pt x="16" y="280"/>
                  </a:lnTo>
                  <a:lnTo>
                    <a:pt x="16" y="282"/>
                  </a:lnTo>
                  <a:lnTo>
                    <a:pt x="16" y="282"/>
                  </a:lnTo>
                  <a:lnTo>
                    <a:pt x="14" y="282"/>
                  </a:lnTo>
                  <a:lnTo>
                    <a:pt x="12" y="284"/>
                  </a:lnTo>
                  <a:lnTo>
                    <a:pt x="6" y="284"/>
                  </a:lnTo>
                  <a:lnTo>
                    <a:pt x="6" y="284"/>
                  </a:lnTo>
                  <a:lnTo>
                    <a:pt x="4" y="286"/>
                  </a:lnTo>
                  <a:lnTo>
                    <a:pt x="4" y="290"/>
                  </a:lnTo>
                  <a:lnTo>
                    <a:pt x="4" y="290"/>
                  </a:lnTo>
                  <a:lnTo>
                    <a:pt x="8" y="290"/>
                  </a:lnTo>
                  <a:lnTo>
                    <a:pt x="8" y="290"/>
                  </a:lnTo>
                  <a:lnTo>
                    <a:pt x="10" y="292"/>
                  </a:lnTo>
                  <a:lnTo>
                    <a:pt x="10" y="292"/>
                  </a:lnTo>
                  <a:lnTo>
                    <a:pt x="10" y="292"/>
                  </a:lnTo>
                  <a:lnTo>
                    <a:pt x="10" y="292"/>
                  </a:lnTo>
                  <a:lnTo>
                    <a:pt x="10" y="290"/>
                  </a:lnTo>
                  <a:lnTo>
                    <a:pt x="10" y="290"/>
                  </a:lnTo>
                  <a:lnTo>
                    <a:pt x="18" y="290"/>
                  </a:lnTo>
                  <a:lnTo>
                    <a:pt x="18" y="290"/>
                  </a:lnTo>
                  <a:lnTo>
                    <a:pt x="18" y="288"/>
                  </a:lnTo>
                  <a:lnTo>
                    <a:pt x="18" y="286"/>
                  </a:lnTo>
                  <a:lnTo>
                    <a:pt x="18" y="286"/>
                  </a:lnTo>
                  <a:lnTo>
                    <a:pt x="18" y="286"/>
                  </a:lnTo>
                  <a:lnTo>
                    <a:pt x="18" y="288"/>
                  </a:lnTo>
                  <a:lnTo>
                    <a:pt x="18" y="290"/>
                  </a:lnTo>
                  <a:lnTo>
                    <a:pt x="18" y="290"/>
                  </a:lnTo>
                  <a:lnTo>
                    <a:pt x="18" y="292"/>
                  </a:lnTo>
                  <a:lnTo>
                    <a:pt x="18" y="296"/>
                  </a:lnTo>
                  <a:lnTo>
                    <a:pt x="16" y="302"/>
                  </a:lnTo>
                  <a:lnTo>
                    <a:pt x="16" y="302"/>
                  </a:lnTo>
                  <a:lnTo>
                    <a:pt x="14" y="304"/>
                  </a:lnTo>
                  <a:lnTo>
                    <a:pt x="10" y="304"/>
                  </a:lnTo>
                  <a:lnTo>
                    <a:pt x="10" y="304"/>
                  </a:lnTo>
                  <a:lnTo>
                    <a:pt x="10" y="310"/>
                  </a:lnTo>
                  <a:lnTo>
                    <a:pt x="10" y="310"/>
                  </a:lnTo>
                  <a:lnTo>
                    <a:pt x="16" y="316"/>
                  </a:lnTo>
                  <a:lnTo>
                    <a:pt x="20" y="318"/>
                  </a:lnTo>
                  <a:lnTo>
                    <a:pt x="26" y="318"/>
                  </a:lnTo>
                  <a:lnTo>
                    <a:pt x="26" y="318"/>
                  </a:lnTo>
                  <a:lnTo>
                    <a:pt x="26" y="316"/>
                  </a:lnTo>
                  <a:lnTo>
                    <a:pt x="26" y="314"/>
                  </a:lnTo>
                  <a:lnTo>
                    <a:pt x="28" y="316"/>
                  </a:lnTo>
                  <a:lnTo>
                    <a:pt x="26" y="320"/>
                  </a:lnTo>
                  <a:lnTo>
                    <a:pt x="26" y="320"/>
                  </a:lnTo>
                  <a:lnTo>
                    <a:pt x="32" y="320"/>
                  </a:lnTo>
                  <a:lnTo>
                    <a:pt x="36" y="320"/>
                  </a:lnTo>
                  <a:lnTo>
                    <a:pt x="36" y="320"/>
                  </a:lnTo>
                  <a:lnTo>
                    <a:pt x="40" y="316"/>
                  </a:lnTo>
                  <a:lnTo>
                    <a:pt x="40" y="316"/>
                  </a:lnTo>
                  <a:lnTo>
                    <a:pt x="44" y="316"/>
                  </a:lnTo>
                  <a:lnTo>
                    <a:pt x="44" y="316"/>
                  </a:lnTo>
                  <a:lnTo>
                    <a:pt x="50" y="312"/>
                  </a:lnTo>
                  <a:lnTo>
                    <a:pt x="50" y="312"/>
                  </a:lnTo>
                  <a:lnTo>
                    <a:pt x="56" y="310"/>
                  </a:lnTo>
                  <a:lnTo>
                    <a:pt x="56" y="310"/>
                  </a:lnTo>
                  <a:lnTo>
                    <a:pt x="62" y="304"/>
                  </a:lnTo>
                  <a:lnTo>
                    <a:pt x="62" y="304"/>
                  </a:lnTo>
                  <a:lnTo>
                    <a:pt x="68" y="304"/>
                  </a:lnTo>
                  <a:lnTo>
                    <a:pt x="68" y="304"/>
                  </a:lnTo>
                  <a:lnTo>
                    <a:pt x="77" y="300"/>
                  </a:lnTo>
                  <a:lnTo>
                    <a:pt x="83" y="294"/>
                  </a:lnTo>
                  <a:lnTo>
                    <a:pt x="83" y="294"/>
                  </a:lnTo>
                  <a:lnTo>
                    <a:pt x="87" y="294"/>
                  </a:lnTo>
                  <a:lnTo>
                    <a:pt x="87" y="294"/>
                  </a:lnTo>
                  <a:lnTo>
                    <a:pt x="85" y="300"/>
                  </a:lnTo>
                  <a:lnTo>
                    <a:pt x="85" y="30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4" name="Freeform 120"/>
            <p:cNvSpPr>
              <a:spLocks noChangeAspect="1" noEditPoints="1"/>
            </p:cNvSpPr>
            <p:nvPr/>
          </p:nvSpPr>
          <p:spPr bwMode="gray">
            <a:xfrm>
              <a:off x="2743703" y="1749600"/>
              <a:ext cx="969065" cy="733656"/>
            </a:xfrm>
            <a:custGeom>
              <a:avLst/>
              <a:gdLst/>
              <a:ahLst/>
              <a:cxnLst>
                <a:cxn ang="0">
                  <a:pos x="482" y="190"/>
                </a:cxn>
                <a:cxn ang="0">
                  <a:pos x="192" y="334"/>
                </a:cxn>
                <a:cxn ang="0">
                  <a:pos x="214" y="316"/>
                </a:cxn>
                <a:cxn ang="0">
                  <a:pos x="458" y="210"/>
                </a:cxn>
                <a:cxn ang="0">
                  <a:pos x="464" y="224"/>
                </a:cxn>
                <a:cxn ang="0">
                  <a:pos x="478" y="220"/>
                </a:cxn>
                <a:cxn ang="0">
                  <a:pos x="498" y="186"/>
                </a:cxn>
                <a:cxn ang="0">
                  <a:pos x="520" y="176"/>
                </a:cxn>
                <a:cxn ang="0">
                  <a:pos x="0" y="132"/>
                </a:cxn>
                <a:cxn ang="0">
                  <a:pos x="500" y="44"/>
                </a:cxn>
                <a:cxn ang="0">
                  <a:pos x="350" y="22"/>
                </a:cxn>
                <a:cxn ang="0">
                  <a:pos x="380" y="18"/>
                </a:cxn>
                <a:cxn ang="0">
                  <a:pos x="474" y="24"/>
                </a:cxn>
                <a:cxn ang="0">
                  <a:pos x="442" y="6"/>
                </a:cxn>
                <a:cxn ang="0">
                  <a:pos x="330" y="6"/>
                </a:cxn>
                <a:cxn ang="0">
                  <a:pos x="294" y="12"/>
                </a:cxn>
                <a:cxn ang="0">
                  <a:pos x="290" y="30"/>
                </a:cxn>
                <a:cxn ang="0">
                  <a:pos x="266" y="50"/>
                </a:cxn>
                <a:cxn ang="0">
                  <a:pos x="214" y="42"/>
                </a:cxn>
                <a:cxn ang="0">
                  <a:pos x="178" y="40"/>
                </a:cxn>
                <a:cxn ang="0">
                  <a:pos x="118" y="52"/>
                </a:cxn>
                <a:cxn ang="0">
                  <a:pos x="56" y="78"/>
                </a:cxn>
                <a:cxn ang="0">
                  <a:pos x="16" y="108"/>
                </a:cxn>
                <a:cxn ang="0">
                  <a:pos x="66" y="132"/>
                </a:cxn>
                <a:cxn ang="0">
                  <a:pos x="26" y="156"/>
                </a:cxn>
                <a:cxn ang="0">
                  <a:pos x="90" y="152"/>
                </a:cxn>
                <a:cxn ang="0">
                  <a:pos x="156" y="184"/>
                </a:cxn>
                <a:cxn ang="0">
                  <a:pos x="170" y="222"/>
                </a:cxn>
                <a:cxn ang="0">
                  <a:pos x="200" y="244"/>
                </a:cxn>
                <a:cxn ang="0">
                  <a:pos x="190" y="258"/>
                </a:cxn>
                <a:cxn ang="0">
                  <a:pos x="174" y="284"/>
                </a:cxn>
                <a:cxn ang="0">
                  <a:pos x="208" y="272"/>
                </a:cxn>
                <a:cxn ang="0">
                  <a:pos x="206" y="304"/>
                </a:cxn>
                <a:cxn ang="0">
                  <a:pos x="184" y="314"/>
                </a:cxn>
                <a:cxn ang="0">
                  <a:pos x="186" y="320"/>
                </a:cxn>
                <a:cxn ang="0">
                  <a:pos x="184" y="350"/>
                </a:cxn>
                <a:cxn ang="0">
                  <a:pos x="210" y="366"/>
                </a:cxn>
                <a:cxn ang="0">
                  <a:pos x="204" y="392"/>
                </a:cxn>
                <a:cxn ang="0">
                  <a:pos x="228" y="410"/>
                </a:cxn>
                <a:cxn ang="0">
                  <a:pos x="238" y="430"/>
                </a:cxn>
                <a:cxn ang="0">
                  <a:pos x="266" y="428"/>
                </a:cxn>
                <a:cxn ang="0">
                  <a:pos x="280" y="434"/>
                </a:cxn>
                <a:cxn ang="0">
                  <a:pos x="292" y="398"/>
                </a:cxn>
                <a:cxn ang="0">
                  <a:pos x="302" y="358"/>
                </a:cxn>
                <a:cxn ang="0">
                  <a:pos x="338" y="350"/>
                </a:cxn>
                <a:cxn ang="0">
                  <a:pos x="382" y="310"/>
                </a:cxn>
                <a:cxn ang="0">
                  <a:pos x="428" y="298"/>
                </a:cxn>
                <a:cxn ang="0">
                  <a:pos x="480" y="270"/>
                </a:cxn>
                <a:cxn ang="0">
                  <a:pos x="448" y="260"/>
                </a:cxn>
                <a:cxn ang="0">
                  <a:pos x="426" y="242"/>
                </a:cxn>
                <a:cxn ang="0">
                  <a:pos x="484" y="260"/>
                </a:cxn>
                <a:cxn ang="0">
                  <a:pos x="452" y="230"/>
                </a:cxn>
                <a:cxn ang="0">
                  <a:pos x="446" y="214"/>
                </a:cxn>
                <a:cxn ang="0">
                  <a:pos x="486" y="198"/>
                </a:cxn>
                <a:cxn ang="0">
                  <a:pos x="490" y="186"/>
                </a:cxn>
                <a:cxn ang="0">
                  <a:pos x="498" y="154"/>
                </a:cxn>
                <a:cxn ang="0">
                  <a:pos x="508" y="132"/>
                </a:cxn>
                <a:cxn ang="0">
                  <a:pos x="500" y="114"/>
                </a:cxn>
                <a:cxn ang="0">
                  <a:pos x="520" y="78"/>
                </a:cxn>
                <a:cxn ang="0">
                  <a:pos x="554" y="62"/>
                </a:cxn>
                <a:cxn ang="0">
                  <a:pos x="496" y="46"/>
                </a:cxn>
                <a:cxn ang="0">
                  <a:pos x="460" y="42"/>
                </a:cxn>
                <a:cxn ang="0">
                  <a:pos x="378" y="46"/>
                </a:cxn>
              </a:cxnLst>
              <a:rect l="0" t="0" r="r" b="b"/>
              <a:pathLst>
                <a:path w="570" h="446">
                  <a:moveTo>
                    <a:pt x="504" y="148"/>
                  </a:moveTo>
                  <a:lnTo>
                    <a:pt x="506" y="148"/>
                  </a:lnTo>
                  <a:lnTo>
                    <a:pt x="506" y="148"/>
                  </a:lnTo>
                  <a:lnTo>
                    <a:pt x="506" y="148"/>
                  </a:lnTo>
                  <a:lnTo>
                    <a:pt x="504" y="148"/>
                  </a:lnTo>
                  <a:lnTo>
                    <a:pt x="504" y="148"/>
                  </a:lnTo>
                  <a:close/>
                  <a:moveTo>
                    <a:pt x="272" y="442"/>
                  </a:moveTo>
                  <a:lnTo>
                    <a:pt x="270" y="444"/>
                  </a:lnTo>
                  <a:lnTo>
                    <a:pt x="270" y="444"/>
                  </a:lnTo>
                  <a:lnTo>
                    <a:pt x="272" y="444"/>
                  </a:lnTo>
                  <a:lnTo>
                    <a:pt x="274" y="446"/>
                  </a:lnTo>
                  <a:lnTo>
                    <a:pt x="274" y="446"/>
                  </a:lnTo>
                  <a:lnTo>
                    <a:pt x="274" y="444"/>
                  </a:lnTo>
                  <a:lnTo>
                    <a:pt x="274" y="442"/>
                  </a:lnTo>
                  <a:lnTo>
                    <a:pt x="274" y="442"/>
                  </a:lnTo>
                  <a:lnTo>
                    <a:pt x="272" y="442"/>
                  </a:lnTo>
                  <a:lnTo>
                    <a:pt x="272" y="442"/>
                  </a:lnTo>
                  <a:close/>
                  <a:moveTo>
                    <a:pt x="258" y="426"/>
                  </a:moveTo>
                  <a:lnTo>
                    <a:pt x="258" y="426"/>
                  </a:lnTo>
                  <a:lnTo>
                    <a:pt x="258" y="428"/>
                  </a:lnTo>
                  <a:lnTo>
                    <a:pt x="258" y="428"/>
                  </a:lnTo>
                  <a:lnTo>
                    <a:pt x="258" y="428"/>
                  </a:lnTo>
                  <a:lnTo>
                    <a:pt x="258" y="426"/>
                  </a:lnTo>
                  <a:lnTo>
                    <a:pt x="258" y="426"/>
                  </a:lnTo>
                  <a:lnTo>
                    <a:pt x="258" y="426"/>
                  </a:lnTo>
                  <a:close/>
                  <a:moveTo>
                    <a:pt x="482" y="190"/>
                  </a:moveTo>
                  <a:lnTo>
                    <a:pt x="482" y="190"/>
                  </a:lnTo>
                  <a:lnTo>
                    <a:pt x="482" y="196"/>
                  </a:lnTo>
                  <a:lnTo>
                    <a:pt x="482" y="196"/>
                  </a:lnTo>
                  <a:lnTo>
                    <a:pt x="484" y="196"/>
                  </a:lnTo>
                  <a:lnTo>
                    <a:pt x="484" y="196"/>
                  </a:lnTo>
                  <a:lnTo>
                    <a:pt x="490" y="196"/>
                  </a:lnTo>
                  <a:lnTo>
                    <a:pt x="490" y="196"/>
                  </a:lnTo>
                  <a:lnTo>
                    <a:pt x="492" y="194"/>
                  </a:lnTo>
                  <a:lnTo>
                    <a:pt x="492" y="194"/>
                  </a:lnTo>
                  <a:lnTo>
                    <a:pt x="490" y="192"/>
                  </a:lnTo>
                  <a:lnTo>
                    <a:pt x="482" y="190"/>
                  </a:lnTo>
                  <a:lnTo>
                    <a:pt x="482" y="190"/>
                  </a:lnTo>
                  <a:close/>
                  <a:moveTo>
                    <a:pt x="430" y="70"/>
                  </a:moveTo>
                  <a:lnTo>
                    <a:pt x="430" y="70"/>
                  </a:lnTo>
                  <a:lnTo>
                    <a:pt x="432" y="68"/>
                  </a:lnTo>
                  <a:lnTo>
                    <a:pt x="430" y="70"/>
                  </a:lnTo>
                  <a:lnTo>
                    <a:pt x="428" y="72"/>
                  </a:lnTo>
                  <a:lnTo>
                    <a:pt x="428" y="72"/>
                  </a:lnTo>
                  <a:lnTo>
                    <a:pt x="426" y="74"/>
                  </a:lnTo>
                  <a:lnTo>
                    <a:pt x="426" y="74"/>
                  </a:lnTo>
                  <a:lnTo>
                    <a:pt x="424" y="74"/>
                  </a:lnTo>
                  <a:lnTo>
                    <a:pt x="424" y="72"/>
                  </a:lnTo>
                  <a:lnTo>
                    <a:pt x="426" y="70"/>
                  </a:lnTo>
                  <a:lnTo>
                    <a:pt x="430" y="70"/>
                  </a:lnTo>
                  <a:lnTo>
                    <a:pt x="430" y="70"/>
                  </a:lnTo>
                  <a:close/>
                  <a:moveTo>
                    <a:pt x="294" y="34"/>
                  </a:moveTo>
                  <a:lnTo>
                    <a:pt x="294" y="34"/>
                  </a:lnTo>
                  <a:lnTo>
                    <a:pt x="296" y="36"/>
                  </a:lnTo>
                  <a:lnTo>
                    <a:pt x="298" y="36"/>
                  </a:lnTo>
                  <a:lnTo>
                    <a:pt x="296" y="36"/>
                  </a:lnTo>
                  <a:lnTo>
                    <a:pt x="296" y="36"/>
                  </a:lnTo>
                  <a:lnTo>
                    <a:pt x="294" y="34"/>
                  </a:lnTo>
                  <a:lnTo>
                    <a:pt x="294" y="34"/>
                  </a:lnTo>
                  <a:lnTo>
                    <a:pt x="294" y="34"/>
                  </a:lnTo>
                  <a:lnTo>
                    <a:pt x="294" y="34"/>
                  </a:lnTo>
                  <a:close/>
                  <a:moveTo>
                    <a:pt x="334" y="338"/>
                  </a:moveTo>
                  <a:lnTo>
                    <a:pt x="334" y="338"/>
                  </a:lnTo>
                  <a:lnTo>
                    <a:pt x="340" y="338"/>
                  </a:lnTo>
                  <a:lnTo>
                    <a:pt x="340" y="338"/>
                  </a:lnTo>
                  <a:lnTo>
                    <a:pt x="336" y="342"/>
                  </a:lnTo>
                  <a:lnTo>
                    <a:pt x="336" y="342"/>
                  </a:lnTo>
                  <a:lnTo>
                    <a:pt x="334" y="342"/>
                  </a:lnTo>
                  <a:lnTo>
                    <a:pt x="334" y="342"/>
                  </a:lnTo>
                  <a:lnTo>
                    <a:pt x="332" y="338"/>
                  </a:lnTo>
                  <a:lnTo>
                    <a:pt x="332" y="338"/>
                  </a:lnTo>
                  <a:lnTo>
                    <a:pt x="334" y="338"/>
                  </a:lnTo>
                  <a:lnTo>
                    <a:pt x="334" y="338"/>
                  </a:lnTo>
                  <a:close/>
                  <a:moveTo>
                    <a:pt x="192" y="332"/>
                  </a:moveTo>
                  <a:lnTo>
                    <a:pt x="192" y="332"/>
                  </a:lnTo>
                  <a:lnTo>
                    <a:pt x="192" y="334"/>
                  </a:lnTo>
                  <a:lnTo>
                    <a:pt x="192" y="334"/>
                  </a:lnTo>
                  <a:lnTo>
                    <a:pt x="192" y="334"/>
                  </a:lnTo>
                  <a:lnTo>
                    <a:pt x="192" y="334"/>
                  </a:lnTo>
                  <a:lnTo>
                    <a:pt x="190" y="332"/>
                  </a:lnTo>
                  <a:lnTo>
                    <a:pt x="190" y="332"/>
                  </a:lnTo>
                  <a:lnTo>
                    <a:pt x="192" y="332"/>
                  </a:lnTo>
                  <a:lnTo>
                    <a:pt x="192" y="332"/>
                  </a:lnTo>
                  <a:close/>
                  <a:moveTo>
                    <a:pt x="218" y="330"/>
                  </a:moveTo>
                  <a:lnTo>
                    <a:pt x="218" y="330"/>
                  </a:lnTo>
                  <a:lnTo>
                    <a:pt x="218" y="330"/>
                  </a:lnTo>
                  <a:lnTo>
                    <a:pt x="218" y="330"/>
                  </a:lnTo>
                  <a:lnTo>
                    <a:pt x="218" y="330"/>
                  </a:lnTo>
                  <a:lnTo>
                    <a:pt x="218" y="332"/>
                  </a:lnTo>
                  <a:lnTo>
                    <a:pt x="218" y="332"/>
                  </a:lnTo>
                  <a:lnTo>
                    <a:pt x="210" y="336"/>
                  </a:lnTo>
                  <a:lnTo>
                    <a:pt x="210" y="336"/>
                  </a:lnTo>
                  <a:lnTo>
                    <a:pt x="208" y="336"/>
                  </a:lnTo>
                  <a:lnTo>
                    <a:pt x="210" y="334"/>
                  </a:lnTo>
                  <a:lnTo>
                    <a:pt x="210" y="334"/>
                  </a:lnTo>
                  <a:lnTo>
                    <a:pt x="212" y="332"/>
                  </a:lnTo>
                  <a:lnTo>
                    <a:pt x="212" y="332"/>
                  </a:lnTo>
                  <a:lnTo>
                    <a:pt x="218" y="330"/>
                  </a:lnTo>
                  <a:lnTo>
                    <a:pt x="218" y="330"/>
                  </a:lnTo>
                  <a:close/>
                  <a:moveTo>
                    <a:pt x="214" y="318"/>
                  </a:moveTo>
                  <a:lnTo>
                    <a:pt x="214" y="318"/>
                  </a:lnTo>
                  <a:lnTo>
                    <a:pt x="214" y="318"/>
                  </a:lnTo>
                  <a:lnTo>
                    <a:pt x="214" y="318"/>
                  </a:lnTo>
                  <a:lnTo>
                    <a:pt x="214" y="318"/>
                  </a:lnTo>
                  <a:lnTo>
                    <a:pt x="214" y="318"/>
                  </a:lnTo>
                  <a:lnTo>
                    <a:pt x="212" y="318"/>
                  </a:lnTo>
                  <a:lnTo>
                    <a:pt x="214" y="318"/>
                  </a:lnTo>
                  <a:lnTo>
                    <a:pt x="214" y="318"/>
                  </a:lnTo>
                  <a:close/>
                  <a:moveTo>
                    <a:pt x="214" y="314"/>
                  </a:moveTo>
                  <a:lnTo>
                    <a:pt x="214" y="314"/>
                  </a:lnTo>
                  <a:lnTo>
                    <a:pt x="216" y="314"/>
                  </a:lnTo>
                  <a:lnTo>
                    <a:pt x="216" y="316"/>
                  </a:lnTo>
                  <a:lnTo>
                    <a:pt x="216" y="316"/>
                  </a:lnTo>
                  <a:lnTo>
                    <a:pt x="214" y="316"/>
                  </a:lnTo>
                  <a:lnTo>
                    <a:pt x="214" y="314"/>
                  </a:lnTo>
                  <a:lnTo>
                    <a:pt x="214" y="314"/>
                  </a:lnTo>
                  <a:lnTo>
                    <a:pt x="214" y="314"/>
                  </a:lnTo>
                  <a:close/>
                  <a:moveTo>
                    <a:pt x="434" y="266"/>
                  </a:moveTo>
                  <a:lnTo>
                    <a:pt x="434" y="266"/>
                  </a:lnTo>
                  <a:lnTo>
                    <a:pt x="434" y="266"/>
                  </a:lnTo>
                  <a:lnTo>
                    <a:pt x="436" y="268"/>
                  </a:lnTo>
                  <a:lnTo>
                    <a:pt x="434" y="270"/>
                  </a:lnTo>
                  <a:lnTo>
                    <a:pt x="434" y="270"/>
                  </a:lnTo>
                  <a:lnTo>
                    <a:pt x="428" y="268"/>
                  </a:lnTo>
                  <a:lnTo>
                    <a:pt x="428" y="268"/>
                  </a:lnTo>
                  <a:lnTo>
                    <a:pt x="430" y="268"/>
                  </a:lnTo>
                  <a:lnTo>
                    <a:pt x="430" y="268"/>
                  </a:lnTo>
                  <a:lnTo>
                    <a:pt x="434" y="266"/>
                  </a:lnTo>
                  <a:lnTo>
                    <a:pt x="434" y="266"/>
                  </a:lnTo>
                  <a:close/>
                  <a:moveTo>
                    <a:pt x="192" y="248"/>
                  </a:moveTo>
                  <a:lnTo>
                    <a:pt x="192" y="248"/>
                  </a:lnTo>
                  <a:lnTo>
                    <a:pt x="190" y="248"/>
                  </a:lnTo>
                  <a:lnTo>
                    <a:pt x="190" y="248"/>
                  </a:lnTo>
                  <a:lnTo>
                    <a:pt x="194" y="248"/>
                  </a:lnTo>
                  <a:lnTo>
                    <a:pt x="194" y="248"/>
                  </a:lnTo>
                  <a:lnTo>
                    <a:pt x="194" y="248"/>
                  </a:lnTo>
                  <a:lnTo>
                    <a:pt x="192" y="248"/>
                  </a:lnTo>
                  <a:lnTo>
                    <a:pt x="192" y="248"/>
                  </a:lnTo>
                  <a:close/>
                  <a:moveTo>
                    <a:pt x="182" y="244"/>
                  </a:moveTo>
                  <a:lnTo>
                    <a:pt x="182" y="244"/>
                  </a:lnTo>
                  <a:lnTo>
                    <a:pt x="180" y="246"/>
                  </a:lnTo>
                  <a:lnTo>
                    <a:pt x="180" y="248"/>
                  </a:lnTo>
                  <a:lnTo>
                    <a:pt x="180" y="248"/>
                  </a:lnTo>
                  <a:lnTo>
                    <a:pt x="180" y="250"/>
                  </a:lnTo>
                  <a:lnTo>
                    <a:pt x="180" y="250"/>
                  </a:lnTo>
                  <a:lnTo>
                    <a:pt x="184" y="250"/>
                  </a:lnTo>
                  <a:lnTo>
                    <a:pt x="184" y="250"/>
                  </a:lnTo>
                  <a:lnTo>
                    <a:pt x="184" y="246"/>
                  </a:lnTo>
                  <a:lnTo>
                    <a:pt x="182" y="244"/>
                  </a:lnTo>
                  <a:lnTo>
                    <a:pt x="182" y="244"/>
                  </a:lnTo>
                  <a:close/>
                  <a:moveTo>
                    <a:pt x="458" y="210"/>
                  </a:moveTo>
                  <a:lnTo>
                    <a:pt x="458" y="210"/>
                  </a:lnTo>
                  <a:lnTo>
                    <a:pt x="458" y="210"/>
                  </a:lnTo>
                  <a:lnTo>
                    <a:pt x="452" y="212"/>
                  </a:lnTo>
                  <a:lnTo>
                    <a:pt x="452" y="212"/>
                  </a:lnTo>
                  <a:lnTo>
                    <a:pt x="452" y="214"/>
                  </a:lnTo>
                  <a:lnTo>
                    <a:pt x="452" y="214"/>
                  </a:lnTo>
                  <a:lnTo>
                    <a:pt x="454" y="216"/>
                  </a:lnTo>
                  <a:lnTo>
                    <a:pt x="454" y="216"/>
                  </a:lnTo>
                  <a:lnTo>
                    <a:pt x="446" y="214"/>
                  </a:lnTo>
                  <a:lnTo>
                    <a:pt x="444" y="214"/>
                  </a:lnTo>
                  <a:lnTo>
                    <a:pt x="440" y="216"/>
                  </a:lnTo>
                  <a:lnTo>
                    <a:pt x="440" y="216"/>
                  </a:lnTo>
                  <a:lnTo>
                    <a:pt x="438" y="218"/>
                  </a:lnTo>
                  <a:lnTo>
                    <a:pt x="438" y="218"/>
                  </a:lnTo>
                  <a:lnTo>
                    <a:pt x="438" y="222"/>
                  </a:lnTo>
                  <a:lnTo>
                    <a:pt x="438" y="222"/>
                  </a:lnTo>
                  <a:lnTo>
                    <a:pt x="442" y="222"/>
                  </a:lnTo>
                  <a:lnTo>
                    <a:pt x="442" y="222"/>
                  </a:lnTo>
                  <a:lnTo>
                    <a:pt x="444" y="224"/>
                  </a:lnTo>
                  <a:lnTo>
                    <a:pt x="444" y="224"/>
                  </a:lnTo>
                  <a:lnTo>
                    <a:pt x="446" y="224"/>
                  </a:lnTo>
                  <a:lnTo>
                    <a:pt x="446" y="224"/>
                  </a:lnTo>
                  <a:lnTo>
                    <a:pt x="450" y="222"/>
                  </a:lnTo>
                  <a:lnTo>
                    <a:pt x="450" y="222"/>
                  </a:lnTo>
                  <a:lnTo>
                    <a:pt x="452" y="222"/>
                  </a:lnTo>
                  <a:lnTo>
                    <a:pt x="452" y="222"/>
                  </a:lnTo>
                  <a:lnTo>
                    <a:pt x="454" y="220"/>
                  </a:lnTo>
                  <a:lnTo>
                    <a:pt x="454" y="218"/>
                  </a:lnTo>
                  <a:lnTo>
                    <a:pt x="454" y="218"/>
                  </a:lnTo>
                  <a:lnTo>
                    <a:pt x="456" y="218"/>
                  </a:lnTo>
                  <a:lnTo>
                    <a:pt x="456" y="218"/>
                  </a:lnTo>
                  <a:lnTo>
                    <a:pt x="458" y="220"/>
                  </a:lnTo>
                  <a:lnTo>
                    <a:pt x="458" y="220"/>
                  </a:lnTo>
                  <a:lnTo>
                    <a:pt x="466" y="222"/>
                  </a:lnTo>
                  <a:lnTo>
                    <a:pt x="466" y="222"/>
                  </a:lnTo>
                  <a:lnTo>
                    <a:pt x="468" y="222"/>
                  </a:lnTo>
                  <a:lnTo>
                    <a:pt x="468" y="222"/>
                  </a:lnTo>
                  <a:lnTo>
                    <a:pt x="466" y="224"/>
                  </a:lnTo>
                  <a:lnTo>
                    <a:pt x="464" y="224"/>
                  </a:lnTo>
                  <a:lnTo>
                    <a:pt x="466" y="224"/>
                  </a:lnTo>
                  <a:lnTo>
                    <a:pt x="466" y="224"/>
                  </a:lnTo>
                  <a:lnTo>
                    <a:pt x="466" y="226"/>
                  </a:lnTo>
                  <a:lnTo>
                    <a:pt x="466" y="226"/>
                  </a:lnTo>
                  <a:lnTo>
                    <a:pt x="466" y="226"/>
                  </a:lnTo>
                  <a:lnTo>
                    <a:pt x="466" y="228"/>
                  </a:lnTo>
                  <a:lnTo>
                    <a:pt x="466" y="230"/>
                  </a:lnTo>
                  <a:lnTo>
                    <a:pt x="468" y="232"/>
                  </a:lnTo>
                  <a:lnTo>
                    <a:pt x="476" y="236"/>
                  </a:lnTo>
                  <a:lnTo>
                    <a:pt x="476" y="236"/>
                  </a:lnTo>
                  <a:lnTo>
                    <a:pt x="480" y="238"/>
                  </a:lnTo>
                  <a:lnTo>
                    <a:pt x="480" y="238"/>
                  </a:lnTo>
                  <a:lnTo>
                    <a:pt x="486" y="238"/>
                  </a:lnTo>
                  <a:lnTo>
                    <a:pt x="486" y="238"/>
                  </a:lnTo>
                  <a:lnTo>
                    <a:pt x="486" y="238"/>
                  </a:lnTo>
                  <a:lnTo>
                    <a:pt x="486" y="236"/>
                  </a:lnTo>
                  <a:lnTo>
                    <a:pt x="486" y="236"/>
                  </a:lnTo>
                  <a:lnTo>
                    <a:pt x="482" y="234"/>
                  </a:lnTo>
                  <a:lnTo>
                    <a:pt x="480" y="234"/>
                  </a:lnTo>
                  <a:lnTo>
                    <a:pt x="484" y="232"/>
                  </a:lnTo>
                  <a:lnTo>
                    <a:pt x="484" y="230"/>
                  </a:lnTo>
                  <a:lnTo>
                    <a:pt x="484" y="230"/>
                  </a:lnTo>
                  <a:lnTo>
                    <a:pt x="478" y="228"/>
                  </a:lnTo>
                  <a:lnTo>
                    <a:pt x="478" y="228"/>
                  </a:lnTo>
                  <a:lnTo>
                    <a:pt x="474" y="226"/>
                  </a:lnTo>
                  <a:lnTo>
                    <a:pt x="474" y="226"/>
                  </a:lnTo>
                  <a:lnTo>
                    <a:pt x="474" y="226"/>
                  </a:lnTo>
                  <a:lnTo>
                    <a:pt x="474" y="226"/>
                  </a:lnTo>
                  <a:lnTo>
                    <a:pt x="478" y="226"/>
                  </a:lnTo>
                  <a:lnTo>
                    <a:pt x="478" y="226"/>
                  </a:lnTo>
                  <a:lnTo>
                    <a:pt x="480" y="228"/>
                  </a:lnTo>
                  <a:lnTo>
                    <a:pt x="480" y="228"/>
                  </a:lnTo>
                  <a:lnTo>
                    <a:pt x="482" y="228"/>
                  </a:lnTo>
                  <a:lnTo>
                    <a:pt x="484" y="228"/>
                  </a:lnTo>
                  <a:lnTo>
                    <a:pt x="484" y="228"/>
                  </a:lnTo>
                  <a:lnTo>
                    <a:pt x="484" y="222"/>
                  </a:lnTo>
                  <a:lnTo>
                    <a:pt x="484" y="222"/>
                  </a:lnTo>
                  <a:lnTo>
                    <a:pt x="478" y="220"/>
                  </a:lnTo>
                  <a:lnTo>
                    <a:pt x="472" y="222"/>
                  </a:lnTo>
                  <a:lnTo>
                    <a:pt x="472" y="222"/>
                  </a:lnTo>
                  <a:lnTo>
                    <a:pt x="474" y="220"/>
                  </a:lnTo>
                  <a:lnTo>
                    <a:pt x="474" y="220"/>
                  </a:lnTo>
                  <a:lnTo>
                    <a:pt x="476" y="220"/>
                  </a:lnTo>
                  <a:lnTo>
                    <a:pt x="476" y="220"/>
                  </a:lnTo>
                  <a:lnTo>
                    <a:pt x="478" y="216"/>
                  </a:lnTo>
                  <a:lnTo>
                    <a:pt x="470" y="216"/>
                  </a:lnTo>
                  <a:lnTo>
                    <a:pt x="470" y="216"/>
                  </a:lnTo>
                  <a:lnTo>
                    <a:pt x="472" y="214"/>
                  </a:lnTo>
                  <a:lnTo>
                    <a:pt x="472" y="214"/>
                  </a:lnTo>
                  <a:lnTo>
                    <a:pt x="464" y="212"/>
                  </a:lnTo>
                  <a:lnTo>
                    <a:pt x="458" y="210"/>
                  </a:lnTo>
                  <a:lnTo>
                    <a:pt x="458" y="210"/>
                  </a:lnTo>
                  <a:close/>
                  <a:moveTo>
                    <a:pt x="148" y="186"/>
                  </a:moveTo>
                  <a:lnTo>
                    <a:pt x="148" y="186"/>
                  </a:lnTo>
                  <a:lnTo>
                    <a:pt x="146" y="188"/>
                  </a:lnTo>
                  <a:lnTo>
                    <a:pt x="146" y="188"/>
                  </a:lnTo>
                  <a:lnTo>
                    <a:pt x="148" y="188"/>
                  </a:lnTo>
                  <a:lnTo>
                    <a:pt x="148" y="188"/>
                  </a:lnTo>
                  <a:lnTo>
                    <a:pt x="150" y="188"/>
                  </a:lnTo>
                  <a:lnTo>
                    <a:pt x="152" y="186"/>
                  </a:lnTo>
                  <a:lnTo>
                    <a:pt x="152" y="186"/>
                  </a:lnTo>
                  <a:lnTo>
                    <a:pt x="148" y="186"/>
                  </a:lnTo>
                  <a:lnTo>
                    <a:pt x="148" y="186"/>
                  </a:lnTo>
                  <a:close/>
                  <a:moveTo>
                    <a:pt x="512" y="184"/>
                  </a:moveTo>
                  <a:lnTo>
                    <a:pt x="512" y="184"/>
                  </a:lnTo>
                  <a:lnTo>
                    <a:pt x="510" y="186"/>
                  </a:lnTo>
                  <a:lnTo>
                    <a:pt x="510" y="186"/>
                  </a:lnTo>
                  <a:lnTo>
                    <a:pt x="512" y="186"/>
                  </a:lnTo>
                  <a:lnTo>
                    <a:pt x="512" y="186"/>
                  </a:lnTo>
                  <a:lnTo>
                    <a:pt x="512" y="186"/>
                  </a:lnTo>
                  <a:lnTo>
                    <a:pt x="512" y="184"/>
                  </a:lnTo>
                  <a:lnTo>
                    <a:pt x="512" y="184"/>
                  </a:lnTo>
                  <a:close/>
                  <a:moveTo>
                    <a:pt x="498" y="180"/>
                  </a:moveTo>
                  <a:lnTo>
                    <a:pt x="498" y="180"/>
                  </a:lnTo>
                  <a:lnTo>
                    <a:pt x="498" y="182"/>
                  </a:lnTo>
                  <a:lnTo>
                    <a:pt x="498" y="186"/>
                  </a:lnTo>
                  <a:lnTo>
                    <a:pt x="498" y="186"/>
                  </a:lnTo>
                  <a:lnTo>
                    <a:pt x="500" y="186"/>
                  </a:lnTo>
                  <a:lnTo>
                    <a:pt x="500" y="186"/>
                  </a:lnTo>
                  <a:lnTo>
                    <a:pt x="504" y="186"/>
                  </a:lnTo>
                  <a:lnTo>
                    <a:pt x="504" y="186"/>
                  </a:lnTo>
                  <a:lnTo>
                    <a:pt x="504" y="182"/>
                  </a:lnTo>
                  <a:lnTo>
                    <a:pt x="504" y="182"/>
                  </a:lnTo>
                  <a:lnTo>
                    <a:pt x="500" y="182"/>
                  </a:lnTo>
                  <a:lnTo>
                    <a:pt x="500" y="182"/>
                  </a:lnTo>
                  <a:lnTo>
                    <a:pt x="500" y="180"/>
                  </a:lnTo>
                  <a:lnTo>
                    <a:pt x="500" y="180"/>
                  </a:lnTo>
                  <a:lnTo>
                    <a:pt x="498" y="180"/>
                  </a:lnTo>
                  <a:lnTo>
                    <a:pt x="498" y="180"/>
                  </a:lnTo>
                  <a:close/>
                  <a:moveTo>
                    <a:pt x="478" y="174"/>
                  </a:moveTo>
                  <a:lnTo>
                    <a:pt x="478" y="174"/>
                  </a:lnTo>
                  <a:lnTo>
                    <a:pt x="480" y="174"/>
                  </a:lnTo>
                  <a:lnTo>
                    <a:pt x="480" y="176"/>
                  </a:lnTo>
                  <a:lnTo>
                    <a:pt x="480" y="180"/>
                  </a:lnTo>
                  <a:lnTo>
                    <a:pt x="480" y="180"/>
                  </a:lnTo>
                  <a:lnTo>
                    <a:pt x="478" y="180"/>
                  </a:lnTo>
                  <a:lnTo>
                    <a:pt x="478" y="180"/>
                  </a:lnTo>
                  <a:lnTo>
                    <a:pt x="478" y="176"/>
                  </a:lnTo>
                  <a:lnTo>
                    <a:pt x="478" y="174"/>
                  </a:lnTo>
                  <a:lnTo>
                    <a:pt x="478" y="174"/>
                  </a:lnTo>
                  <a:lnTo>
                    <a:pt x="478" y="174"/>
                  </a:lnTo>
                  <a:close/>
                  <a:moveTo>
                    <a:pt x="512" y="166"/>
                  </a:moveTo>
                  <a:lnTo>
                    <a:pt x="512" y="166"/>
                  </a:lnTo>
                  <a:lnTo>
                    <a:pt x="512" y="168"/>
                  </a:lnTo>
                  <a:lnTo>
                    <a:pt x="512" y="168"/>
                  </a:lnTo>
                  <a:lnTo>
                    <a:pt x="508" y="168"/>
                  </a:lnTo>
                  <a:lnTo>
                    <a:pt x="508" y="168"/>
                  </a:lnTo>
                  <a:lnTo>
                    <a:pt x="510" y="176"/>
                  </a:lnTo>
                  <a:lnTo>
                    <a:pt x="512" y="178"/>
                  </a:lnTo>
                  <a:lnTo>
                    <a:pt x="516" y="178"/>
                  </a:lnTo>
                  <a:lnTo>
                    <a:pt x="516" y="178"/>
                  </a:lnTo>
                  <a:lnTo>
                    <a:pt x="518" y="176"/>
                  </a:lnTo>
                  <a:lnTo>
                    <a:pt x="518" y="176"/>
                  </a:lnTo>
                  <a:lnTo>
                    <a:pt x="520" y="176"/>
                  </a:lnTo>
                  <a:lnTo>
                    <a:pt x="520" y="176"/>
                  </a:lnTo>
                  <a:lnTo>
                    <a:pt x="520" y="176"/>
                  </a:lnTo>
                  <a:lnTo>
                    <a:pt x="520" y="176"/>
                  </a:lnTo>
                  <a:lnTo>
                    <a:pt x="522" y="176"/>
                  </a:lnTo>
                  <a:lnTo>
                    <a:pt x="522" y="176"/>
                  </a:lnTo>
                  <a:lnTo>
                    <a:pt x="522" y="172"/>
                  </a:lnTo>
                  <a:lnTo>
                    <a:pt x="522" y="172"/>
                  </a:lnTo>
                  <a:lnTo>
                    <a:pt x="520" y="174"/>
                  </a:lnTo>
                  <a:lnTo>
                    <a:pt x="520" y="174"/>
                  </a:lnTo>
                  <a:lnTo>
                    <a:pt x="516" y="172"/>
                  </a:lnTo>
                  <a:lnTo>
                    <a:pt x="516" y="172"/>
                  </a:lnTo>
                  <a:lnTo>
                    <a:pt x="514" y="166"/>
                  </a:lnTo>
                  <a:lnTo>
                    <a:pt x="512" y="166"/>
                  </a:lnTo>
                  <a:close/>
                  <a:moveTo>
                    <a:pt x="506" y="150"/>
                  </a:moveTo>
                  <a:lnTo>
                    <a:pt x="506" y="150"/>
                  </a:lnTo>
                  <a:lnTo>
                    <a:pt x="504" y="152"/>
                  </a:lnTo>
                  <a:lnTo>
                    <a:pt x="504" y="152"/>
                  </a:lnTo>
                  <a:lnTo>
                    <a:pt x="508" y="156"/>
                  </a:lnTo>
                  <a:lnTo>
                    <a:pt x="510" y="160"/>
                  </a:lnTo>
                  <a:lnTo>
                    <a:pt x="508" y="158"/>
                  </a:lnTo>
                  <a:lnTo>
                    <a:pt x="508" y="158"/>
                  </a:lnTo>
                  <a:lnTo>
                    <a:pt x="508" y="154"/>
                  </a:lnTo>
                  <a:lnTo>
                    <a:pt x="508" y="154"/>
                  </a:lnTo>
                  <a:lnTo>
                    <a:pt x="506" y="152"/>
                  </a:lnTo>
                  <a:lnTo>
                    <a:pt x="506" y="152"/>
                  </a:lnTo>
                  <a:lnTo>
                    <a:pt x="508" y="150"/>
                  </a:lnTo>
                  <a:lnTo>
                    <a:pt x="506" y="150"/>
                  </a:lnTo>
                  <a:close/>
                  <a:moveTo>
                    <a:pt x="12" y="132"/>
                  </a:moveTo>
                  <a:lnTo>
                    <a:pt x="12" y="132"/>
                  </a:lnTo>
                  <a:lnTo>
                    <a:pt x="12" y="132"/>
                  </a:lnTo>
                  <a:lnTo>
                    <a:pt x="14" y="132"/>
                  </a:lnTo>
                  <a:lnTo>
                    <a:pt x="12" y="132"/>
                  </a:lnTo>
                  <a:lnTo>
                    <a:pt x="12" y="132"/>
                  </a:lnTo>
                  <a:lnTo>
                    <a:pt x="12" y="132"/>
                  </a:lnTo>
                  <a:lnTo>
                    <a:pt x="12" y="132"/>
                  </a:lnTo>
                  <a:close/>
                  <a:moveTo>
                    <a:pt x="2" y="130"/>
                  </a:moveTo>
                  <a:lnTo>
                    <a:pt x="2" y="130"/>
                  </a:lnTo>
                  <a:lnTo>
                    <a:pt x="0" y="132"/>
                  </a:lnTo>
                  <a:lnTo>
                    <a:pt x="0" y="132"/>
                  </a:lnTo>
                  <a:lnTo>
                    <a:pt x="2" y="132"/>
                  </a:lnTo>
                  <a:lnTo>
                    <a:pt x="2" y="132"/>
                  </a:lnTo>
                  <a:lnTo>
                    <a:pt x="4" y="132"/>
                  </a:lnTo>
                  <a:lnTo>
                    <a:pt x="6" y="130"/>
                  </a:lnTo>
                  <a:lnTo>
                    <a:pt x="6" y="130"/>
                  </a:lnTo>
                  <a:lnTo>
                    <a:pt x="2" y="130"/>
                  </a:lnTo>
                  <a:lnTo>
                    <a:pt x="2" y="130"/>
                  </a:lnTo>
                  <a:close/>
                  <a:moveTo>
                    <a:pt x="500" y="76"/>
                  </a:moveTo>
                  <a:lnTo>
                    <a:pt x="500" y="76"/>
                  </a:lnTo>
                  <a:lnTo>
                    <a:pt x="500" y="80"/>
                  </a:lnTo>
                  <a:lnTo>
                    <a:pt x="500" y="80"/>
                  </a:lnTo>
                  <a:lnTo>
                    <a:pt x="504" y="78"/>
                  </a:lnTo>
                  <a:lnTo>
                    <a:pt x="500" y="76"/>
                  </a:lnTo>
                  <a:lnTo>
                    <a:pt x="500" y="76"/>
                  </a:lnTo>
                  <a:close/>
                  <a:moveTo>
                    <a:pt x="438" y="66"/>
                  </a:moveTo>
                  <a:lnTo>
                    <a:pt x="438" y="66"/>
                  </a:lnTo>
                  <a:lnTo>
                    <a:pt x="442" y="66"/>
                  </a:lnTo>
                  <a:lnTo>
                    <a:pt x="440" y="66"/>
                  </a:lnTo>
                  <a:lnTo>
                    <a:pt x="434" y="70"/>
                  </a:lnTo>
                  <a:lnTo>
                    <a:pt x="434" y="70"/>
                  </a:lnTo>
                  <a:lnTo>
                    <a:pt x="430" y="68"/>
                  </a:lnTo>
                  <a:lnTo>
                    <a:pt x="430" y="68"/>
                  </a:lnTo>
                  <a:lnTo>
                    <a:pt x="434" y="68"/>
                  </a:lnTo>
                  <a:lnTo>
                    <a:pt x="434" y="68"/>
                  </a:lnTo>
                  <a:lnTo>
                    <a:pt x="438" y="66"/>
                  </a:lnTo>
                  <a:lnTo>
                    <a:pt x="438" y="66"/>
                  </a:lnTo>
                  <a:close/>
                  <a:moveTo>
                    <a:pt x="508" y="40"/>
                  </a:moveTo>
                  <a:lnTo>
                    <a:pt x="508" y="40"/>
                  </a:lnTo>
                  <a:lnTo>
                    <a:pt x="508" y="42"/>
                  </a:lnTo>
                  <a:lnTo>
                    <a:pt x="508" y="42"/>
                  </a:lnTo>
                  <a:lnTo>
                    <a:pt x="508" y="42"/>
                  </a:lnTo>
                  <a:lnTo>
                    <a:pt x="508" y="42"/>
                  </a:lnTo>
                  <a:lnTo>
                    <a:pt x="508" y="40"/>
                  </a:lnTo>
                  <a:lnTo>
                    <a:pt x="508" y="40"/>
                  </a:lnTo>
                  <a:close/>
                  <a:moveTo>
                    <a:pt x="500" y="40"/>
                  </a:moveTo>
                  <a:lnTo>
                    <a:pt x="500" y="40"/>
                  </a:lnTo>
                  <a:lnTo>
                    <a:pt x="500" y="44"/>
                  </a:lnTo>
                  <a:lnTo>
                    <a:pt x="500" y="44"/>
                  </a:lnTo>
                  <a:lnTo>
                    <a:pt x="500" y="44"/>
                  </a:lnTo>
                  <a:lnTo>
                    <a:pt x="500" y="40"/>
                  </a:lnTo>
                  <a:lnTo>
                    <a:pt x="500" y="40"/>
                  </a:lnTo>
                  <a:close/>
                  <a:moveTo>
                    <a:pt x="182" y="32"/>
                  </a:moveTo>
                  <a:lnTo>
                    <a:pt x="182" y="32"/>
                  </a:lnTo>
                  <a:lnTo>
                    <a:pt x="184" y="38"/>
                  </a:lnTo>
                  <a:lnTo>
                    <a:pt x="184" y="38"/>
                  </a:lnTo>
                  <a:lnTo>
                    <a:pt x="186" y="40"/>
                  </a:lnTo>
                  <a:lnTo>
                    <a:pt x="192" y="44"/>
                  </a:lnTo>
                  <a:lnTo>
                    <a:pt x="204" y="46"/>
                  </a:lnTo>
                  <a:lnTo>
                    <a:pt x="204" y="46"/>
                  </a:lnTo>
                  <a:lnTo>
                    <a:pt x="206" y="46"/>
                  </a:lnTo>
                  <a:lnTo>
                    <a:pt x="206" y="46"/>
                  </a:lnTo>
                  <a:lnTo>
                    <a:pt x="206" y="44"/>
                  </a:lnTo>
                  <a:lnTo>
                    <a:pt x="206" y="44"/>
                  </a:lnTo>
                  <a:lnTo>
                    <a:pt x="204" y="42"/>
                  </a:lnTo>
                  <a:lnTo>
                    <a:pt x="204" y="42"/>
                  </a:lnTo>
                  <a:lnTo>
                    <a:pt x="198" y="40"/>
                  </a:lnTo>
                  <a:lnTo>
                    <a:pt x="198" y="40"/>
                  </a:lnTo>
                  <a:lnTo>
                    <a:pt x="194" y="40"/>
                  </a:lnTo>
                  <a:lnTo>
                    <a:pt x="194" y="40"/>
                  </a:lnTo>
                  <a:lnTo>
                    <a:pt x="192" y="36"/>
                  </a:lnTo>
                  <a:lnTo>
                    <a:pt x="192" y="36"/>
                  </a:lnTo>
                  <a:lnTo>
                    <a:pt x="188" y="36"/>
                  </a:lnTo>
                  <a:lnTo>
                    <a:pt x="188" y="36"/>
                  </a:lnTo>
                  <a:lnTo>
                    <a:pt x="182" y="32"/>
                  </a:lnTo>
                  <a:lnTo>
                    <a:pt x="182" y="32"/>
                  </a:lnTo>
                  <a:close/>
                  <a:moveTo>
                    <a:pt x="358" y="18"/>
                  </a:moveTo>
                  <a:lnTo>
                    <a:pt x="358" y="18"/>
                  </a:lnTo>
                  <a:lnTo>
                    <a:pt x="360" y="20"/>
                  </a:lnTo>
                  <a:lnTo>
                    <a:pt x="360" y="20"/>
                  </a:lnTo>
                  <a:lnTo>
                    <a:pt x="356" y="22"/>
                  </a:lnTo>
                  <a:lnTo>
                    <a:pt x="356" y="22"/>
                  </a:lnTo>
                  <a:lnTo>
                    <a:pt x="356" y="24"/>
                  </a:lnTo>
                  <a:lnTo>
                    <a:pt x="356" y="24"/>
                  </a:lnTo>
                  <a:lnTo>
                    <a:pt x="350" y="22"/>
                  </a:lnTo>
                  <a:lnTo>
                    <a:pt x="350" y="22"/>
                  </a:lnTo>
                  <a:lnTo>
                    <a:pt x="350" y="24"/>
                  </a:lnTo>
                  <a:lnTo>
                    <a:pt x="350" y="24"/>
                  </a:lnTo>
                  <a:lnTo>
                    <a:pt x="350" y="24"/>
                  </a:lnTo>
                  <a:lnTo>
                    <a:pt x="350" y="22"/>
                  </a:lnTo>
                  <a:lnTo>
                    <a:pt x="350" y="20"/>
                  </a:lnTo>
                  <a:lnTo>
                    <a:pt x="350" y="20"/>
                  </a:lnTo>
                  <a:lnTo>
                    <a:pt x="358" y="18"/>
                  </a:lnTo>
                  <a:lnTo>
                    <a:pt x="358" y="18"/>
                  </a:lnTo>
                  <a:close/>
                  <a:moveTo>
                    <a:pt x="402" y="16"/>
                  </a:moveTo>
                  <a:lnTo>
                    <a:pt x="402" y="16"/>
                  </a:lnTo>
                  <a:lnTo>
                    <a:pt x="410" y="16"/>
                  </a:lnTo>
                  <a:lnTo>
                    <a:pt x="410" y="16"/>
                  </a:lnTo>
                  <a:lnTo>
                    <a:pt x="420" y="16"/>
                  </a:lnTo>
                  <a:lnTo>
                    <a:pt x="420" y="16"/>
                  </a:lnTo>
                  <a:lnTo>
                    <a:pt x="430" y="16"/>
                  </a:lnTo>
                  <a:lnTo>
                    <a:pt x="430" y="16"/>
                  </a:lnTo>
                  <a:lnTo>
                    <a:pt x="410" y="18"/>
                  </a:lnTo>
                  <a:lnTo>
                    <a:pt x="410" y="18"/>
                  </a:lnTo>
                  <a:lnTo>
                    <a:pt x="404" y="18"/>
                  </a:lnTo>
                  <a:lnTo>
                    <a:pt x="398" y="18"/>
                  </a:lnTo>
                  <a:lnTo>
                    <a:pt x="398" y="20"/>
                  </a:lnTo>
                  <a:lnTo>
                    <a:pt x="398" y="20"/>
                  </a:lnTo>
                  <a:lnTo>
                    <a:pt x="392" y="20"/>
                  </a:lnTo>
                  <a:lnTo>
                    <a:pt x="388" y="20"/>
                  </a:lnTo>
                  <a:lnTo>
                    <a:pt x="388" y="18"/>
                  </a:lnTo>
                  <a:lnTo>
                    <a:pt x="388" y="18"/>
                  </a:lnTo>
                  <a:lnTo>
                    <a:pt x="390" y="18"/>
                  </a:lnTo>
                  <a:lnTo>
                    <a:pt x="390" y="18"/>
                  </a:lnTo>
                  <a:lnTo>
                    <a:pt x="402" y="16"/>
                  </a:lnTo>
                  <a:lnTo>
                    <a:pt x="402" y="16"/>
                  </a:lnTo>
                  <a:close/>
                  <a:moveTo>
                    <a:pt x="368" y="12"/>
                  </a:moveTo>
                  <a:lnTo>
                    <a:pt x="370" y="12"/>
                  </a:lnTo>
                  <a:lnTo>
                    <a:pt x="370" y="12"/>
                  </a:lnTo>
                  <a:lnTo>
                    <a:pt x="370" y="16"/>
                  </a:lnTo>
                  <a:lnTo>
                    <a:pt x="370" y="16"/>
                  </a:lnTo>
                  <a:lnTo>
                    <a:pt x="372" y="18"/>
                  </a:lnTo>
                  <a:lnTo>
                    <a:pt x="372" y="18"/>
                  </a:lnTo>
                  <a:lnTo>
                    <a:pt x="380" y="18"/>
                  </a:lnTo>
                  <a:lnTo>
                    <a:pt x="386" y="20"/>
                  </a:lnTo>
                  <a:lnTo>
                    <a:pt x="386" y="20"/>
                  </a:lnTo>
                  <a:lnTo>
                    <a:pt x="380" y="18"/>
                  </a:lnTo>
                  <a:lnTo>
                    <a:pt x="380" y="18"/>
                  </a:lnTo>
                  <a:lnTo>
                    <a:pt x="372" y="20"/>
                  </a:lnTo>
                  <a:lnTo>
                    <a:pt x="372" y="20"/>
                  </a:lnTo>
                  <a:lnTo>
                    <a:pt x="372" y="22"/>
                  </a:lnTo>
                  <a:lnTo>
                    <a:pt x="372" y="22"/>
                  </a:lnTo>
                  <a:lnTo>
                    <a:pt x="372" y="22"/>
                  </a:lnTo>
                  <a:lnTo>
                    <a:pt x="370" y="22"/>
                  </a:lnTo>
                  <a:lnTo>
                    <a:pt x="370" y="22"/>
                  </a:lnTo>
                  <a:lnTo>
                    <a:pt x="370" y="20"/>
                  </a:lnTo>
                  <a:lnTo>
                    <a:pt x="370" y="20"/>
                  </a:lnTo>
                  <a:lnTo>
                    <a:pt x="366" y="20"/>
                  </a:lnTo>
                  <a:lnTo>
                    <a:pt x="366" y="18"/>
                  </a:lnTo>
                  <a:lnTo>
                    <a:pt x="366" y="18"/>
                  </a:lnTo>
                  <a:lnTo>
                    <a:pt x="368" y="18"/>
                  </a:lnTo>
                  <a:lnTo>
                    <a:pt x="368" y="14"/>
                  </a:lnTo>
                  <a:lnTo>
                    <a:pt x="368" y="12"/>
                  </a:lnTo>
                  <a:lnTo>
                    <a:pt x="368" y="12"/>
                  </a:lnTo>
                  <a:close/>
                  <a:moveTo>
                    <a:pt x="482" y="36"/>
                  </a:moveTo>
                  <a:lnTo>
                    <a:pt x="482" y="36"/>
                  </a:lnTo>
                  <a:lnTo>
                    <a:pt x="486" y="34"/>
                  </a:lnTo>
                  <a:lnTo>
                    <a:pt x="488" y="32"/>
                  </a:lnTo>
                  <a:lnTo>
                    <a:pt x="488" y="32"/>
                  </a:lnTo>
                  <a:lnTo>
                    <a:pt x="490" y="32"/>
                  </a:lnTo>
                  <a:lnTo>
                    <a:pt x="490" y="32"/>
                  </a:lnTo>
                  <a:lnTo>
                    <a:pt x="496" y="30"/>
                  </a:lnTo>
                  <a:lnTo>
                    <a:pt x="496" y="30"/>
                  </a:lnTo>
                  <a:lnTo>
                    <a:pt x="494" y="28"/>
                  </a:lnTo>
                  <a:lnTo>
                    <a:pt x="494" y="28"/>
                  </a:lnTo>
                  <a:lnTo>
                    <a:pt x="492" y="26"/>
                  </a:lnTo>
                  <a:lnTo>
                    <a:pt x="488" y="26"/>
                  </a:lnTo>
                  <a:lnTo>
                    <a:pt x="488" y="26"/>
                  </a:lnTo>
                  <a:lnTo>
                    <a:pt x="486" y="24"/>
                  </a:lnTo>
                  <a:lnTo>
                    <a:pt x="486" y="24"/>
                  </a:lnTo>
                  <a:lnTo>
                    <a:pt x="480" y="24"/>
                  </a:lnTo>
                  <a:lnTo>
                    <a:pt x="474" y="24"/>
                  </a:lnTo>
                  <a:lnTo>
                    <a:pt x="474" y="24"/>
                  </a:lnTo>
                  <a:lnTo>
                    <a:pt x="474" y="22"/>
                  </a:lnTo>
                  <a:lnTo>
                    <a:pt x="474" y="22"/>
                  </a:lnTo>
                  <a:lnTo>
                    <a:pt x="470" y="20"/>
                  </a:lnTo>
                  <a:lnTo>
                    <a:pt x="470" y="20"/>
                  </a:lnTo>
                  <a:lnTo>
                    <a:pt x="468" y="20"/>
                  </a:lnTo>
                  <a:lnTo>
                    <a:pt x="468" y="20"/>
                  </a:lnTo>
                  <a:lnTo>
                    <a:pt x="466" y="22"/>
                  </a:lnTo>
                  <a:lnTo>
                    <a:pt x="466" y="22"/>
                  </a:lnTo>
                  <a:lnTo>
                    <a:pt x="466" y="18"/>
                  </a:lnTo>
                  <a:lnTo>
                    <a:pt x="466" y="18"/>
                  </a:lnTo>
                  <a:lnTo>
                    <a:pt x="464" y="18"/>
                  </a:lnTo>
                  <a:lnTo>
                    <a:pt x="464" y="18"/>
                  </a:lnTo>
                  <a:lnTo>
                    <a:pt x="458" y="22"/>
                  </a:lnTo>
                  <a:lnTo>
                    <a:pt x="450" y="24"/>
                  </a:lnTo>
                  <a:lnTo>
                    <a:pt x="450" y="22"/>
                  </a:lnTo>
                  <a:lnTo>
                    <a:pt x="450" y="22"/>
                  </a:lnTo>
                  <a:lnTo>
                    <a:pt x="458" y="20"/>
                  </a:lnTo>
                  <a:lnTo>
                    <a:pt x="458" y="20"/>
                  </a:lnTo>
                  <a:lnTo>
                    <a:pt x="458" y="18"/>
                  </a:lnTo>
                  <a:lnTo>
                    <a:pt x="458" y="18"/>
                  </a:lnTo>
                  <a:lnTo>
                    <a:pt x="458" y="16"/>
                  </a:lnTo>
                  <a:lnTo>
                    <a:pt x="458" y="16"/>
                  </a:lnTo>
                  <a:lnTo>
                    <a:pt x="454" y="12"/>
                  </a:lnTo>
                  <a:lnTo>
                    <a:pt x="450" y="10"/>
                  </a:lnTo>
                  <a:lnTo>
                    <a:pt x="450" y="10"/>
                  </a:lnTo>
                  <a:lnTo>
                    <a:pt x="448" y="12"/>
                  </a:lnTo>
                  <a:lnTo>
                    <a:pt x="446" y="14"/>
                  </a:lnTo>
                  <a:lnTo>
                    <a:pt x="446" y="14"/>
                  </a:lnTo>
                  <a:lnTo>
                    <a:pt x="440" y="16"/>
                  </a:lnTo>
                  <a:lnTo>
                    <a:pt x="432" y="16"/>
                  </a:lnTo>
                  <a:lnTo>
                    <a:pt x="432" y="16"/>
                  </a:lnTo>
                  <a:lnTo>
                    <a:pt x="436" y="10"/>
                  </a:lnTo>
                  <a:lnTo>
                    <a:pt x="436" y="10"/>
                  </a:lnTo>
                  <a:lnTo>
                    <a:pt x="442" y="10"/>
                  </a:lnTo>
                  <a:lnTo>
                    <a:pt x="442" y="10"/>
                  </a:lnTo>
                  <a:lnTo>
                    <a:pt x="442" y="6"/>
                  </a:lnTo>
                  <a:lnTo>
                    <a:pt x="442" y="6"/>
                  </a:lnTo>
                  <a:lnTo>
                    <a:pt x="438" y="4"/>
                  </a:lnTo>
                  <a:lnTo>
                    <a:pt x="438" y="4"/>
                  </a:lnTo>
                  <a:lnTo>
                    <a:pt x="422" y="4"/>
                  </a:lnTo>
                  <a:lnTo>
                    <a:pt x="422" y="4"/>
                  </a:lnTo>
                  <a:lnTo>
                    <a:pt x="418" y="4"/>
                  </a:lnTo>
                  <a:lnTo>
                    <a:pt x="412" y="2"/>
                  </a:lnTo>
                  <a:lnTo>
                    <a:pt x="412" y="2"/>
                  </a:lnTo>
                  <a:lnTo>
                    <a:pt x="412" y="4"/>
                  </a:lnTo>
                  <a:lnTo>
                    <a:pt x="412" y="4"/>
                  </a:lnTo>
                  <a:lnTo>
                    <a:pt x="406" y="4"/>
                  </a:lnTo>
                  <a:lnTo>
                    <a:pt x="406" y="4"/>
                  </a:lnTo>
                  <a:lnTo>
                    <a:pt x="404" y="4"/>
                  </a:lnTo>
                  <a:lnTo>
                    <a:pt x="398" y="6"/>
                  </a:lnTo>
                  <a:lnTo>
                    <a:pt x="398" y="6"/>
                  </a:lnTo>
                  <a:lnTo>
                    <a:pt x="392" y="2"/>
                  </a:lnTo>
                  <a:lnTo>
                    <a:pt x="388" y="2"/>
                  </a:lnTo>
                  <a:lnTo>
                    <a:pt x="386" y="0"/>
                  </a:lnTo>
                  <a:lnTo>
                    <a:pt x="386" y="0"/>
                  </a:lnTo>
                  <a:lnTo>
                    <a:pt x="382" y="2"/>
                  </a:lnTo>
                  <a:lnTo>
                    <a:pt x="382" y="2"/>
                  </a:lnTo>
                  <a:lnTo>
                    <a:pt x="378" y="2"/>
                  </a:lnTo>
                  <a:lnTo>
                    <a:pt x="374" y="2"/>
                  </a:lnTo>
                  <a:lnTo>
                    <a:pt x="374" y="2"/>
                  </a:lnTo>
                  <a:lnTo>
                    <a:pt x="366" y="2"/>
                  </a:lnTo>
                  <a:lnTo>
                    <a:pt x="358" y="2"/>
                  </a:lnTo>
                  <a:lnTo>
                    <a:pt x="358" y="2"/>
                  </a:lnTo>
                  <a:lnTo>
                    <a:pt x="348" y="2"/>
                  </a:lnTo>
                  <a:lnTo>
                    <a:pt x="338" y="0"/>
                  </a:lnTo>
                  <a:lnTo>
                    <a:pt x="338" y="0"/>
                  </a:lnTo>
                  <a:lnTo>
                    <a:pt x="338" y="2"/>
                  </a:lnTo>
                  <a:lnTo>
                    <a:pt x="338" y="4"/>
                  </a:lnTo>
                  <a:lnTo>
                    <a:pt x="338" y="4"/>
                  </a:lnTo>
                  <a:lnTo>
                    <a:pt x="328" y="2"/>
                  </a:lnTo>
                  <a:lnTo>
                    <a:pt x="328" y="2"/>
                  </a:lnTo>
                  <a:lnTo>
                    <a:pt x="328" y="4"/>
                  </a:lnTo>
                  <a:lnTo>
                    <a:pt x="328" y="4"/>
                  </a:lnTo>
                  <a:lnTo>
                    <a:pt x="330" y="6"/>
                  </a:lnTo>
                  <a:lnTo>
                    <a:pt x="330" y="6"/>
                  </a:lnTo>
                  <a:lnTo>
                    <a:pt x="326" y="6"/>
                  </a:lnTo>
                  <a:lnTo>
                    <a:pt x="320" y="6"/>
                  </a:lnTo>
                  <a:lnTo>
                    <a:pt x="320" y="6"/>
                  </a:lnTo>
                  <a:lnTo>
                    <a:pt x="320" y="4"/>
                  </a:lnTo>
                  <a:lnTo>
                    <a:pt x="318" y="4"/>
                  </a:lnTo>
                  <a:lnTo>
                    <a:pt x="318" y="4"/>
                  </a:lnTo>
                  <a:lnTo>
                    <a:pt x="318" y="8"/>
                  </a:lnTo>
                  <a:lnTo>
                    <a:pt x="318" y="8"/>
                  </a:lnTo>
                  <a:lnTo>
                    <a:pt x="316" y="8"/>
                  </a:lnTo>
                  <a:lnTo>
                    <a:pt x="316" y="10"/>
                  </a:lnTo>
                  <a:lnTo>
                    <a:pt x="316" y="10"/>
                  </a:lnTo>
                  <a:lnTo>
                    <a:pt x="316" y="10"/>
                  </a:lnTo>
                  <a:lnTo>
                    <a:pt x="320" y="10"/>
                  </a:lnTo>
                  <a:lnTo>
                    <a:pt x="320" y="12"/>
                  </a:lnTo>
                  <a:lnTo>
                    <a:pt x="320" y="12"/>
                  </a:lnTo>
                  <a:lnTo>
                    <a:pt x="312" y="12"/>
                  </a:lnTo>
                  <a:lnTo>
                    <a:pt x="310" y="14"/>
                  </a:lnTo>
                  <a:lnTo>
                    <a:pt x="312" y="16"/>
                  </a:lnTo>
                  <a:lnTo>
                    <a:pt x="316" y="20"/>
                  </a:lnTo>
                  <a:lnTo>
                    <a:pt x="316" y="20"/>
                  </a:lnTo>
                  <a:lnTo>
                    <a:pt x="312" y="20"/>
                  </a:lnTo>
                  <a:lnTo>
                    <a:pt x="312" y="20"/>
                  </a:lnTo>
                  <a:lnTo>
                    <a:pt x="308" y="14"/>
                  </a:lnTo>
                  <a:lnTo>
                    <a:pt x="308" y="14"/>
                  </a:lnTo>
                  <a:lnTo>
                    <a:pt x="304" y="14"/>
                  </a:lnTo>
                  <a:lnTo>
                    <a:pt x="304" y="14"/>
                  </a:lnTo>
                  <a:lnTo>
                    <a:pt x="304" y="16"/>
                  </a:lnTo>
                  <a:lnTo>
                    <a:pt x="306" y="16"/>
                  </a:lnTo>
                  <a:lnTo>
                    <a:pt x="306" y="16"/>
                  </a:lnTo>
                  <a:lnTo>
                    <a:pt x="308" y="18"/>
                  </a:lnTo>
                  <a:lnTo>
                    <a:pt x="308" y="18"/>
                  </a:lnTo>
                  <a:lnTo>
                    <a:pt x="304" y="16"/>
                  </a:lnTo>
                  <a:lnTo>
                    <a:pt x="302" y="22"/>
                  </a:lnTo>
                  <a:lnTo>
                    <a:pt x="302" y="22"/>
                  </a:lnTo>
                  <a:lnTo>
                    <a:pt x="296" y="20"/>
                  </a:lnTo>
                  <a:lnTo>
                    <a:pt x="294" y="16"/>
                  </a:lnTo>
                  <a:lnTo>
                    <a:pt x="294" y="16"/>
                  </a:lnTo>
                  <a:lnTo>
                    <a:pt x="294" y="12"/>
                  </a:lnTo>
                  <a:lnTo>
                    <a:pt x="294" y="12"/>
                  </a:lnTo>
                  <a:lnTo>
                    <a:pt x="288" y="10"/>
                  </a:lnTo>
                  <a:lnTo>
                    <a:pt x="280" y="10"/>
                  </a:lnTo>
                  <a:lnTo>
                    <a:pt x="280" y="10"/>
                  </a:lnTo>
                  <a:lnTo>
                    <a:pt x="280" y="12"/>
                  </a:lnTo>
                  <a:lnTo>
                    <a:pt x="280" y="12"/>
                  </a:lnTo>
                  <a:lnTo>
                    <a:pt x="280" y="14"/>
                  </a:lnTo>
                  <a:lnTo>
                    <a:pt x="280" y="14"/>
                  </a:lnTo>
                  <a:lnTo>
                    <a:pt x="280" y="14"/>
                  </a:lnTo>
                  <a:lnTo>
                    <a:pt x="272" y="14"/>
                  </a:lnTo>
                  <a:lnTo>
                    <a:pt x="272" y="14"/>
                  </a:lnTo>
                  <a:lnTo>
                    <a:pt x="272" y="14"/>
                  </a:lnTo>
                  <a:lnTo>
                    <a:pt x="272" y="14"/>
                  </a:lnTo>
                  <a:lnTo>
                    <a:pt x="272" y="14"/>
                  </a:lnTo>
                  <a:lnTo>
                    <a:pt x="272" y="14"/>
                  </a:lnTo>
                  <a:lnTo>
                    <a:pt x="272" y="16"/>
                  </a:lnTo>
                  <a:lnTo>
                    <a:pt x="272" y="16"/>
                  </a:lnTo>
                  <a:lnTo>
                    <a:pt x="274" y="18"/>
                  </a:lnTo>
                  <a:lnTo>
                    <a:pt x="274" y="18"/>
                  </a:lnTo>
                  <a:lnTo>
                    <a:pt x="274" y="18"/>
                  </a:lnTo>
                  <a:lnTo>
                    <a:pt x="274" y="18"/>
                  </a:lnTo>
                  <a:lnTo>
                    <a:pt x="272" y="18"/>
                  </a:lnTo>
                  <a:lnTo>
                    <a:pt x="272" y="18"/>
                  </a:lnTo>
                  <a:lnTo>
                    <a:pt x="272" y="22"/>
                  </a:lnTo>
                  <a:lnTo>
                    <a:pt x="272" y="22"/>
                  </a:lnTo>
                  <a:lnTo>
                    <a:pt x="278" y="24"/>
                  </a:lnTo>
                  <a:lnTo>
                    <a:pt x="280" y="24"/>
                  </a:lnTo>
                  <a:lnTo>
                    <a:pt x="280" y="24"/>
                  </a:lnTo>
                  <a:lnTo>
                    <a:pt x="284" y="24"/>
                  </a:lnTo>
                  <a:lnTo>
                    <a:pt x="286" y="24"/>
                  </a:lnTo>
                  <a:lnTo>
                    <a:pt x="288" y="24"/>
                  </a:lnTo>
                  <a:lnTo>
                    <a:pt x="288" y="24"/>
                  </a:lnTo>
                  <a:lnTo>
                    <a:pt x="290" y="28"/>
                  </a:lnTo>
                  <a:lnTo>
                    <a:pt x="290" y="30"/>
                  </a:lnTo>
                  <a:lnTo>
                    <a:pt x="290" y="30"/>
                  </a:lnTo>
                  <a:lnTo>
                    <a:pt x="294" y="34"/>
                  </a:lnTo>
                  <a:lnTo>
                    <a:pt x="294" y="34"/>
                  </a:lnTo>
                  <a:lnTo>
                    <a:pt x="290" y="30"/>
                  </a:lnTo>
                  <a:lnTo>
                    <a:pt x="290" y="30"/>
                  </a:lnTo>
                  <a:lnTo>
                    <a:pt x="290" y="30"/>
                  </a:lnTo>
                  <a:lnTo>
                    <a:pt x="288" y="28"/>
                  </a:lnTo>
                  <a:lnTo>
                    <a:pt x="284" y="26"/>
                  </a:lnTo>
                  <a:lnTo>
                    <a:pt x="278" y="24"/>
                  </a:lnTo>
                  <a:lnTo>
                    <a:pt x="278" y="24"/>
                  </a:lnTo>
                  <a:lnTo>
                    <a:pt x="268" y="24"/>
                  </a:lnTo>
                  <a:lnTo>
                    <a:pt x="264" y="26"/>
                  </a:lnTo>
                  <a:lnTo>
                    <a:pt x="264" y="26"/>
                  </a:lnTo>
                  <a:lnTo>
                    <a:pt x="266" y="30"/>
                  </a:lnTo>
                  <a:lnTo>
                    <a:pt x="266" y="30"/>
                  </a:lnTo>
                  <a:lnTo>
                    <a:pt x="268" y="30"/>
                  </a:lnTo>
                  <a:lnTo>
                    <a:pt x="268" y="30"/>
                  </a:lnTo>
                  <a:lnTo>
                    <a:pt x="270" y="34"/>
                  </a:lnTo>
                  <a:lnTo>
                    <a:pt x="270" y="34"/>
                  </a:lnTo>
                  <a:lnTo>
                    <a:pt x="262" y="28"/>
                  </a:lnTo>
                  <a:lnTo>
                    <a:pt x="262" y="28"/>
                  </a:lnTo>
                  <a:lnTo>
                    <a:pt x="258" y="26"/>
                  </a:lnTo>
                  <a:lnTo>
                    <a:pt x="256" y="26"/>
                  </a:lnTo>
                  <a:lnTo>
                    <a:pt x="250" y="28"/>
                  </a:lnTo>
                  <a:lnTo>
                    <a:pt x="250" y="28"/>
                  </a:lnTo>
                  <a:lnTo>
                    <a:pt x="242" y="28"/>
                  </a:lnTo>
                  <a:lnTo>
                    <a:pt x="242" y="28"/>
                  </a:lnTo>
                  <a:lnTo>
                    <a:pt x="242" y="30"/>
                  </a:lnTo>
                  <a:lnTo>
                    <a:pt x="242" y="30"/>
                  </a:lnTo>
                  <a:lnTo>
                    <a:pt x="244" y="32"/>
                  </a:lnTo>
                  <a:lnTo>
                    <a:pt x="244" y="32"/>
                  </a:lnTo>
                  <a:lnTo>
                    <a:pt x="246" y="36"/>
                  </a:lnTo>
                  <a:lnTo>
                    <a:pt x="246" y="36"/>
                  </a:lnTo>
                  <a:lnTo>
                    <a:pt x="248" y="36"/>
                  </a:lnTo>
                  <a:lnTo>
                    <a:pt x="248" y="36"/>
                  </a:lnTo>
                  <a:lnTo>
                    <a:pt x="250" y="40"/>
                  </a:lnTo>
                  <a:lnTo>
                    <a:pt x="250" y="40"/>
                  </a:lnTo>
                  <a:lnTo>
                    <a:pt x="256" y="44"/>
                  </a:lnTo>
                  <a:lnTo>
                    <a:pt x="256" y="44"/>
                  </a:lnTo>
                  <a:lnTo>
                    <a:pt x="260" y="48"/>
                  </a:lnTo>
                  <a:lnTo>
                    <a:pt x="260" y="48"/>
                  </a:lnTo>
                  <a:lnTo>
                    <a:pt x="266" y="50"/>
                  </a:lnTo>
                  <a:lnTo>
                    <a:pt x="272" y="52"/>
                  </a:lnTo>
                  <a:lnTo>
                    <a:pt x="272" y="52"/>
                  </a:lnTo>
                  <a:lnTo>
                    <a:pt x="274" y="56"/>
                  </a:lnTo>
                  <a:lnTo>
                    <a:pt x="274" y="56"/>
                  </a:lnTo>
                  <a:lnTo>
                    <a:pt x="270" y="52"/>
                  </a:lnTo>
                  <a:lnTo>
                    <a:pt x="270" y="52"/>
                  </a:lnTo>
                  <a:lnTo>
                    <a:pt x="266" y="54"/>
                  </a:lnTo>
                  <a:lnTo>
                    <a:pt x="264" y="52"/>
                  </a:lnTo>
                  <a:lnTo>
                    <a:pt x="264" y="52"/>
                  </a:lnTo>
                  <a:lnTo>
                    <a:pt x="262" y="52"/>
                  </a:lnTo>
                  <a:lnTo>
                    <a:pt x="260" y="52"/>
                  </a:lnTo>
                  <a:lnTo>
                    <a:pt x="256" y="58"/>
                  </a:lnTo>
                  <a:lnTo>
                    <a:pt x="256" y="58"/>
                  </a:lnTo>
                  <a:lnTo>
                    <a:pt x="252" y="56"/>
                  </a:lnTo>
                  <a:lnTo>
                    <a:pt x="252" y="56"/>
                  </a:lnTo>
                  <a:lnTo>
                    <a:pt x="250" y="54"/>
                  </a:lnTo>
                  <a:lnTo>
                    <a:pt x="250" y="54"/>
                  </a:lnTo>
                  <a:lnTo>
                    <a:pt x="248" y="54"/>
                  </a:lnTo>
                  <a:lnTo>
                    <a:pt x="246" y="54"/>
                  </a:lnTo>
                  <a:lnTo>
                    <a:pt x="246" y="54"/>
                  </a:lnTo>
                  <a:lnTo>
                    <a:pt x="238" y="46"/>
                  </a:lnTo>
                  <a:lnTo>
                    <a:pt x="238" y="46"/>
                  </a:lnTo>
                  <a:lnTo>
                    <a:pt x="238" y="40"/>
                  </a:lnTo>
                  <a:lnTo>
                    <a:pt x="236" y="40"/>
                  </a:lnTo>
                  <a:lnTo>
                    <a:pt x="236" y="40"/>
                  </a:lnTo>
                  <a:lnTo>
                    <a:pt x="232" y="36"/>
                  </a:lnTo>
                  <a:lnTo>
                    <a:pt x="226" y="30"/>
                  </a:lnTo>
                  <a:lnTo>
                    <a:pt x="226" y="30"/>
                  </a:lnTo>
                  <a:lnTo>
                    <a:pt x="216" y="28"/>
                  </a:lnTo>
                  <a:lnTo>
                    <a:pt x="216" y="28"/>
                  </a:lnTo>
                  <a:lnTo>
                    <a:pt x="214" y="28"/>
                  </a:lnTo>
                  <a:lnTo>
                    <a:pt x="214" y="28"/>
                  </a:lnTo>
                  <a:lnTo>
                    <a:pt x="214" y="36"/>
                  </a:lnTo>
                  <a:lnTo>
                    <a:pt x="214" y="36"/>
                  </a:lnTo>
                  <a:lnTo>
                    <a:pt x="216" y="40"/>
                  </a:lnTo>
                  <a:lnTo>
                    <a:pt x="216" y="40"/>
                  </a:lnTo>
                  <a:lnTo>
                    <a:pt x="216" y="42"/>
                  </a:lnTo>
                  <a:lnTo>
                    <a:pt x="214" y="42"/>
                  </a:lnTo>
                  <a:lnTo>
                    <a:pt x="214" y="42"/>
                  </a:lnTo>
                  <a:lnTo>
                    <a:pt x="214" y="42"/>
                  </a:lnTo>
                  <a:lnTo>
                    <a:pt x="214" y="40"/>
                  </a:lnTo>
                  <a:lnTo>
                    <a:pt x="212" y="40"/>
                  </a:lnTo>
                  <a:lnTo>
                    <a:pt x="212" y="40"/>
                  </a:lnTo>
                  <a:lnTo>
                    <a:pt x="212" y="44"/>
                  </a:lnTo>
                  <a:lnTo>
                    <a:pt x="212" y="44"/>
                  </a:lnTo>
                  <a:lnTo>
                    <a:pt x="214" y="46"/>
                  </a:lnTo>
                  <a:lnTo>
                    <a:pt x="214" y="46"/>
                  </a:lnTo>
                  <a:lnTo>
                    <a:pt x="214" y="50"/>
                  </a:lnTo>
                  <a:lnTo>
                    <a:pt x="214" y="52"/>
                  </a:lnTo>
                  <a:lnTo>
                    <a:pt x="214" y="52"/>
                  </a:lnTo>
                  <a:lnTo>
                    <a:pt x="212" y="54"/>
                  </a:lnTo>
                  <a:lnTo>
                    <a:pt x="212" y="54"/>
                  </a:lnTo>
                  <a:lnTo>
                    <a:pt x="210" y="54"/>
                  </a:lnTo>
                  <a:lnTo>
                    <a:pt x="210" y="54"/>
                  </a:lnTo>
                  <a:lnTo>
                    <a:pt x="206" y="50"/>
                  </a:lnTo>
                  <a:lnTo>
                    <a:pt x="200" y="48"/>
                  </a:lnTo>
                  <a:lnTo>
                    <a:pt x="200" y="48"/>
                  </a:lnTo>
                  <a:lnTo>
                    <a:pt x="198" y="48"/>
                  </a:lnTo>
                  <a:lnTo>
                    <a:pt x="198" y="46"/>
                  </a:lnTo>
                  <a:lnTo>
                    <a:pt x="198" y="46"/>
                  </a:lnTo>
                  <a:lnTo>
                    <a:pt x="196" y="46"/>
                  </a:lnTo>
                  <a:lnTo>
                    <a:pt x="196" y="48"/>
                  </a:lnTo>
                  <a:lnTo>
                    <a:pt x="196" y="48"/>
                  </a:lnTo>
                  <a:lnTo>
                    <a:pt x="194" y="48"/>
                  </a:lnTo>
                  <a:lnTo>
                    <a:pt x="192" y="46"/>
                  </a:lnTo>
                  <a:lnTo>
                    <a:pt x="188" y="44"/>
                  </a:lnTo>
                  <a:lnTo>
                    <a:pt x="188" y="44"/>
                  </a:lnTo>
                  <a:lnTo>
                    <a:pt x="186" y="46"/>
                  </a:lnTo>
                  <a:lnTo>
                    <a:pt x="186" y="46"/>
                  </a:lnTo>
                  <a:lnTo>
                    <a:pt x="180" y="52"/>
                  </a:lnTo>
                  <a:lnTo>
                    <a:pt x="180" y="52"/>
                  </a:lnTo>
                  <a:lnTo>
                    <a:pt x="180" y="52"/>
                  </a:lnTo>
                  <a:lnTo>
                    <a:pt x="180" y="54"/>
                  </a:lnTo>
                  <a:lnTo>
                    <a:pt x="180" y="54"/>
                  </a:lnTo>
                  <a:lnTo>
                    <a:pt x="180" y="54"/>
                  </a:lnTo>
                  <a:lnTo>
                    <a:pt x="178" y="40"/>
                  </a:lnTo>
                  <a:lnTo>
                    <a:pt x="176" y="36"/>
                  </a:lnTo>
                  <a:lnTo>
                    <a:pt x="174" y="34"/>
                  </a:lnTo>
                  <a:lnTo>
                    <a:pt x="170" y="32"/>
                  </a:lnTo>
                  <a:lnTo>
                    <a:pt x="170" y="32"/>
                  </a:lnTo>
                  <a:lnTo>
                    <a:pt x="164" y="36"/>
                  </a:lnTo>
                  <a:lnTo>
                    <a:pt x="164" y="40"/>
                  </a:lnTo>
                  <a:lnTo>
                    <a:pt x="164" y="40"/>
                  </a:lnTo>
                  <a:lnTo>
                    <a:pt x="160" y="36"/>
                  </a:lnTo>
                  <a:lnTo>
                    <a:pt x="160" y="36"/>
                  </a:lnTo>
                  <a:lnTo>
                    <a:pt x="158" y="36"/>
                  </a:lnTo>
                  <a:lnTo>
                    <a:pt x="158" y="36"/>
                  </a:lnTo>
                  <a:lnTo>
                    <a:pt x="158" y="36"/>
                  </a:lnTo>
                  <a:lnTo>
                    <a:pt x="156" y="40"/>
                  </a:lnTo>
                  <a:lnTo>
                    <a:pt x="156" y="40"/>
                  </a:lnTo>
                  <a:lnTo>
                    <a:pt x="154" y="40"/>
                  </a:lnTo>
                  <a:lnTo>
                    <a:pt x="154" y="40"/>
                  </a:lnTo>
                  <a:lnTo>
                    <a:pt x="154" y="38"/>
                  </a:lnTo>
                  <a:lnTo>
                    <a:pt x="152" y="36"/>
                  </a:lnTo>
                  <a:lnTo>
                    <a:pt x="152" y="36"/>
                  </a:lnTo>
                  <a:lnTo>
                    <a:pt x="146" y="38"/>
                  </a:lnTo>
                  <a:lnTo>
                    <a:pt x="140" y="38"/>
                  </a:lnTo>
                  <a:lnTo>
                    <a:pt x="140" y="38"/>
                  </a:lnTo>
                  <a:lnTo>
                    <a:pt x="134" y="40"/>
                  </a:lnTo>
                  <a:lnTo>
                    <a:pt x="126" y="40"/>
                  </a:lnTo>
                  <a:lnTo>
                    <a:pt x="126" y="40"/>
                  </a:lnTo>
                  <a:lnTo>
                    <a:pt x="120" y="44"/>
                  </a:lnTo>
                  <a:lnTo>
                    <a:pt x="120" y="44"/>
                  </a:lnTo>
                  <a:lnTo>
                    <a:pt x="116" y="44"/>
                  </a:lnTo>
                  <a:lnTo>
                    <a:pt x="116" y="44"/>
                  </a:lnTo>
                  <a:lnTo>
                    <a:pt x="118" y="46"/>
                  </a:lnTo>
                  <a:lnTo>
                    <a:pt x="118" y="46"/>
                  </a:lnTo>
                  <a:lnTo>
                    <a:pt x="120" y="50"/>
                  </a:lnTo>
                  <a:lnTo>
                    <a:pt x="120" y="54"/>
                  </a:lnTo>
                  <a:lnTo>
                    <a:pt x="120" y="54"/>
                  </a:lnTo>
                  <a:lnTo>
                    <a:pt x="122" y="56"/>
                  </a:lnTo>
                  <a:lnTo>
                    <a:pt x="122" y="56"/>
                  </a:lnTo>
                  <a:lnTo>
                    <a:pt x="118" y="52"/>
                  </a:lnTo>
                  <a:lnTo>
                    <a:pt x="118" y="52"/>
                  </a:lnTo>
                  <a:lnTo>
                    <a:pt x="116" y="48"/>
                  </a:lnTo>
                  <a:lnTo>
                    <a:pt x="114" y="46"/>
                  </a:lnTo>
                  <a:lnTo>
                    <a:pt x="114" y="46"/>
                  </a:lnTo>
                  <a:lnTo>
                    <a:pt x="110" y="44"/>
                  </a:lnTo>
                  <a:lnTo>
                    <a:pt x="110" y="44"/>
                  </a:lnTo>
                  <a:lnTo>
                    <a:pt x="108" y="44"/>
                  </a:lnTo>
                  <a:lnTo>
                    <a:pt x="106" y="46"/>
                  </a:lnTo>
                  <a:lnTo>
                    <a:pt x="106" y="46"/>
                  </a:lnTo>
                  <a:lnTo>
                    <a:pt x="102" y="54"/>
                  </a:lnTo>
                  <a:lnTo>
                    <a:pt x="102" y="54"/>
                  </a:lnTo>
                  <a:lnTo>
                    <a:pt x="102" y="54"/>
                  </a:lnTo>
                  <a:lnTo>
                    <a:pt x="102" y="56"/>
                  </a:lnTo>
                  <a:lnTo>
                    <a:pt x="102" y="56"/>
                  </a:lnTo>
                  <a:lnTo>
                    <a:pt x="106" y="60"/>
                  </a:lnTo>
                  <a:lnTo>
                    <a:pt x="106" y="60"/>
                  </a:lnTo>
                  <a:lnTo>
                    <a:pt x="104" y="62"/>
                  </a:lnTo>
                  <a:lnTo>
                    <a:pt x="104" y="62"/>
                  </a:lnTo>
                  <a:lnTo>
                    <a:pt x="102" y="62"/>
                  </a:lnTo>
                  <a:lnTo>
                    <a:pt x="102" y="62"/>
                  </a:lnTo>
                  <a:lnTo>
                    <a:pt x="102" y="60"/>
                  </a:lnTo>
                  <a:lnTo>
                    <a:pt x="100" y="58"/>
                  </a:lnTo>
                  <a:lnTo>
                    <a:pt x="100" y="58"/>
                  </a:lnTo>
                  <a:lnTo>
                    <a:pt x="90" y="56"/>
                  </a:lnTo>
                  <a:lnTo>
                    <a:pt x="90" y="56"/>
                  </a:lnTo>
                  <a:lnTo>
                    <a:pt x="84" y="58"/>
                  </a:lnTo>
                  <a:lnTo>
                    <a:pt x="78" y="60"/>
                  </a:lnTo>
                  <a:lnTo>
                    <a:pt x="68" y="66"/>
                  </a:lnTo>
                  <a:lnTo>
                    <a:pt x="68" y="66"/>
                  </a:lnTo>
                  <a:lnTo>
                    <a:pt x="58" y="68"/>
                  </a:lnTo>
                  <a:lnTo>
                    <a:pt x="54" y="68"/>
                  </a:lnTo>
                  <a:lnTo>
                    <a:pt x="52" y="70"/>
                  </a:lnTo>
                  <a:lnTo>
                    <a:pt x="52" y="70"/>
                  </a:lnTo>
                  <a:lnTo>
                    <a:pt x="50" y="74"/>
                  </a:lnTo>
                  <a:lnTo>
                    <a:pt x="50" y="74"/>
                  </a:lnTo>
                  <a:lnTo>
                    <a:pt x="48" y="78"/>
                  </a:lnTo>
                  <a:lnTo>
                    <a:pt x="50" y="80"/>
                  </a:lnTo>
                  <a:lnTo>
                    <a:pt x="50" y="80"/>
                  </a:lnTo>
                  <a:lnTo>
                    <a:pt x="56" y="78"/>
                  </a:lnTo>
                  <a:lnTo>
                    <a:pt x="62" y="78"/>
                  </a:lnTo>
                  <a:lnTo>
                    <a:pt x="62" y="78"/>
                  </a:lnTo>
                  <a:lnTo>
                    <a:pt x="66" y="82"/>
                  </a:lnTo>
                  <a:lnTo>
                    <a:pt x="66" y="82"/>
                  </a:lnTo>
                  <a:lnTo>
                    <a:pt x="70" y="78"/>
                  </a:lnTo>
                  <a:lnTo>
                    <a:pt x="70" y="78"/>
                  </a:lnTo>
                  <a:lnTo>
                    <a:pt x="74" y="80"/>
                  </a:lnTo>
                  <a:lnTo>
                    <a:pt x="74" y="80"/>
                  </a:lnTo>
                  <a:lnTo>
                    <a:pt x="82" y="78"/>
                  </a:lnTo>
                  <a:lnTo>
                    <a:pt x="82" y="78"/>
                  </a:lnTo>
                  <a:lnTo>
                    <a:pt x="80" y="80"/>
                  </a:lnTo>
                  <a:lnTo>
                    <a:pt x="82" y="84"/>
                  </a:lnTo>
                  <a:lnTo>
                    <a:pt x="82" y="84"/>
                  </a:lnTo>
                  <a:lnTo>
                    <a:pt x="80" y="86"/>
                  </a:lnTo>
                  <a:lnTo>
                    <a:pt x="78" y="86"/>
                  </a:lnTo>
                  <a:lnTo>
                    <a:pt x="78" y="86"/>
                  </a:lnTo>
                  <a:lnTo>
                    <a:pt x="80" y="88"/>
                  </a:lnTo>
                  <a:lnTo>
                    <a:pt x="80" y="92"/>
                  </a:lnTo>
                  <a:lnTo>
                    <a:pt x="70" y="100"/>
                  </a:lnTo>
                  <a:lnTo>
                    <a:pt x="70" y="100"/>
                  </a:lnTo>
                  <a:lnTo>
                    <a:pt x="68" y="100"/>
                  </a:lnTo>
                  <a:lnTo>
                    <a:pt x="68" y="100"/>
                  </a:lnTo>
                  <a:lnTo>
                    <a:pt x="66" y="104"/>
                  </a:lnTo>
                  <a:lnTo>
                    <a:pt x="66" y="104"/>
                  </a:lnTo>
                  <a:lnTo>
                    <a:pt x="64" y="102"/>
                  </a:lnTo>
                  <a:lnTo>
                    <a:pt x="62" y="100"/>
                  </a:lnTo>
                  <a:lnTo>
                    <a:pt x="62" y="100"/>
                  </a:lnTo>
                  <a:lnTo>
                    <a:pt x="50" y="100"/>
                  </a:lnTo>
                  <a:lnTo>
                    <a:pt x="50" y="100"/>
                  </a:lnTo>
                  <a:lnTo>
                    <a:pt x="44" y="104"/>
                  </a:lnTo>
                  <a:lnTo>
                    <a:pt x="38" y="106"/>
                  </a:lnTo>
                  <a:lnTo>
                    <a:pt x="38" y="106"/>
                  </a:lnTo>
                  <a:lnTo>
                    <a:pt x="32" y="104"/>
                  </a:lnTo>
                  <a:lnTo>
                    <a:pt x="32" y="104"/>
                  </a:lnTo>
                  <a:lnTo>
                    <a:pt x="22" y="106"/>
                  </a:lnTo>
                  <a:lnTo>
                    <a:pt x="22" y="106"/>
                  </a:lnTo>
                  <a:lnTo>
                    <a:pt x="16" y="106"/>
                  </a:lnTo>
                  <a:lnTo>
                    <a:pt x="16" y="108"/>
                  </a:lnTo>
                  <a:lnTo>
                    <a:pt x="16" y="108"/>
                  </a:lnTo>
                  <a:lnTo>
                    <a:pt x="12" y="108"/>
                  </a:lnTo>
                  <a:lnTo>
                    <a:pt x="6" y="108"/>
                  </a:lnTo>
                  <a:lnTo>
                    <a:pt x="6" y="108"/>
                  </a:lnTo>
                  <a:lnTo>
                    <a:pt x="2" y="114"/>
                  </a:lnTo>
                  <a:lnTo>
                    <a:pt x="2" y="114"/>
                  </a:lnTo>
                  <a:lnTo>
                    <a:pt x="2" y="116"/>
                  </a:lnTo>
                  <a:lnTo>
                    <a:pt x="2" y="116"/>
                  </a:lnTo>
                  <a:lnTo>
                    <a:pt x="4" y="116"/>
                  </a:lnTo>
                  <a:lnTo>
                    <a:pt x="4" y="116"/>
                  </a:lnTo>
                  <a:lnTo>
                    <a:pt x="6" y="120"/>
                  </a:lnTo>
                  <a:lnTo>
                    <a:pt x="6" y="120"/>
                  </a:lnTo>
                  <a:lnTo>
                    <a:pt x="8" y="122"/>
                  </a:lnTo>
                  <a:lnTo>
                    <a:pt x="8" y="122"/>
                  </a:lnTo>
                  <a:lnTo>
                    <a:pt x="8" y="124"/>
                  </a:lnTo>
                  <a:lnTo>
                    <a:pt x="8" y="124"/>
                  </a:lnTo>
                  <a:lnTo>
                    <a:pt x="14" y="124"/>
                  </a:lnTo>
                  <a:lnTo>
                    <a:pt x="14" y="126"/>
                  </a:lnTo>
                  <a:lnTo>
                    <a:pt x="14" y="126"/>
                  </a:lnTo>
                  <a:lnTo>
                    <a:pt x="14" y="126"/>
                  </a:lnTo>
                  <a:lnTo>
                    <a:pt x="16" y="126"/>
                  </a:lnTo>
                  <a:lnTo>
                    <a:pt x="16" y="126"/>
                  </a:lnTo>
                  <a:lnTo>
                    <a:pt x="16" y="128"/>
                  </a:lnTo>
                  <a:lnTo>
                    <a:pt x="16" y="128"/>
                  </a:lnTo>
                  <a:lnTo>
                    <a:pt x="22" y="128"/>
                  </a:lnTo>
                  <a:lnTo>
                    <a:pt x="22" y="128"/>
                  </a:lnTo>
                  <a:lnTo>
                    <a:pt x="30" y="130"/>
                  </a:lnTo>
                  <a:lnTo>
                    <a:pt x="30" y="128"/>
                  </a:lnTo>
                  <a:lnTo>
                    <a:pt x="32" y="124"/>
                  </a:lnTo>
                  <a:lnTo>
                    <a:pt x="32" y="124"/>
                  </a:lnTo>
                  <a:lnTo>
                    <a:pt x="36" y="124"/>
                  </a:lnTo>
                  <a:lnTo>
                    <a:pt x="36" y="124"/>
                  </a:lnTo>
                  <a:lnTo>
                    <a:pt x="38" y="130"/>
                  </a:lnTo>
                  <a:lnTo>
                    <a:pt x="38" y="130"/>
                  </a:lnTo>
                  <a:lnTo>
                    <a:pt x="50" y="128"/>
                  </a:lnTo>
                  <a:lnTo>
                    <a:pt x="64" y="128"/>
                  </a:lnTo>
                  <a:lnTo>
                    <a:pt x="64" y="128"/>
                  </a:lnTo>
                  <a:lnTo>
                    <a:pt x="66" y="132"/>
                  </a:lnTo>
                  <a:lnTo>
                    <a:pt x="66" y="132"/>
                  </a:lnTo>
                  <a:lnTo>
                    <a:pt x="62" y="132"/>
                  </a:lnTo>
                  <a:lnTo>
                    <a:pt x="62" y="134"/>
                  </a:lnTo>
                  <a:lnTo>
                    <a:pt x="60" y="134"/>
                  </a:lnTo>
                  <a:lnTo>
                    <a:pt x="60" y="134"/>
                  </a:lnTo>
                  <a:lnTo>
                    <a:pt x="58" y="132"/>
                  </a:lnTo>
                  <a:lnTo>
                    <a:pt x="58" y="132"/>
                  </a:lnTo>
                  <a:lnTo>
                    <a:pt x="46" y="132"/>
                  </a:lnTo>
                  <a:lnTo>
                    <a:pt x="46" y="134"/>
                  </a:lnTo>
                  <a:lnTo>
                    <a:pt x="46" y="134"/>
                  </a:lnTo>
                  <a:lnTo>
                    <a:pt x="38" y="132"/>
                  </a:lnTo>
                  <a:lnTo>
                    <a:pt x="38" y="132"/>
                  </a:lnTo>
                  <a:lnTo>
                    <a:pt x="24" y="138"/>
                  </a:lnTo>
                  <a:lnTo>
                    <a:pt x="24" y="138"/>
                  </a:lnTo>
                  <a:lnTo>
                    <a:pt x="24" y="140"/>
                  </a:lnTo>
                  <a:lnTo>
                    <a:pt x="24" y="140"/>
                  </a:lnTo>
                  <a:lnTo>
                    <a:pt x="28" y="140"/>
                  </a:lnTo>
                  <a:lnTo>
                    <a:pt x="28" y="140"/>
                  </a:lnTo>
                  <a:lnTo>
                    <a:pt x="20" y="140"/>
                  </a:lnTo>
                  <a:lnTo>
                    <a:pt x="20" y="140"/>
                  </a:lnTo>
                  <a:lnTo>
                    <a:pt x="16" y="140"/>
                  </a:lnTo>
                  <a:lnTo>
                    <a:pt x="16" y="138"/>
                  </a:lnTo>
                  <a:lnTo>
                    <a:pt x="14" y="138"/>
                  </a:lnTo>
                  <a:lnTo>
                    <a:pt x="8" y="140"/>
                  </a:lnTo>
                  <a:lnTo>
                    <a:pt x="8" y="140"/>
                  </a:lnTo>
                  <a:lnTo>
                    <a:pt x="12" y="146"/>
                  </a:lnTo>
                  <a:lnTo>
                    <a:pt x="12" y="146"/>
                  </a:lnTo>
                  <a:lnTo>
                    <a:pt x="14" y="146"/>
                  </a:lnTo>
                  <a:lnTo>
                    <a:pt x="16" y="146"/>
                  </a:lnTo>
                  <a:lnTo>
                    <a:pt x="16" y="146"/>
                  </a:lnTo>
                  <a:lnTo>
                    <a:pt x="18" y="148"/>
                  </a:lnTo>
                  <a:lnTo>
                    <a:pt x="18" y="148"/>
                  </a:lnTo>
                  <a:lnTo>
                    <a:pt x="22" y="148"/>
                  </a:lnTo>
                  <a:lnTo>
                    <a:pt x="26" y="148"/>
                  </a:lnTo>
                  <a:lnTo>
                    <a:pt x="26" y="148"/>
                  </a:lnTo>
                  <a:lnTo>
                    <a:pt x="22" y="152"/>
                  </a:lnTo>
                  <a:lnTo>
                    <a:pt x="22" y="152"/>
                  </a:lnTo>
                  <a:lnTo>
                    <a:pt x="26" y="156"/>
                  </a:lnTo>
                  <a:lnTo>
                    <a:pt x="28" y="158"/>
                  </a:lnTo>
                  <a:lnTo>
                    <a:pt x="30" y="160"/>
                  </a:lnTo>
                  <a:lnTo>
                    <a:pt x="30" y="160"/>
                  </a:lnTo>
                  <a:lnTo>
                    <a:pt x="32" y="160"/>
                  </a:lnTo>
                  <a:lnTo>
                    <a:pt x="36" y="160"/>
                  </a:lnTo>
                  <a:lnTo>
                    <a:pt x="36" y="160"/>
                  </a:lnTo>
                  <a:lnTo>
                    <a:pt x="46" y="162"/>
                  </a:lnTo>
                  <a:lnTo>
                    <a:pt x="46" y="162"/>
                  </a:lnTo>
                  <a:lnTo>
                    <a:pt x="44" y="156"/>
                  </a:lnTo>
                  <a:lnTo>
                    <a:pt x="46" y="152"/>
                  </a:lnTo>
                  <a:lnTo>
                    <a:pt x="46" y="152"/>
                  </a:lnTo>
                  <a:lnTo>
                    <a:pt x="54" y="156"/>
                  </a:lnTo>
                  <a:lnTo>
                    <a:pt x="54" y="156"/>
                  </a:lnTo>
                  <a:lnTo>
                    <a:pt x="54" y="154"/>
                  </a:lnTo>
                  <a:lnTo>
                    <a:pt x="54" y="154"/>
                  </a:lnTo>
                  <a:lnTo>
                    <a:pt x="58" y="152"/>
                  </a:lnTo>
                  <a:lnTo>
                    <a:pt x="64" y="152"/>
                  </a:lnTo>
                  <a:lnTo>
                    <a:pt x="64" y="152"/>
                  </a:lnTo>
                  <a:lnTo>
                    <a:pt x="64" y="154"/>
                  </a:lnTo>
                  <a:lnTo>
                    <a:pt x="64" y="154"/>
                  </a:lnTo>
                  <a:lnTo>
                    <a:pt x="66" y="156"/>
                  </a:lnTo>
                  <a:lnTo>
                    <a:pt x="68" y="158"/>
                  </a:lnTo>
                  <a:lnTo>
                    <a:pt x="68" y="158"/>
                  </a:lnTo>
                  <a:lnTo>
                    <a:pt x="70" y="154"/>
                  </a:lnTo>
                  <a:lnTo>
                    <a:pt x="70" y="154"/>
                  </a:lnTo>
                  <a:lnTo>
                    <a:pt x="74" y="154"/>
                  </a:lnTo>
                  <a:lnTo>
                    <a:pt x="74" y="154"/>
                  </a:lnTo>
                  <a:lnTo>
                    <a:pt x="76" y="154"/>
                  </a:lnTo>
                  <a:lnTo>
                    <a:pt x="76" y="154"/>
                  </a:lnTo>
                  <a:lnTo>
                    <a:pt x="80" y="154"/>
                  </a:lnTo>
                  <a:lnTo>
                    <a:pt x="84" y="154"/>
                  </a:lnTo>
                  <a:lnTo>
                    <a:pt x="84" y="154"/>
                  </a:lnTo>
                  <a:lnTo>
                    <a:pt x="84" y="152"/>
                  </a:lnTo>
                  <a:lnTo>
                    <a:pt x="84" y="152"/>
                  </a:lnTo>
                  <a:lnTo>
                    <a:pt x="90" y="148"/>
                  </a:lnTo>
                  <a:lnTo>
                    <a:pt x="90" y="148"/>
                  </a:lnTo>
                  <a:lnTo>
                    <a:pt x="90" y="152"/>
                  </a:lnTo>
                  <a:lnTo>
                    <a:pt x="90" y="152"/>
                  </a:lnTo>
                  <a:lnTo>
                    <a:pt x="90" y="156"/>
                  </a:lnTo>
                  <a:lnTo>
                    <a:pt x="90" y="156"/>
                  </a:lnTo>
                  <a:lnTo>
                    <a:pt x="96" y="150"/>
                  </a:lnTo>
                  <a:lnTo>
                    <a:pt x="96" y="150"/>
                  </a:lnTo>
                  <a:lnTo>
                    <a:pt x="100" y="150"/>
                  </a:lnTo>
                  <a:lnTo>
                    <a:pt x="102" y="154"/>
                  </a:lnTo>
                  <a:lnTo>
                    <a:pt x="102" y="154"/>
                  </a:lnTo>
                  <a:lnTo>
                    <a:pt x="108" y="154"/>
                  </a:lnTo>
                  <a:lnTo>
                    <a:pt x="116" y="156"/>
                  </a:lnTo>
                  <a:lnTo>
                    <a:pt x="116" y="156"/>
                  </a:lnTo>
                  <a:lnTo>
                    <a:pt x="116" y="158"/>
                  </a:lnTo>
                  <a:lnTo>
                    <a:pt x="116" y="158"/>
                  </a:lnTo>
                  <a:lnTo>
                    <a:pt x="122" y="162"/>
                  </a:lnTo>
                  <a:lnTo>
                    <a:pt x="122" y="162"/>
                  </a:lnTo>
                  <a:lnTo>
                    <a:pt x="124" y="164"/>
                  </a:lnTo>
                  <a:lnTo>
                    <a:pt x="124" y="164"/>
                  </a:lnTo>
                  <a:lnTo>
                    <a:pt x="128" y="164"/>
                  </a:lnTo>
                  <a:lnTo>
                    <a:pt x="132" y="164"/>
                  </a:lnTo>
                  <a:lnTo>
                    <a:pt x="132" y="164"/>
                  </a:lnTo>
                  <a:lnTo>
                    <a:pt x="138" y="168"/>
                  </a:lnTo>
                  <a:lnTo>
                    <a:pt x="138" y="168"/>
                  </a:lnTo>
                  <a:lnTo>
                    <a:pt x="138" y="170"/>
                  </a:lnTo>
                  <a:lnTo>
                    <a:pt x="138" y="172"/>
                  </a:lnTo>
                  <a:lnTo>
                    <a:pt x="138" y="172"/>
                  </a:lnTo>
                  <a:lnTo>
                    <a:pt x="140" y="172"/>
                  </a:lnTo>
                  <a:lnTo>
                    <a:pt x="140" y="172"/>
                  </a:lnTo>
                  <a:lnTo>
                    <a:pt x="146" y="176"/>
                  </a:lnTo>
                  <a:lnTo>
                    <a:pt x="146" y="176"/>
                  </a:lnTo>
                  <a:lnTo>
                    <a:pt x="150" y="182"/>
                  </a:lnTo>
                  <a:lnTo>
                    <a:pt x="150" y="182"/>
                  </a:lnTo>
                  <a:lnTo>
                    <a:pt x="154" y="182"/>
                  </a:lnTo>
                  <a:lnTo>
                    <a:pt x="154" y="182"/>
                  </a:lnTo>
                  <a:lnTo>
                    <a:pt x="156" y="184"/>
                  </a:lnTo>
                  <a:lnTo>
                    <a:pt x="156" y="184"/>
                  </a:lnTo>
                  <a:lnTo>
                    <a:pt x="156" y="184"/>
                  </a:lnTo>
                  <a:lnTo>
                    <a:pt x="156" y="184"/>
                  </a:lnTo>
                  <a:lnTo>
                    <a:pt x="156" y="184"/>
                  </a:lnTo>
                  <a:lnTo>
                    <a:pt x="156" y="184"/>
                  </a:lnTo>
                  <a:lnTo>
                    <a:pt x="156" y="186"/>
                  </a:lnTo>
                  <a:lnTo>
                    <a:pt x="156" y="186"/>
                  </a:lnTo>
                  <a:lnTo>
                    <a:pt x="154" y="186"/>
                  </a:lnTo>
                  <a:lnTo>
                    <a:pt x="154" y="186"/>
                  </a:lnTo>
                  <a:lnTo>
                    <a:pt x="156" y="190"/>
                  </a:lnTo>
                  <a:lnTo>
                    <a:pt x="156" y="190"/>
                  </a:lnTo>
                  <a:lnTo>
                    <a:pt x="154" y="192"/>
                  </a:lnTo>
                  <a:lnTo>
                    <a:pt x="154" y="192"/>
                  </a:lnTo>
                  <a:lnTo>
                    <a:pt x="150" y="192"/>
                  </a:lnTo>
                  <a:lnTo>
                    <a:pt x="150" y="192"/>
                  </a:lnTo>
                  <a:lnTo>
                    <a:pt x="150" y="194"/>
                  </a:lnTo>
                  <a:lnTo>
                    <a:pt x="150" y="194"/>
                  </a:lnTo>
                  <a:lnTo>
                    <a:pt x="156" y="192"/>
                  </a:lnTo>
                  <a:lnTo>
                    <a:pt x="156" y="192"/>
                  </a:lnTo>
                  <a:lnTo>
                    <a:pt x="156" y="194"/>
                  </a:lnTo>
                  <a:lnTo>
                    <a:pt x="156" y="194"/>
                  </a:lnTo>
                  <a:lnTo>
                    <a:pt x="164" y="202"/>
                  </a:lnTo>
                  <a:lnTo>
                    <a:pt x="164" y="202"/>
                  </a:lnTo>
                  <a:lnTo>
                    <a:pt x="164" y="204"/>
                  </a:lnTo>
                  <a:lnTo>
                    <a:pt x="162" y="204"/>
                  </a:lnTo>
                  <a:lnTo>
                    <a:pt x="162" y="206"/>
                  </a:lnTo>
                  <a:lnTo>
                    <a:pt x="162" y="206"/>
                  </a:lnTo>
                  <a:lnTo>
                    <a:pt x="166" y="208"/>
                  </a:lnTo>
                  <a:lnTo>
                    <a:pt x="168" y="210"/>
                  </a:lnTo>
                  <a:lnTo>
                    <a:pt x="168" y="210"/>
                  </a:lnTo>
                  <a:lnTo>
                    <a:pt x="166" y="214"/>
                  </a:lnTo>
                  <a:lnTo>
                    <a:pt x="166" y="214"/>
                  </a:lnTo>
                  <a:lnTo>
                    <a:pt x="170" y="214"/>
                  </a:lnTo>
                  <a:lnTo>
                    <a:pt x="170" y="214"/>
                  </a:lnTo>
                  <a:lnTo>
                    <a:pt x="170" y="214"/>
                  </a:lnTo>
                  <a:lnTo>
                    <a:pt x="170" y="216"/>
                  </a:lnTo>
                  <a:lnTo>
                    <a:pt x="170" y="216"/>
                  </a:lnTo>
                  <a:lnTo>
                    <a:pt x="170" y="216"/>
                  </a:lnTo>
                  <a:lnTo>
                    <a:pt x="170" y="218"/>
                  </a:lnTo>
                  <a:lnTo>
                    <a:pt x="170" y="218"/>
                  </a:lnTo>
                  <a:lnTo>
                    <a:pt x="168" y="220"/>
                  </a:lnTo>
                  <a:lnTo>
                    <a:pt x="170" y="222"/>
                  </a:lnTo>
                  <a:lnTo>
                    <a:pt x="170" y="222"/>
                  </a:lnTo>
                  <a:lnTo>
                    <a:pt x="170" y="222"/>
                  </a:lnTo>
                  <a:lnTo>
                    <a:pt x="162" y="224"/>
                  </a:lnTo>
                  <a:lnTo>
                    <a:pt x="162" y="224"/>
                  </a:lnTo>
                  <a:lnTo>
                    <a:pt x="162" y="224"/>
                  </a:lnTo>
                  <a:lnTo>
                    <a:pt x="164" y="224"/>
                  </a:lnTo>
                  <a:lnTo>
                    <a:pt x="164" y="224"/>
                  </a:lnTo>
                  <a:lnTo>
                    <a:pt x="164" y="228"/>
                  </a:lnTo>
                  <a:lnTo>
                    <a:pt x="162" y="230"/>
                  </a:lnTo>
                  <a:lnTo>
                    <a:pt x="162" y="230"/>
                  </a:lnTo>
                  <a:lnTo>
                    <a:pt x="160" y="232"/>
                  </a:lnTo>
                  <a:lnTo>
                    <a:pt x="160" y="232"/>
                  </a:lnTo>
                  <a:lnTo>
                    <a:pt x="160" y="234"/>
                  </a:lnTo>
                  <a:lnTo>
                    <a:pt x="160" y="234"/>
                  </a:lnTo>
                  <a:lnTo>
                    <a:pt x="164" y="234"/>
                  </a:lnTo>
                  <a:lnTo>
                    <a:pt x="164" y="234"/>
                  </a:lnTo>
                  <a:lnTo>
                    <a:pt x="162" y="238"/>
                  </a:lnTo>
                  <a:lnTo>
                    <a:pt x="162" y="238"/>
                  </a:lnTo>
                  <a:lnTo>
                    <a:pt x="160" y="238"/>
                  </a:lnTo>
                  <a:lnTo>
                    <a:pt x="160" y="240"/>
                  </a:lnTo>
                  <a:lnTo>
                    <a:pt x="160" y="240"/>
                  </a:lnTo>
                  <a:lnTo>
                    <a:pt x="166" y="244"/>
                  </a:lnTo>
                  <a:lnTo>
                    <a:pt x="168" y="244"/>
                  </a:lnTo>
                  <a:lnTo>
                    <a:pt x="172" y="242"/>
                  </a:lnTo>
                  <a:lnTo>
                    <a:pt x="172" y="242"/>
                  </a:lnTo>
                  <a:lnTo>
                    <a:pt x="174" y="236"/>
                  </a:lnTo>
                  <a:lnTo>
                    <a:pt x="176" y="236"/>
                  </a:lnTo>
                  <a:lnTo>
                    <a:pt x="176" y="236"/>
                  </a:lnTo>
                  <a:lnTo>
                    <a:pt x="176" y="240"/>
                  </a:lnTo>
                  <a:lnTo>
                    <a:pt x="176" y="240"/>
                  </a:lnTo>
                  <a:lnTo>
                    <a:pt x="184" y="240"/>
                  </a:lnTo>
                  <a:lnTo>
                    <a:pt x="192" y="242"/>
                  </a:lnTo>
                  <a:lnTo>
                    <a:pt x="192" y="242"/>
                  </a:lnTo>
                  <a:lnTo>
                    <a:pt x="192" y="242"/>
                  </a:lnTo>
                  <a:lnTo>
                    <a:pt x="192" y="242"/>
                  </a:lnTo>
                  <a:lnTo>
                    <a:pt x="192" y="244"/>
                  </a:lnTo>
                  <a:lnTo>
                    <a:pt x="192" y="244"/>
                  </a:lnTo>
                  <a:lnTo>
                    <a:pt x="200" y="244"/>
                  </a:lnTo>
                  <a:lnTo>
                    <a:pt x="200" y="244"/>
                  </a:lnTo>
                  <a:lnTo>
                    <a:pt x="202" y="242"/>
                  </a:lnTo>
                  <a:lnTo>
                    <a:pt x="202" y="242"/>
                  </a:lnTo>
                  <a:lnTo>
                    <a:pt x="204" y="242"/>
                  </a:lnTo>
                  <a:lnTo>
                    <a:pt x="204" y="242"/>
                  </a:lnTo>
                  <a:lnTo>
                    <a:pt x="200" y="246"/>
                  </a:lnTo>
                  <a:lnTo>
                    <a:pt x="200" y="246"/>
                  </a:lnTo>
                  <a:lnTo>
                    <a:pt x="198" y="246"/>
                  </a:lnTo>
                  <a:lnTo>
                    <a:pt x="202" y="248"/>
                  </a:lnTo>
                  <a:lnTo>
                    <a:pt x="208" y="248"/>
                  </a:lnTo>
                  <a:lnTo>
                    <a:pt x="208" y="248"/>
                  </a:lnTo>
                  <a:lnTo>
                    <a:pt x="208" y="250"/>
                  </a:lnTo>
                  <a:lnTo>
                    <a:pt x="208" y="250"/>
                  </a:lnTo>
                  <a:lnTo>
                    <a:pt x="202" y="250"/>
                  </a:lnTo>
                  <a:lnTo>
                    <a:pt x="202" y="250"/>
                  </a:lnTo>
                  <a:lnTo>
                    <a:pt x="206" y="252"/>
                  </a:lnTo>
                  <a:lnTo>
                    <a:pt x="206" y="252"/>
                  </a:lnTo>
                  <a:lnTo>
                    <a:pt x="208" y="254"/>
                  </a:lnTo>
                  <a:lnTo>
                    <a:pt x="206" y="254"/>
                  </a:lnTo>
                  <a:lnTo>
                    <a:pt x="202" y="254"/>
                  </a:lnTo>
                  <a:lnTo>
                    <a:pt x="202" y="256"/>
                  </a:lnTo>
                  <a:lnTo>
                    <a:pt x="202" y="256"/>
                  </a:lnTo>
                  <a:lnTo>
                    <a:pt x="202" y="256"/>
                  </a:lnTo>
                  <a:lnTo>
                    <a:pt x="202" y="256"/>
                  </a:lnTo>
                  <a:lnTo>
                    <a:pt x="206" y="256"/>
                  </a:lnTo>
                  <a:lnTo>
                    <a:pt x="206" y="256"/>
                  </a:lnTo>
                  <a:lnTo>
                    <a:pt x="208" y="258"/>
                  </a:lnTo>
                  <a:lnTo>
                    <a:pt x="208" y="258"/>
                  </a:lnTo>
                  <a:lnTo>
                    <a:pt x="208" y="258"/>
                  </a:lnTo>
                  <a:lnTo>
                    <a:pt x="204" y="260"/>
                  </a:lnTo>
                  <a:lnTo>
                    <a:pt x="202" y="260"/>
                  </a:lnTo>
                  <a:lnTo>
                    <a:pt x="208" y="264"/>
                  </a:lnTo>
                  <a:lnTo>
                    <a:pt x="208" y="264"/>
                  </a:lnTo>
                  <a:lnTo>
                    <a:pt x="208" y="266"/>
                  </a:lnTo>
                  <a:lnTo>
                    <a:pt x="208" y="266"/>
                  </a:lnTo>
                  <a:lnTo>
                    <a:pt x="200" y="264"/>
                  </a:lnTo>
                  <a:lnTo>
                    <a:pt x="194" y="260"/>
                  </a:lnTo>
                  <a:lnTo>
                    <a:pt x="194" y="260"/>
                  </a:lnTo>
                  <a:lnTo>
                    <a:pt x="190" y="258"/>
                  </a:lnTo>
                  <a:lnTo>
                    <a:pt x="190" y="258"/>
                  </a:lnTo>
                  <a:lnTo>
                    <a:pt x="180" y="256"/>
                  </a:lnTo>
                  <a:lnTo>
                    <a:pt x="170" y="256"/>
                  </a:lnTo>
                  <a:lnTo>
                    <a:pt x="170" y="256"/>
                  </a:lnTo>
                  <a:lnTo>
                    <a:pt x="168" y="258"/>
                  </a:lnTo>
                  <a:lnTo>
                    <a:pt x="168" y="258"/>
                  </a:lnTo>
                  <a:lnTo>
                    <a:pt x="170" y="262"/>
                  </a:lnTo>
                  <a:lnTo>
                    <a:pt x="170" y="262"/>
                  </a:lnTo>
                  <a:lnTo>
                    <a:pt x="174" y="262"/>
                  </a:lnTo>
                  <a:lnTo>
                    <a:pt x="174" y="262"/>
                  </a:lnTo>
                  <a:lnTo>
                    <a:pt x="174" y="262"/>
                  </a:lnTo>
                  <a:lnTo>
                    <a:pt x="178" y="264"/>
                  </a:lnTo>
                  <a:lnTo>
                    <a:pt x="178" y="266"/>
                  </a:lnTo>
                  <a:lnTo>
                    <a:pt x="178" y="266"/>
                  </a:lnTo>
                  <a:lnTo>
                    <a:pt x="178" y="266"/>
                  </a:lnTo>
                  <a:lnTo>
                    <a:pt x="176" y="268"/>
                  </a:lnTo>
                  <a:lnTo>
                    <a:pt x="172" y="266"/>
                  </a:lnTo>
                  <a:lnTo>
                    <a:pt x="172" y="266"/>
                  </a:lnTo>
                  <a:lnTo>
                    <a:pt x="168" y="266"/>
                  </a:lnTo>
                  <a:lnTo>
                    <a:pt x="168" y="266"/>
                  </a:lnTo>
                  <a:lnTo>
                    <a:pt x="166" y="268"/>
                  </a:lnTo>
                  <a:lnTo>
                    <a:pt x="166" y="268"/>
                  </a:lnTo>
                  <a:lnTo>
                    <a:pt x="168" y="274"/>
                  </a:lnTo>
                  <a:lnTo>
                    <a:pt x="164" y="276"/>
                  </a:lnTo>
                  <a:lnTo>
                    <a:pt x="164" y="276"/>
                  </a:lnTo>
                  <a:lnTo>
                    <a:pt x="164" y="280"/>
                  </a:lnTo>
                  <a:lnTo>
                    <a:pt x="164" y="280"/>
                  </a:lnTo>
                  <a:lnTo>
                    <a:pt x="162" y="280"/>
                  </a:lnTo>
                  <a:lnTo>
                    <a:pt x="162" y="282"/>
                  </a:lnTo>
                  <a:lnTo>
                    <a:pt x="162" y="282"/>
                  </a:lnTo>
                  <a:lnTo>
                    <a:pt x="164" y="284"/>
                  </a:lnTo>
                  <a:lnTo>
                    <a:pt x="164" y="284"/>
                  </a:lnTo>
                  <a:lnTo>
                    <a:pt x="168" y="284"/>
                  </a:lnTo>
                  <a:lnTo>
                    <a:pt x="170" y="284"/>
                  </a:lnTo>
                  <a:lnTo>
                    <a:pt x="170" y="284"/>
                  </a:lnTo>
                  <a:lnTo>
                    <a:pt x="172" y="284"/>
                  </a:lnTo>
                  <a:lnTo>
                    <a:pt x="174" y="284"/>
                  </a:lnTo>
                  <a:lnTo>
                    <a:pt x="174" y="284"/>
                  </a:lnTo>
                  <a:lnTo>
                    <a:pt x="174" y="284"/>
                  </a:lnTo>
                  <a:lnTo>
                    <a:pt x="176" y="284"/>
                  </a:lnTo>
                  <a:lnTo>
                    <a:pt x="176" y="284"/>
                  </a:lnTo>
                  <a:lnTo>
                    <a:pt x="176" y="286"/>
                  </a:lnTo>
                  <a:lnTo>
                    <a:pt x="168" y="286"/>
                  </a:lnTo>
                  <a:lnTo>
                    <a:pt x="168" y="288"/>
                  </a:lnTo>
                  <a:lnTo>
                    <a:pt x="168" y="288"/>
                  </a:lnTo>
                  <a:lnTo>
                    <a:pt x="172" y="292"/>
                  </a:lnTo>
                  <a:lnTo>
                    <a:pt x="172" y="292"/>
                  </a:lnTo>
                  <a:lnTo>
                    <a:pt x="178" y="290"/>
                  </a:lnTo>
                  <a:lnTo>
                    <a:pt x="180" y="290"/>
                  </a:lnTo>
                  <a:lnTo>
                    <a:pt x="180" y="290"/>
                  </a:lnTo>
                  <a:lnTo>
                    <a:pt x="186" y="288"/>
                  </a:lnTo>
                  <a:lnTo>
                    <a:pt x="194" y="284"/>
                  </a:lnTo>
                  <a:lnTo>
                    <a:pt x="194" y="284"/>
                  </a:lnTo>
                  <a:lnTo>
                    <a:pt x="194" y="280"/>
                  </a:lnTo>
                  <a:lnTo>
                    <a:pt x="194" y="280"/>
                  </a:lnTo>
                  <a:lnTo>
                    <a:pt x="188" y="276"/>
                  </a:lnTo>
                  <a:lnTo>
                    <a:pt x="188" y="276"/>
                  </a:lnTo>
                  <a:lnTo>
                    <a:pt x="186" y="270"/>
                  </a:lnTo>
                  <a:lnTo>
                    <a:pt x="186" y="270"/>
                  </a:lnTo>
                  <a:lnTo>
                    <a:pt x="180" y="268"/>
                  </a:lnTo>
                  <a:lnTo>
                    <a:pt x="180" y="268"/>
                  </a:lnTo>
                  <a:lnTo>
                    <a:pt x="180" y="266"/>
                  </a:lnTo>
                  <a:lnTo>
                    <a:pt x="178" y="264"/>
                  </a:lnTo>
                  <a:lnTo>
                    <a:pt x="178" y="264"/>
                  </a:lnTo>
                  <a:lnTo>
                    <a:pt x="184" y="266"/>
                  </a:lnTo>
                  <a:lnTo>
                    <a:pt x="188" y="268"/>
                  </a:lnTo>
                  <a:lnTo>
                    <a:pt x="188" y="268"/>
                  </a:lnTo>
                  <a:lnTo>
                    <a:pt x="192" y="272"/>
                  </a:lnTo>
                  <a:lnTo>
                    <a:pt x="194" y="272"/>
                  </a:lnTo>
                  <a:lnTo>
                    <a:pt x="198" y="272"/>
                  </a:lnTo>
                  <a:lnTo>
                    <a:pt x="198" y="272"/>
                  </a:lnTo>
                  <a:lnTo>
                    <a:pt x="200" y="270"/>
                  </a:lnTo>
                  <a:lnTo>
                    <a:pt x="202" y="272"/>
                  </a:lnTo>
                  <a:lnTo>
                    <a:pt x="202" y="272"/>
                  </a:lnTo>
                  <a:lnTo>
                    <a:pt x="208" y="272"/>
                  </a:lnTo>
                  <a:lnTo>
                    <a:pt x="208" y="272"/>
                  </a:lnTo>
                  <a:lnTo>
                    <a:pt x="208" y="272"/>
                  </a:lnTo>
                  <a:lnTo>
                    <a:pt x="208" y="274"/>
                  </a:lnTo>
                  <a:lnTo>
                    <a:pt x="208" y="274"/>
                  </a:lnTo>
                  <a:lnTo>
                    <a:pt x="208" y="276"/>
                  </a:lnTo>
                  <a:lnTo>
                    <a:pt x="208" y="278"/>
                  </a:lnTo>
                  <a:lnTo>
                    <a:pt x="208" y="278"/>
                  </a:lnTo>
                  <a:lnTo>
                    <a:pt x="206" y="278"/>
                  </a:lnTo>
                  <a:lnTo>
                    <a:pt x="206" y="278"/>
                  </a:lnTo>
                  <a:lnTo>
                    <a:pt x="206" y="282"/>
                  </a:lnTo>
                  <a:lnTo>
                    <a:pt x="206" y="282"/>
                  </a:lnTo>
                  <a:lnTo>
                    <a:pt x="208" y="282"/>
                  </a:lnTo>
                  <a:lnTo>
                    <a:pt x="208" y="282"/>
                  </a:lnTo>
                  <a:lnTo>
                    <a:pt x="206" y="284"/>
                  </a:lnTo>
                  <a:lnTo>
                    <a:pt x="206" y="286"/>
                  </a:lnTo>
                  <a:lnTo>
                    <a:pt x="206" y="286"/>
                  </a:lnTo>
                  <a:lnTo>
                    <a:pt x="210" y="286"/>
                  </a:lnTo>
                  <a:lnTo>
                    <a:pt x="210" y="290"/>
                  </a:lnTo>
                  <a:lnTo>
                    <a:pt x="210" y="290"/>
                  </a:lnTo>
                  <a:lnTo>
                    <a:pt x="212" y="290"/>
                  </a:lnTo>
                  <a:lnTo>
                    <a:pt x="212" y="290"/>
                  </a:lnTo>
                  <a:lnTo>
                    <a:pt x="212" y="292"/>
                  </a:lnTo>
                  <a:lnTo>
                    <a:pt x="212" y="292"/>
                  </a:lnTo>
                  <a:lnTo>
                    <a:pt x="210" y="294"/>
                  </a:lnTo>
                  <a:lnTo>
                    <a:pt x="210" y="296"/>
                  </a:lnTo>
                  <a:lnTo>
                    <a:pt x="208" y="294"/>
                  </a:lnTo>
                  <a:lnTo>
                    <a:pt x="208" y="294"/>
                  </a:lnTo>
                  <a:lnTo>
                    <a:pt x="208" y="292"/>
                  </a:lnTo>
                  <a:lnTo>
                    <a:pt x="208" y="290"/>
                  </a:lnTo>
                  <a:lnTo>
                    <a:pt x="208" y="290"/>
                  </a:lnTo>
                  <a:lnTo>
                    <a:pt x="204" y="290"/>
                  </a:lnTo>
                  <a:lnTo>
                    <a:pt x="204" y="290"/>
                  </a:lnTo>
                  <a:lnTo>
                    <a:pt x="204" y="298"/>
                  </a:lnTo>
                  <a:lnTo>
                    <a:pt x="204" y="298"/>
                  </a:lnTo>
                  <a:lnTo>
                    <a:pt x="204" y="298"/>
                  </a:lnTo>
                  <a:lnTo>
                    <a:pt x="206" y="300"/>
                  </a:lnTo>
                  <a:lnTo>
                    <a:pt x="206" y="300"/>
                  </a:lnTo>
                  <a:lnTo>
                    <a:pt x="206" y="304"/>
                  </a:lnTo>
                  <a:lnTo>
                    <a:pt x="206" y="304"/>
                  </a:lnTo>
                  <a:lnTo>
                    <a:pt x="202" y="304"/>
                  </a:lnTo>
                  <a:lnTo>
                    <a:pt x="196" y="304"/>
                  </a:lnTo>
                  <a:lnTo>
                    <a:pt x="196" y="304"/>
                  </a:lnTo>
                  <a:lnTo>
                    <a:pt x="194" y="304"/>
                  </a:lnTo>
                  <a:lnTo>
                    <a:pt x="194" y="304"/>
                  </a:lnTo>
                  <a:lnTo>
                    <a:pt x="194" y="304"/>
                  </a:lnTo>
                  <a:lnTo>
                    <a:pt x="194" y="306"/>
                  </a:lnTo>
                  <a:lnTo>
                    <a:pt x="194" y="306"/>
                  </a:lnTo>
                  <a:lnTo>
                    <a:pt x="190" y="308"/>
                  </a:lnTo>
                  <a:lnTo>
                    <a:pt x="190" y="308"/>
                  </a:lnTo>
                  <a:lnTo>
                    <a:pt x="186" y="308"/>
                  </a:lnTo>
                  <a:lnTo>
                    <a:pt x="186" y="310"/>
                  </a:lnTo>
                  <a:lnTo>
                    <a:pt x="186" y="310"/>
                  </a:lnTo>
                  <a:lnTo>
                    <a:pt x="198" y="310"/>
                  </a:lnTo>
                  <a:lnTo>
                    <a:pt x="202" y="308"/>
                  </a:lnTo>
                  <a:lnTo>
                    <a:pt x="206" y="306"/>
                  </a:lnTo>
                  <a:lnTo>
                    <a:pt x="206" y="306"/>
                  </a:lnTo>
                  <a:lnTo>
                    <a:pt x="208" y="312"/>
                  </a:lnTo>
                  <a:lnTo>
                    <a:pt x="202" y="312"/>
                  </a:lnTo>
                  <a:lnTo>
                    <a:pt x="202" y="312"/>
                  </a:lnTo>
                  <a:lnTo>
                    <a:pt x="198" y="312"/>
                  </a:lnTo>
                  <a:lnTo>
                    <a:pt x="194" y="312"/>
                  </a:lnTo>
                  <a:lnTo>
                    <a:pt x="194" y="312"/>
                  </a:lnTo>
                  <a:lnTo>
                    <a:pt x="192" y="310"/>
                  </a:lnTo>
                  <a:lnTo>
                    <a:pt x="192" y="310"/>
                  </a:lnTo>
                  <a:lnTo>
                    <a:pt x="188" y="310"/>
                  </a:lnTo>
                  <a:lnTo>
                    <a:pt x="188" y="312"/>
                  </a:lnTo>
                  <a:lnTo>
                    <a:pt x="188" y="312"/>
                  </a:lnTo>
                  <a:lnTo>
                    <a:pt x="192" y="314"/>
                  </a:lnTo>
                  <a:lnTo>
                    <a:pt x="194" y="316"/>
                  </a:lnTo>
                  <a:lnTo>
                    <a:pt x="194" y="316"/>
                  </a:lnTo>
                  <a:lnTo>
                    <a:pt x="194" y="316"/>
                  </a:lnTo>
                  <a:lnTo>
                    <a:pt x="192" y="316"/>
                  </a:lnTo>
                  <a:lnTo>
                    <a:pt x="192" y="316"/>
                  </a:lnTo>
                  <a:lnTo>
                    <a:pt x="188" y="314"/>
                  </a:lnTo>
                  <a:lnTo>
                    <a:pt x="188" y="314"/>
                  </a:lnTo>
                  <a:lnTo>
                    <a:pt x="186" y="314"/>
                  </a:lnTo>
                  <a:lnTo>
                    <a:pt x="184" y="314"/>
                  </a:lnTo>
                  <a:lnTo>
                    <a:pt x="182" y="318"/>
                  </a:lnTo>
                  <a:lnTo>
                    <a:pt x="182" y="318"/>
                  </a:lnTo>
                  <a:lnTo>
                    <a:pt x="180" y="320"/>
                  </a:lnTo>
                  <a:lnTo>
                    <a:pt x="180" y="320"/>
                  </a:lnTo>
                  <a:lnTo>
                    <a:pt x="180" y="324"/>
                  </a:lnTo>
                  <a:lnTo>
                    <a:pt x="180" y="324"/>
                  </a:lnTo>
                  <a:lnTo>
                    <a:pt x="186" y="320"/>
                  </a:lnTo>
                  <a:lnTo>
                    <a:pt x="186" y="318"/>
                  </a:lnTo>
                  <a:lnTo>
                    <a:pt x="186" y="318"/>
                  </a:lnTo>
                  <a:lnTo>
                    <a:pt x="190" y="320"/>
                  </a:lnTo>
                  <a:lnTo>
                    <a:pt x="190" y="320"/>
                  </a:lnTo>
                  <a:lnTo>
                    <a:pt x="198" y="316"/>
                  </a:lnTo>
                  <a:lnTo>
                    <a:pt x="198" y="316"/>
                  </a:lnTo>
                  <a:lnTo>
                    <a:pt x="196" y="318"/>
                  </a:lnTo>
                  <a:lnTo>
                    <a:pt x="200" y="320"/>
                  </a:lnTo>
                  <a:lnTo>
                    <a:pt x="200" y="322"/>
                  </a:lnTo>
                  <a:lnTo>
                    <a:pt x="200" y="322"/>
                  </a:lnTo>
                  <a:lnTo>
                    <a:pt x="206" y="320"/>
                  </a:lnTo>
                  <a:lnTo>
                    <a:pt x="206" y="320"/>
                  </a:lnTo>
                  <a:lnTo>
                    <a:pt x="204" y="316"/>
                  </a:lnTo>
                  <a:lnTo>
                    <a:pt x="204" y="316"/>
                  </a:lnTo>
                  <a:lnTo>
                    <a:pt x="210" y="316"/>
                  </a:lnTo>
                  <a:lnTo>
                    <a:pt x="210" y="316"/>
                  </a:lnTo>
                  <a:lnTo>
                    <a:pt x="208" y="318"/>
                  </a:lnTo>
                  <a:lnTo>
                    <a:pt x="208" y="320"/>
                  </a:lnTo>
                  <a:lnTo>
                    <a:pt x="208" y="318"/>
                  </a:lnTo>
                  <a:lnTo>
                    <a:pt x="208" y="318"/>
                  </a:lnTo>
                  <a:lnTo>
                    <a:pt x="208" y="320"/>
                  </a:lnTo>
                  <a:lnTo>
                    <a:pt x="208" y="320"/>
                  </a:lnTo>
                  <a:lnTo>
                    <a:pt x="208" y="320"/>
                  </a:lnTo>
                  <a:lnTo>
                    <a:pt x="206" y="324"/>
                  </a:lnTo>
                  <a:lnTo>
                    <a:pt x="206" y="324"/>
                  </a:lnTo>
                  <a:lnTo>
                    <a:pt x="200" y="324"/>
                  </a:lnTo>
                  <a:lnTo>
                    <a:pt x="200" y="324"/>
                  </a:lnTo>
                  <a:lnTo>
                    <a:pt x="194" y="322"/>
                  </a:lnTo>
                  <a:lnTo>
                    <a:pt x="190" y="320"/>
                  </a:lnTo>
                  <a:lnTo>
                    <a:pt x="186" y="320"/>
                  </a:lnTo>
                  <a:lnTo>
                    <a:pt x="186" y="320"/>
                  </a:lnTo>
                  <a:lnTo>
                    <a:pt x="186" y="320"/>
                  </a:lnTo>
                  <a:lnTo>
                    <a:pt x="184" y="324"/>
                  </a:lnTo>
                  <a:lnTo>
                    <a:pt x="184" y="326"/>
                  </a:lnTo>
                  <a:lnTo>
                    <a:pt x="184" y="326"/>
                  </a:lnTo>
                  <a:lnTo>
                    <a:pt x="180" y="326"/>
                  </a:lnTo>
                  <a:lnTo>
                    <a:pt x="180" y="326"/>
                  </a:lnTo>
                  <a:lnTo>
                    <a:pt x="178" y="328"/>
                  </a:lnTo>
                  <a:lnTo>
                    <a:pt x="178" y="328"/>
                  </a:lnTo>
                  <a:lnTo>
                    <a:pt x="180" y="330"/>
                  </a:lnTo>
                  <a:lnTo>
                    <a:pt x="180" y="330"/>
                  </a:lnTo>
                  <a:lnTo>
                    <a:pt x="180" y="332"/>
                  </a:lnTo>
                  <a:lnTo>
                    <a:pt x="180" y="332"/>
                  </a:lnTo>
                  <a:lnTo>
                    <a:pt x="182" y="334"/>
                  </a:lnTo>
                  <a:lnTo>
                    <a:pt x="184" y="334"/>
                  </a:lnTo>
                  <a:lnTo>
                    <a:pt x="184" y="334"/>
                  </a:lnTo>
                  <a:lnTo>
                    <a:pt x="184" y="336"/>
                  </a:lnTo>
                  <a:lnTo>
                    <a:pt x="186" y="336"/>
                  </a:lnTo>
                  <a:lnTo>
                    <a:pt x="186" y="336"/>
                  </a:lnTo>
                  <a:lnTo>
                    <a:pt x="184" y="340"/>
                  </a:lnTo>
                  <a:lnTo>
                    <a:pt x="184" y="340"/>
                  </a:lnTo>
                  <a:lnTo>
                    <a:pt x="182" y="340"/>
                  </a:lnTo>
                  <a:lnTo>
                    <a:pt x="182" y="340"/>
                  </a:lnTo>
                  <a:lnTo>
                    <a:pt x="182" y="342"/>
                  </a:lnTo>
                  <a:lnTo>
                    <a:pt x="182" y="344"/>
                  </a:lnTo>
                  <a:lnTo>
                    <a:pt x="182" y="344"/>
                  </a:lnTo>
                  <a:lnTo>
                    <a:pt x="184" y="342"/>
                  </a:lnTo>
                  <a:lnTo>
                    <a:pt x="184" y="342"/>
                  </a:lnTo>
                  <a:lnTo>
                    <a:pt x="184" y="344"/>
                  </a:lnTo>
                  <a:lnTo>
                    <a:pt x="184" y="344"/>
                  </a:lnTo>
                  <a:lnTo>
                    <a:pt x="180" y="344"/>
                  </a:lnTo>
                  <a:lnTo>
                    <a:pt x="180" y="346"/>
                  </a:lnTo>
                  <a:lnTo>
                    <a:pt x="180" y="346"/>
                  </a:lnTo>
                  <a:lnTo>
                    <a:pt x="182" y="350"/>
                  </a:lnTo>
                  <a:lnTo>
                    <a:pt x="182" y="350"/>
                  </a:lnTo>
                  <a:lnTo>
                    <a:pt x="188" y="348"/>
                  </a:lnTo>
                  <a:lnTo>
                    <a:pt x="188" y="348"/>
                  </a:lnTo>
                  <a:lnTo>
                    <a:pt x="184" y="350"/>
                  </a:lnTo>
                  <a:lnTo>
                    <a:pt x="184" y="350"/>
                  </a:lnTo>
                  <a:lnTo>
                    <a:pt x="184" y="354"/>
                  </a:lnTo>
                  <a:lnTo>
                    <a:pt x="184" y="354"/>
                  </a:lnTo>
                  <a:lnTo>
                    <a:pt x="188" y="352"/>
                  </a:lnTo>
                  <a:lnTo>
                    <a:pt x="188" y="352"/>
                  </a:lnTo>
                  <a:lnTo>
                    <a:pt x="190" y="354"/>
                  </a:lnTo>
                  <a:lnTo>
                    <a:pt x="192" y="354"/>
                  </a:lnTo>
                  <a:lnTo>
                    <a:pt x="192" y="354"/>
                  </a:lnTo>
                  <a:lnTo>
                    <a:pt x="192" y="352"/>
                  </a:lnTo>
                  <a:lnTo>
                    <a:pt x="192" y="352"/>
                  </a:lnTo>
                  <a:lnTo>
                    <a:pt x="196" y="350"/>
                  </a:lnTo>
                  <a:lnTo>
                    <a:pt x="196" y="350"/>
                  </a:lnTo>
                  <a:lnTo>
                    <a:pt x="190" y="356"/>
                  </a:lnTo>
                  <a:lnTo>
                    <a:pt x="190" y="356"/>
                  </a:lnTo>
                  <a:lnTo>
                    <a:pt x="194" y="358"/>
                  </a:lnTo>
                  <a:lnTo>
                    <a:pt x="194" y="360"/>
                  </a:lnTo>
                  <a:lnTo>
                    <a:pt x="194" y="360"/>
                  </a:lnTo>
                  <a:lnTo>
                    <a:pt x="192" y="360"/>
                  </a:lnTo>
                  <a:lnTo>
                    <a:pt x="192" y="360"/>
                  </a:lnTo>
                  <a:lnTo>
                    <a:pt x="192" y="364"/>
                  </a:lnTo>
                  <a:lnTo>
                    <a:pt x="192" y="364"/>
                  </a:lnTo>
                  <a:lnTo>
                    <a:pt x="196" y="364"/>
                  </a:lnTo>
                  <a:lnTo>
                    <a:pt x="196" y="364"/>
                  </a:lnTo>
                  <a:lnTo>
                    <a:pt x="196" y="366"/>
                  </a:lnTo>
                  <a:lnTo>
                    <a:pt x="196" y="366"/>
                  </a:lnTo>
                  <a:lnTo>
                    <a:pt x="198" y="366"/>
                  </a:lnTo>
                  <a:lnTo>
                    <a:pt x="198" y="366"/>
                  </a:lnTo>
                  <a:lnTo>
                    <a:pt x="196" y="370"/>
                  </a:lnTo>
                  <a:lnTo>
                    <a:pt x="196" y="374"/>
                  </a:lnTo>
                  <a:lnTo>
                    <a:pt x="202" y="368"/>
                  </a:lnTo>
                  <a:lnTo>
                    <a:pt x="202" y="368"/>
                  </a:lnTo>
                  <a:lnTo>
                    <a:pt x="204" y="368"/>
                  </a:lnTo>
                  <a:lnTo>
                    <a:pt x="206" y="368"/>
                  </a:lnTo>
                  <a:lnTo>
                    <a:pt x="206" y="368"/>
                  </a:lnTo>
                  <a:lnTo>
                    <a:pt x="206" y="366"/>
                  </a:lnTo>
                  <a:lnTo>
                    <a:pt x="206" y="366"/>
                  </a:lnTo>
                  <a:lnTo>
                    <a:pt x="208" y="366"/>
                  </a:lnTo>
                  <a:lnTo>
                    <a:pt x="210" y="366"/>
                  </a:lnTo>
                  <a:lnTo>
                    <a:pt x="210" y="366"/>
                  </a:lnTo>
                  <a:lnTo>
                    <a:pt x="210" y="370"/>
                  </a:lnTo>
                  <a:lnTo>
                    <a:pt x="210" y="372"/>
                  </a:lnTo>
                  <a:lnTo>
                    <a:pt x="210" y="372"/>
                  </a:lnTo>
                  <a:lnTo>
                    <a:pt x="208" y="372"/>
                  </a:lnTo>
                  <a:lnTo>
                    <a:pt x="206" y="370"/>
                  </a:lnTo>
                  <a:lnTo>
                    <a:pt x="206" y="370"/>
                  </a:lnTo>
                  <a:lnTo>
                    <a:pt x="206" y="372"/>
                  </a:lnTo>
                  <a:lnTo>
                    <a:pt x="206" y="372"/>
                  </a:lnTo>
                  <a:lnTo>
                    <a:pt x="208" y="374"/>
                  </a:lnTo>
                  <a:lnTo>
                    <a:pt x="208" y="374"/>
                  </a:lnTo>
                  <a:lnTo>
                    <a:pt x="208" y="374"/>
                  </a:lnTo>
                  <a:lnTo>
                    <a:pt x="198" y="376"/>
                  </a:lnTo>
                  <a:lnTo>
                    <a:pt x="198" y="378"/>
                  </a:lnTo>
                  <a:lnTo>
                    <a:pt x="198" y="378"/>
                  </a:lnTo>
                  <a:lnTo>
                    <a:pt x="204" y="378"/>
                  </a:lnTo>
                  <a:lnTo>
                    <a:pt x="204" y="380"/>
                  </a:lnTo>
                  <a:lnTo>
                    <a:pt x="204" y="380"/>
                  </a:lnTo>
                  <a:lnTo>
                    <a:pt x="200" y="380"/>
                  </a:lnTo>
                  <a:lnTo>
                    <a:pt x="200" y="380"/>
                  </a:lnTo>
                  <a:lnTo>
                    <a:pt x="198" y="380"/>
                  </a:lnTo>
                  <a:lnTo>
                    <a:pt x="198" y="380"/>
                  </a:lnTo>
                  <a:lnTo>
                    <a:pt x="198" y="380"/>
                  </a:lnTo>
                  <a:lnTo>
                    <a:pt x="198" y="380"/>
                  </a:lnTo>
                  <a:lnTo>
                    <a:pt x="200" y="382"/>
                  </a:lnTo>
                  <a:lnTo>
                    <a:pt x="200" y="382"/>
                  </a:lnTo>
                  <a:lnTo>
                    <a:pt x="200" y="382"/>
                  </a:lnTo>
                  <a:lnTo>
                    <a:pt x="202" y="382"/>
                  </a:lnTo>
                  <a:lnTo>
                    <a:pt x="200" y="386"/>
                  </a:lnTo>
                  <a:lnTo>
                    <a:pt x="200" y="386"/>
                  </a:lnTo>
                  <a:lnTo>
                    <a:pt x="200" y="386"/>
                  </a:lnTo>
                  <a:lnTo>
                    <a:pt x="202" y="388"/>
                  </a:lnTo>
                  <a:lnTo>
                    <a:pt x="206" y="386"/>
                  </a:lnTo>
                  <a:lnTo>
                    <a:pt x="206" y="386"/>
                  </a:lnTo>
                  <a:lnTo>
                    <a:pt x="206" y="390"/>
                  </a:lnTo>
                  <a:lnTo>
                    <a:pt x="206" y="390"/>
                  </a:lnTo>
                  <a:lnTo>
                    <a:pt x="204" y="390"/>
                  </a:lnTo>
                  <a:lnTo>
                    <a:pt x="204" y="392"/>
                  </a:lnTo>
                  <a:lnTo>
                    <a:pt x="204" y="392"/>
                  </a:lnTo>
                  <a:lnTo>
                    <a:pt x="204" y="392"/>
                  </a:lnTo>
                  <a:lnTo>
                    <a:pt x="208" y="392"/>
                  </a:lnTo>
                  <a:lnTo>
                    <a:pt x="208" y="392"/>
                  </a:lnTo>
                  <a:lnTo>
                    <a:pt x="206" y="394"/>
                  </a:lnTo>
                  <a:lnTo>
                    <a:pt x="206" y="394"/>
                  </a:lnTo>
                  <a:lnTo>
                    <a:pt x="206" y="398"/>
                  </a:lnTo>
                  <a:lnTo>
                    <a:pt x="206" y="398"/>
                  </a:lnTo>
                  <a:lnTo>
                    <a:pt x="208" y="396"/>
                  </a:lnTo>
                  <a:lnTo>
                    <a:pt x="208" y="396"/>
                  </a:lnTo>
                  <a:lnTo>
                    <a:pt x="208" y="396"/>
                  </a:lnTo>
                  <a:lnTo>
                    <a:pt x="208" y="396"/>
                  </a:lnTo>
                  <a:lnTo>
                    <a:pt x="208" y="394"/>
                  </a:lnTo>
                  <a:lnTo>
                    <a:pt x="208" y="394"/>
                  </a:lnTo>
                  <a:lnTo>
                    <a:pt x="212" y="394"/>
                  </a:lnTo>
                  <a:lnTo>
                    <a:pt x="212" y="394"/>
                  </a:lnTo>
                  <a:lnTo>
                    <a:pt x="212" y="400"/>
                  </a:lnTo>
                  <a:lnTo>
                    <a:pt x="212" y="402"/>
                  </a:lnTo>
                  <a:lnTo>
                    <a:pt x="216" y="400"/>
                  </a:lnTo>
                  <a:lnTo>
                    <a:pt x="216" y="400"/>
                  </a:lnTo>
                  <a:lnTo>
                    <a:pt x="216" y="404"/>
                  </a:lnTo>
                  <a:lnTo>
                    <a:pt x="216" y="406"/>
                  </a:lnTo>
                  <a:lnTo>
                    <a:pt x="216" y="406"/>
                  </a:lnTo>
                  <a:lnTo>
                    <a:pt x="218" y="406"/>
                  </a:lnTo>
                  <a:lnTo>
                    <a:pt x="222" y="404"/>
                  </a:lnTo>
                  <a:lnTo>
                    <a:pt x="222" y="404"/>
                  </a:lnTo>
                  <a:lnTo>
                    <a:pt x="224" y="404"/>
                  </a:lnTo>
                  <a:lnTo>
                    <a:pt x="224" y="404"/>
                  </a:lnTo>
                  <a:lnTo>
                    <a:pt x="224" y="406"/>
                  </a:lnTo>
                  <a:lnTo>
                    <a:pt x="224" y="408"/>
                  </a:lnTo>
                  <a:lnTo>
                    <a:pt x="224" y="408"/>
                  </a:lnTo>
                  <a:lnTo>
                    <a:pt x="224" y="408"/>
                  </a:lnTo>
                  <a:lnTo>
                    <a:pt x="224" y="408"/>
                  </a:lnTo>
                  <a:lnTo>
                    <a:pt x="224" y="410"/>
                  </a:lnTo>
                  <a:lnTo>
                    <a:pt x="224" y="410"/>
                  </a:lnTo>
                  <a:lnTo>
                    <a:pt x="228" y="408"/>
                  </a:lnTo>
                  <a:lnTo>
                    <a:pt x="228" y="408"/>
                  </a:lnTo>
                  <a:lnTo>
                    <a:pt x="228" y="410"/>
                  </a:lnTo>
                  <a:lnTo>
                    <a:pt x="228" y="410"/>
                  </a:lnTo>
                  <a:lnTo>
                    <a:pt x="226" y="412"/>
                  </a:lnTo>
                  <a:lnTo>
                    <a:pt x="226" y="412"/>
                  </a:lnTo>
                  <a:lnTo>
                    <a:pt x="226" y="412"/>
                  </a:lnTo>
                  <a:lnTo>
                    <a:pt x="228" y="412"/>
                  </a:lnTo>
                  <a:lnTo>
                    <a:pt x="230" y="412"/>
                  </a:lnTo>
                  <a:lnTo>
                    <a:pt x="230" y="416"/>
                  </a:lnTo>
                  <a:lnTo>
                    <a:pt x="230" y="416"/>
                  </a:lnTo>
                  <a:lnTo>
                    <a:pt x="228" y="418"/>
                  </a:lnTo>
                  <a:lnTo>
                    <a:pt x="228" y="418"/>
                  </a:lnTo>
                  <a:lnTo>
                    <a:pt x="230" y="420"/>
                  </a:lnTo>
                  <a:lnTo>
                    <a:pt x="230" y="420"/>
                  </a:lnTo>
                  <a:lnTo>
                    <a:pt x="232" y="416"/>
                  </a:lnTo>
                  <a:lnTo>
                    <a:pt x="232" y="416"/>
                  </a:lnTo>
                  <a:lnTo>
                    <a:pt x="234" y="418"/>
                  </a:lnTo>
                  <a:lnTo>
                    <a:pt x="234" y="418"/>
                  </a:lnTo>
                  <a:lnTo>
                    <a:pt x="234" y="418"/>
                  </a:lnTo>
                  <a:lnTo>
                    <a:pt x="234" y="418"/>
                  </a:lnTo>
                  <a:lnTo>
                    <a:pt x="234" y="418"/>
                  </a:lnTo>
                  <a:lnTo>
                    <a:pt x="234" y="418"/>
                  </a:lnTo>
                  <a:lnTo>
                    <a:pt x="232" y="418"/>
                  </a:lnTo>
                  <a:lnTo>
                    <a:pt x="234" y="420"/>
                  </a:lnTo>
                  <a:lnTo>
                    <a:pt x="234" y="420"/>
                  </a:lnTo>
                  <a:lnTo>
                    <a:pt x="232" y="420"/>
                  </a:lnTo>
                  <a:lnTo>
                    <a:pt x="230" y="420"/>
                  </a:lnTo>
                  <a:lnTo>
                    <a:pt x="230" y="422"/>
                  </a:lnTo>
                  <a:lnTo>
                    <a:pt x="230" y="422"/>
                  </a:lnTo>
                  <a:lnTo>
                    <a:pt x="234" y="422"/>
                  </a:lnTo>
                  <a:lnTo>
                    <a:pt x="234" y="422"/>
                  </a:lnTo>
                  <a:lnTo>
                    <a:pt x="234" y="422"/>
                  </a:lnTo>
                  <a:lnTo>
                    <a:pt x="232" y="424"/>
                  </a:lnTo>
                  <a:lnTo>
                    <a:pt x="232" y="424"/>
                  </a:lnTo>
                  <a:lnTo>
                    <a:pt x="232" y="426"/>
                  </a:lnTo>
                  <a:lnTo>
                    <a:pt x="232" y="426"/>
                  </a:lnTo>
                  <a:lnTo>
                    <a:pt x="236" y="426"/>
                  </a:lnTo>
                  <a:lnTo>
                    <a:pt x="236" y="430"/>
                  </a:lnTo>
                  <a:lnTo>
                    <a:pt x="236" y="430"/>
                  </a:lnTo>
                  <a:lnTo>
                    <a:pt x="238" y="430"/>
                  </a:lnTo>
                  <a:lnTo>
                    <a:pt x="238" y="430"/>
                  </a:lnTo>
                  <a:lnTo>
                    <a:pt x="240" y="430"/>
                  </a:lnTo>
                  <a:lnTo>
                    <a:pt x="240" y="428"/>
                  </a:lnTo>
                  <a:lnTo>
                    <a:pt x="240" y="426"/>
                  </a:lnTo>
                  <a:lnTo>
                    <a:pt x="240" y="426"/>
                  </a:lnTo>
                  <a:lnTo>
                    <a:pt x="242" y="428"/>
                  </a:lnTo>
                  <a:lnTo>
                    <a:pt x="242" y="428"/>
                  </a:lnTo>
                  <a:lnTo>
                    <a:pt x="242" y="428"/>
                  </a:lnTo>
                  <a:lnTo>
                    <a:pt x="248" y="426"/>
                  </a:lnTo>
                  <a:lnTo>
                    <a:pt x="248" y="426"/>
                  </a:lnTo>
                  <a:lnTo>
                    <a:pt x="252" y="420"/>
                  </a:lnTo>
                  <a:lnTo>
                    <a:pt x="252" y="420"/>
                  </a:lnTo>
                  <a:lnTo>
                    <a:pt x="254" y="420"/>
                  </a:lnTo>
                  <a:lnTo>
                    <a:pt x="254" y="420"/>
                  </a:lnTo>
                  <a:lnTo>
                    <a:pt x="252" y="426"/>
                  </a:lnTo>
                  <a:lnTo>
                    <a:pt x="252" y="426"/>
                  </a:lnTo>
                  <a:lnTo>
                    <a:pt x="254" y="426"/>
                  </a:lnTo>
                  <a:lnTo>
                    <a:pt x="254" y="428"/>
                  </a:lnTo>
                  <a:lnTo>
                    <a:pt x="254" y="428"/>
                  </a:lnTo>
                  <a:lnTo>
                    <a:pt x="252" y="428"/>
                  </a:lnTo>
                  <a:lnTo>
                    <a:pt x="252" y="428"/>
                  </a:lnTo>
                  <a:lnTo>
                    <a:pt x="256" y="428"/>
                  </a:lnTo>
                  <a:lnTo>
                    <a:pt x="256" y="428"/>
                  </a:lnTo>
                  <a:lnTo>
                    <a:pt x="258" y="428"/>
                  </a:lnTo>
                  <a:lnTo>
                    <a:pt x="258" y="428"/>
                  </a:lnTo>
                  <a:lnTo>
                    <a:pt x="256" y="432"/>
                  </a:lnTo>
                  <a:lnTo>
                    <a:pt x="256" y="432"/>
                  </a:lnTo>
                  <a:lnTo>
                    <a:pt x="258" y="432"/>
                  </a:lnTo>
                  <a:lnTo>
                    <a:pt x="258" y="432"/>
                  </a:lnTo>
                  <a:lnTo>
                    <a:pt x="260" y="432"/>
                  </a:lnTo>
                  <a:lnTo>
                    <a:pt x="260" y="432"/>
                  </a:lnTo>
                  <a:lnTo>
                    <a:pt x="262" y="428"/>
                  </a:lnTo>
                  <a:lnTo>
                    <a:pt x="262" y="428"/>
                  </a:lnTo>
                  <a:lnTo>
                    <a:pt x="262" y="428"/>
                  </a:lnTo>
                  <a:lnTo>
                    <a:pt x="264" y="430"/>
                  </a:lnTo>
                  <a:lnTo>
                    <a:pt x="264" y="430"/>
                  </a:lnTo>
                  <a:lnTo>
                    <a:pt x="264" y="430"/>
                  </a:lnTo>
                  <a:lnTo>
                    <a:pt x="266" y="428"/>
                  </a:lnTo>
                  <a:lnTo>
                    <a:pt x="266" y="428"/>
                  </a:lnTo>
                  <a:lnTo>
                    <a:pt x="266" y="432"/>
                  </a:lnTo>
                  <a:lnTo>
                    <a:pt x="266" y="432"/>
                  </a:lnTo>
                  <a:lnTo>
                    <a:pt x="264" y="434"/>
                  </a:lnTo>
                  <a:lnTo>
                    <a:pt x="264" y="434"/>
                  </a:lnTo>
                  <a:lnTo>
                    <a:pt x="264" y="436"/>
                  </a:lnTo>
                  <a:lnTo>
                    <a:pt x="264" y="436"/>
                  </a:lnTo>
                  <a:lnTo>
                    <a:pt x="268" y="432"/>
                  </a:lnTo>
                  <a:lnTo>
                    <a:pt x="268" y="432"/>
                  </a:lnTo>
                  <a:lnTo>
                    <a:pt x="268" y="436"/>
                  </a:lnTo>
                  <a:lnTo>
                    <a:pt x="268" y="438"/>
                  </a:lnTo>
                  <a:lnTo>
                    <a:pt x="268" y="438"/>
                  </a:lnTo>
                  <a:lnTo>
                    <a:pt x="268" y="438"/>
                  </a:lnTo>
                  <a:lnTo>
                    <a:pt x="270" y="438"/>
                  </a:lnTo>
                  <a:lnTo>
                    <a:pt x="270" y="438"/>
                  </a:lnTo>
                  <a:lnTo>
                    <a:pt x="272" y="434"/>
                  </a:lnTo>
                  <a:lnTo>
                    <a:pt x="272" y="434"/>
                  </a:lnTo>
                  <a:lnTo>
                    <a:pt x="272" y="434"/>
                  </a:lnTo>
                  <a:lnTo>
                    <a:pt x="274" y="436"/>
                  </a:lnTo>
                  <a:lnTo>
                    <a:pt x="274" y="436"/>
                  </a:lnTo>
                  <a:lnTo>
                    <a:pt x="272" y="436"/>
                  </a:lnTo>
                  <a:lnTo>
                    <a:pt x="272" y="436"/>
                  </a:lnTo>
                  <a:lnTo>
                    <a:pt x="272" y="440"/>
                  </a:lnTo>
                  <a:lnTo>
                    <a:pt x="272" y="440"/>
                  </a:lnTo>
                  <a:lnTo>
                    <a:pt x="278" y="442"/>
                  </a:lnTo>
                  <a:lnTo>
                    <a:pt x="278" y="442"/>
                  </a:lnTo>
                  <a:lnTo>
                    <a:pt x="280" y="440"/>
                  </a:lnTo>
                  <a:lnTo>
                    <a:pt x="280" y="440"/>
                  </a:lnTo>
                  <a:lnTo>
                    <a:pt x="282" y="440"/>
                  </a:lnTo>
                  <a:lnTo>
                    <a:pt x="282" y="440"/>
                  </a:lnTo>
                  <a:lnTo>
                    <a:pt x="280" y="440"/>
                  </a:lnTo>
                  <a:lnTo>
                    <a:pt x="280" y="440"/>
                  </a:lnTo>
                  <a:lnTo>
                    <a:pt x="284" y="438"/>
                  </a:lnTo>
                  <a:lnTo>
                    <a:pt x="284" y="438"/>
                  </a:lnTo>
                  <a:lnTo>
                    <a:pt x="282" y="436"/>
                  </a:lnTo>
                  <a:lnTo>
                    <a:pt x="282" y="436"/>
                  </a:lnTo>
                  <a:lnTo>
                    <a:pt x="280" y="436"/>
                  </a:lnTo>
                  <a:lnTo>
                    <a:pt x="280" y="434"/>
                  </a:lnTo>
                  <a:lnTo>
                    <a:pt x="280" y="434"/>
                  </a:lnTo>
                  <a:lnTo>
                    <a:pt x="280" y="434"/>
                  </a:lnTo>
                  <a:lnTo>
                    <a:pt x="282" y="432"/>
                  </a:lnTo>
                  <a:lnTo>
                    <a:pt x="280" y="430"/>
                  </a:lnTo>
                  <a:lnTo>
                    <a:pt x="280" y="430"/>
                  </a:lnTo>
                  <a:lnTo>
                    <a:pt x="280" y="430"/>
                  </a:lnTo>
                  <a:lnTo>
                    <a:pt x="276" y="430"/>
                  </a:lnTo>
                  <a:lnTo>
                    <a:pt x="276" y="428"/>
                  </a:lnTo>
                  <a:lnTo>
                    <a:pt x="276" y="428"/>
                  </a:lnTo>
                  <a:lnTo>
                    <a:pt x="280" y="428"/>
                  </a:lnTo>
                  <a:lnTo>
                    <a:pt x="280" y="428"/>
                  </a:lnTo>
                  <a:lnTo>
                    <a:pt x="282" y="426"/>
                  </a:lnTo>
                  <a:lnTo>
                    <a:pt x="280" y="426"/>
                  </a:lnTo>
                  <a:lnTo>
                    <a:pt x="282" y="426"/>
                  </a:lnTo>
                  <a:lnTo>
                    <a:pt x="282" y="426"/>
                  </a:lnTo>
                  <a:lnTo>
                    <a:pt x="282" y="422"/>
                  </a:lnTo>
                  <a:lnTo>
                    <a:pt x="282" y="420"/>
                  </a:lnTo>
                  <a:lnTo>
                    <a:pt x="286" y="418"/>
                  </a:lnTo>
                  <a:lnTo>
                    <a:pt x="286" y="418"/>
                  </a:lnTo>
                  <a:lnTo>
                    <a:pt x="286" y="416"/>
                  </a:lnTo>
                  <a:lnTo>
                    <a:pt x="284" y="414"/>
                  </a:lnTo>
                  <a:lnTo>
                    <a:pt x="284" y="414"/>
                  </a:lnTo>
                  <a:lnTo>
                    <a:pt x="288" y="412"/>
                  </a:lnTo>
                  <a:lnTo>
                    <a:pt x="288" y="412"/>
                  </a:lnTo>
                  <a:lnTo>
                    <a:pt x="290" y="408"/>
                  </a:lnTo>
                  <a:lnTo>
                    <a:pt x="290" y="408"/>
                  </a:lnTo>
                  <a:lnTo>
                    <a:pt x="288" y="406"/>
                  </a:lnTo>
                  <a:lnTo>
                    <a:pt x="288" y="406"/>
                  </a:lnTo>
                  <a:lnTo>
                    <a:pt x="288" y="406"/>
                  </a:lnTo>
                  <a:lnTo>
                    <a:pt x="288" y="400"/>
                  </a:lnTo>
                  <a:lnTo>
                    <a:pt x="288" y="400"/>
                  </a:lnTo>
                  <a:lnTo>
                    <a:pt x="290" y="400"/>
                  </a:lnTo>
                  <a:lnTo>
                    <a:pt x="290" y="400"/>
                  </a:lnTo>
                  <a:lnTo>
                    <a:pt x="290" y="402"/>
                  </a:lnTo>
                  <a:lnTo>
                    <a:pt x="292" y="402"/>
                  </a:lnTo>
                  <a:lnTo>
                    <a:pt x="292" y="402"/>
                  </a:lnTo>
                  <a:lnTo>
                    <a:pt x="292" y="400"/>
                  </a:lnTo>
                  <a:lnTo>
                    <a:pt x="292" y="398"/>
                  </a:lnTo>
                  <a:lnTo>
                    <a:pt x="292" y="398"/>
                  </a:lnTo>
                  <a:lnTo>
                    <a:pt x="292" y="396"/>
                  </a:lnTo>
                  <a:lnTo>
                    <a:pt x="292" y="396"/>
                  </a:lnTo>
                  <a:lnTo>
                    <a:pt x="290" y="396"/>
                  </a:lnTo>
                  <a:lnTo>
                    <a:pt x="290" y="396"/>
                  </a:lnTo>
                  <a:lnTo>
                    <a:pt x="290" y="394"/>
                  </a:lnTo>
                  <a:lnTo>
                    <a:pt x="290" y="394"/>
                  </a:lnTo>
                  <a:lnTo>
                    <a:pt x="292" y="394"/>
                  </a:lnTo>
                  <a:lnTo>
                    <a:pt x="292" y="392"/>
                  </a:lnTo>
                  <a:lnTo>
                    <a:pt x="292" y="392"/>
                  </a:lnTo>
                  <a:lnTo>
                    <a:pt x="298" y="394"/>
                  </a:lnTo>
                  <a:lnTo>
                    <a:pt x="298" y="394"/>
                  </a:lnTo>
                  <a:lnTo>
                    <a:pt x="296" y="390"/>
                  </a:lnTo>
                  <a:lnTo>
                    <a:pt x="298" y="390"/>
                  </a:lnTo>
                  <a:lnTo>
                    <a:pt x="298" y="390"/>
                  </a:lnTo>
                  <a:lnTo>
                    <a:pt x="298" y="386"/>
                  </a:lnTo>
                  <a:lnTo>
                    <a:pt x="296" y="382"/>
                  </a:lnTo>
                  <a:lnTo>
                    <a:pt x="296" y="382"/>
                  </a:lnTo>
                  <a:lnTo>
                    <a:pt x="298" y="382"/>
                  </a:lnTo>
                  <a:lnTo>
                    <a:pt x="298" y="382"/>
                  </a:lnTo>
                  <a:lnTo>
                    <a:pt x="300" y="386"/>
                  </a:lnTo>
                  <a:lnTo>
                    <a:pt x="300" y="386"/>
                  </a:lnTo>
                  <a:lnTo>
                    <a:pt x="302" y="386"/>
                  </a:lnTo>
                  <a:lnTo>
                    <a:pt x="302" y="384"/>
                  </a:lnTo>
                  <a:lnTo>
                    <a:pt x="302" y="382"/>
                  </a:lnTo>
                  <a:lnTo>
                    <a:pt x="302" y="382"/>
                  </a:lnTo>
                  <a:lnTo>
                    <a:pt x="302" y="378"/>
                  </a:lnTo>
                  <a:lnTo>
                    <a:pt x="304" y="374"/>
                  </a:lnTo>
                  <a:lnTo>
                    <a:pt x="304" y="374"/>
                  </a:lnTo>
                  <a:lnTo>
                    <a:pt x="296" y="372"/>
                  </a:lnTo>
                  <a:lnTo>
                    <a:pt x="296" y="370"/>
                  </a:lnTo>
                  <a:lnTo>
                    <a:pt x="296" y="370"/>
                  </a:lnTo>
                  <a:lnTo>
                    <a:pt x="300" y="372"/>
                  </a:lnTo>
                  <a:lnTo>
                    <a:pt x="300" y="372"/>
                  </a:lnTo>
                  <a:lnTo>
                    <a:pt x="306" y="372"/>
                  </a:lnTo>
                  <a:lnTo>
                    <a:pt x="306" y="372"/>
                  </a:lnTo>
                  <a:lnTo>
                    <a:pt x="306" y="364"/>
                  </a:lnTo>
                  <a:lnTo>
                    <a:pt x="304" y="360"/>
                  </a:lnTo>
                  <a:lnTo>
                    <a:pt x="302" y="358"/>
                  </a:lnTo>
                  <a:lnTo>
                    <a:pt x="302" y="356"/>
                  </a:lnTo>
                  <a:lnTo>
                    <a:pt x="302" y="356"/>
                  </a:lnTo>
                  <a:lnTo>
                    <a:pt x="304" y="356"/>
                  </a:lnTo>
                  <a:lnTo>
                    <a:pt x="304" y="356"/>
                  </a:lnTo>
                  <a:lnTo>
                    <a:pt x="304" y="356"/>
                  </a:lnTo>
                  <a:lnTo>
                    <a:pt x="306" y="356"/>
                  </a:lnTo>
                  <a:lnTo>
                    <a:pt x="306" y="356"/>
                  </a:lnTo>
                  <a:lnTo>
                    <a:pt x="308" y="356"/>
                  </a:lnTo>
                  <a:lnTo>
                    <a:pt x="308" y="356"/>
                  </a:lnTo>
                  <a:lnTo>
                    <a:pt x="310" y="354"/>
                  </a:lnTo>
                  <a:lnTo>
                    <a:pt x="310" y="354"/>
                  </a:lnTo>
                  <a:lnTo>
                    <a:pt x="310" y="350"/>
                  </a:lnTo>
                  <a:lnTo>
                    <a:pt x="310" y="350"/>
                  </a:lnTo>
                  <a:lnTo>
                    <a:pt x="310" y="350"/>
                  </a:lnTo>
                  <a:lnTo>
                    <a:pt x="314" y="350"/>
                  </a:lnTo>
                  <a:lnTo>
                    <a:pt x="316" y="350"/>
                  </a:lnTo>
                  <a:lnTo>
                    <a:pt x="316" y="350"/>
                  </a:lnTo>
                  <a:lnTo>
                    <a:pt x="318" y="350"/>
                  </a:lnTo>
                  <a:lnTo>
                    <a:pt x="318" y="350"/>
                  </a:lnTo>
                  <a:lnTo>
                    <a:pt x="316" y="350"/>
                  </a:lnTo>
                  <a:lnTo>
                    <a:pt x="318" y="348"/>
                  </a:lnTo>
                  <a:lnTo>
                    <a:pt x="318" y="348"/>
                  </a:lnTo>
                  <a:lnTo>
                    <a:pt x="322" y="348"/>
                  </a:lnTo>
                  <a:lnTo>
                    <a:pt x="326" y="350"/>
                  </a:lnTo>
                  <a:lnTo>
                    <a:pt x="326" y="350"/>
                  </a:lnTo>
                  <a:lnTo>
                    <a:pt x="328" y="348"/>
                  </a:lnTo>
                  <a:lnTo>
                    <a:pt x="330" y="346"/>
                  </a:lnTo>
                  <a:lnTo>
                    <a:pt x="330" y="346"/>
                  </a:lnTo>
                  <a:lnTo>
                    <a:pt x="334" y="344"/>
                  </a:lnTo>
                  <a:lnTo>
                    <a:pt x="334" y="344"/>
                  </a:lnTo>
                  <a:lnTo>
                    <a:pt x="336" y="350"/>
                  </a:lnTo>
                  <a:lnTo>
                    <a:pt x="336" y="352"/>
                  </a:lnTo>
                  <a:lnTo>
                    <a:pt x="336" y="352"/>
                  </a:lnTo>
                  <a:lnTo>
                    <a:pt x="338" y="352"/>
                  </a:lnTo>
                  <a:lnTo>
                    <a:pt x="336" y="350"/>
                  </a:lnTo>
                  <a:lnTo>
                    <a:pt x="336" y="350"/>
                  </a:lnTo>
                  <a:lnTo>
                    <a:pt x="338" y="350"/>
                  </a:lnTo>
                  <a:lnTo>
                    <a:pt x="338" y="350"/>
                  </a:lnTo>
                  <a:lnTo>
                    <a:pt x="338" y="350"/>
                  </a:lnTo>
                  <a:lnTo>
                    <a:pt x="340" y="348"/>
                  </a:lnTo>
                  <a:lnTo>
                    <a:pt x="340" y="348"/>
                  </a:lnTo>
                  <a:lnTo>
                    <a:pt x="342" y="344"/>
                  </a:lnTo>
                  <a:lnTo>
                    <a:pt x="342" y="344"/>
                  </a:lnTo>
                  <a:lnTo>
                    <a:pt x="346" y="344"/>
                  </a:lnTo>
                  <a:lnTo>
                    <a:pt x="346" y="344"/>
                  </a:lnTo>
                  <a:lnTo>
                    <a:pt x="346" y="344"/>
                  </a:lnTo>
                  <a:lnTo>
                    <a:pt x="348" y="346"/>
                  </a:lnTo>
                  <a:lnTo>
                    <a:pt x="348" y="346"/>
                  </a:lnTo>
                  <a:lnTo>
                    <a:pt x="348" y="346"/>
                  </a:lnTo>
                  <a:lnTo>
                    <a:pt x="348" y="346"/>
                  </a:lnTo>
                  <a:lnTo>
                    <a:pt x="350" y="344"/>
                  </a:lnTo>
                  <a:lnTo>
                    <a:pt x="350" y="344"/>
                  </a:lnTo>
                  <a:lnTo>
                    <a:pt x="350" y="340"/>
                  </a:lnTo>
                  <a:lnTo>
                    <a:pt x="350" y="340"/>
                  </a:lnTo>
                  <a:lnTo>
                    <a:pt x="354" y="338"/>
                  </a:lnTo>
                  <a:lnTo>
                    <a:pt x="354" y="338"/>
                  </a:lnTo>
                  <a:lnTo>
                    <a:pt x="356" y="336"/>
                  </a:lnTo>
                  <a:lnTo>
                    <a:pt x="356" y="332"/>
                  </a:lnTo>
                  <a:lnTo>
                    <a:pt x="356" y="332"/>
                  </a:lnTo>
                  <a:lnTo>
                    <a:pt x="360" y="332"/>
                  </a:lnTo>
                  <a:lnTo>
                    <a:pt x="360" y="332"/>
                  </a:lnTo>
                  <a:lnTo>
                    <a:pt x="364" y="328"/>
                  </a:lnTo>
                  <a:lnTo>
                    <a:pt x="364" y="328"/>
                  </a:lnTo>
                  <a:lnTo>
                    <a:pt x="370" y="326"/>
                  </a:lnTo>
                  <a:lnTo>
                    <a:pt x="370" y="326"/>
                  </a:lnTo>
                  <a:lnTo>
                    <a:pt x="374" y="322"/>
                  </a:lnTo>
                  <a:lnTo>
                    <a:pt x="374" y="318"/>
                  </a:lnTo>
                  <a:lnTo>
                    <a:pt x="378" y="316"/>
                  </a:lnTo>
                  <a:lnTo>
                    <a:pt x="378" y="316"/>
                  </a:lnTo>
                  <a:lnTo>
                    <a:pt x="378" y="316"/>
                  </a:lnTo>
                  <a:lnTo>
                    <a:pt x="380" y="318"/>
                  </a:lnTo>
                  <a:lnTo>
                    <a:pt x="382" y="316"/>
                  </a:lnTo>
                  <a:lnTo>
                    <a:pt x="382" y="314"/>
                  </a:lnTo>
                  <a:lnTo>
                    <a:pt x="382" y="314"/>
                  </a:lnTo>
                  <a:lnTo>
                    <a:pt x="382" y="310"/>
                  </a:lnTo>
                  <a:lnTo>
                    <a:pt x="382" y="310"/>
                  </a:lnTo>
                  <a:lnTo>
                    <a:pt x="380" y="308"/>
                  </a:lnTo>
                  <a:lnTo>
                    <a:pt x="380" y="308"/>
                  </a:lnTo>
                  <a:lnTo>
                    <a:pt x="378" y="304"/>
                  </a:lnTo>
                  <a:lnTo>
                    <a:pt x="378" y="298"/>
                  </a:lnTo>
                  <a:lnTo>
                    <a:pt x="378" y="298"/>
                  </a:lnTo>
                  <a:lnTo>
                    <a:pt x="380" y="304"/>
                  </a:lnTo>
                  <a:lnTo>
                    <a:pt x="384" y="306"/>
                  </a:lnTo>
                  <a:lnTo>
                    <a:pt x="390" y="308"/>
                  </a:lnTo>
                  <a:lnTo>
                    <a:pt x="396" y="308"/>
                  </a:lnTo>
                  <a:lnTo>
                    <a:pt x="396" y="306"/>
                  </a:lnTo>
                  <a:lnTo>
                    <a:pt x="396" y="306"/>
                  </a:lnTo>
                  <a:lnTo>
                    <a:pt x="400" y="306"/>
                  </a:lnTo>
                  <a:lnTo>
                    <a:pt x="400" y="306"/>
                  </a:lnTo>
                  <a:lnTo>
                    <a:pt x="400" y="304"/>
                  </a:lnTo>
                  <a:lnTo>
                    <a:pt x="400" y="302"/>
                  </a:lnTo>
                  <a:lnTo>
                    <a:pt x="400" y="302"/>
                  </a:lnTo>
                  <a:lnTo>
                    <a:pt x="402" y="302"/>
                  </a:lnTo>
                  <a:lnTo>
                    <a:pt x="402" y="302"/>
                  </a:lnTo>
                  <a:lnTo>
                    <a:pt x="402" y="306"/>
                  </a:lnTo>
                  <a:lnTo>
                    <a:pt x="402" y="306"/>
                  </a:lnTo>
                  <a:lnTo>
                    <a:pt x="406" y="304"/>
                  </a:lnTo>
                  <a:lnTo>
                    <a:pt x="406" y="304"/>
                  </a:lnTo>
                  <a:lnTo>
                    <a:pt x="408" y="304"/>
                  </a:lnTo>
                  <a:lnTo>
                    <a:pt x="408" y="304"/>
                  </a:lnTo>
                  <a:lnTo>
                    <a:pt x="410" y="302"/>
                  </a:lnTo>
                  <a:lnTo>
                    <a:pt x="410" y="302"/>
                  </a:lnTo>
                  <a:lnTo>
                    <a:pt x="412" y="302"/>
                  </a:lnTo>
                  <a:lnTo>
                    <a:pt x="412" y="302"/>
                  </a:lnTo>
                  <a:lnTo>
                    <a:pt x="412" y="304"/>
                  </a:lnTo>
                  <a:lnTo>
                    <a:pt x="412" y="304"/>
                  </a:lnTo>
                  <a:lnTo>
                    <a:pt x="416" y="302"/>
                  </a:lnTo>
                  <a:lnTo>
                    <a:pt x="420" y="302"/>
                  </a:lnTo>
                  <a:lnTo>
                    <a:pt x="420" y="300"/>
                  </a:lnTo>
                  <a:lnTo>
                    <a:pt x="420" y="300"/>
                  </a:lnTo>
                  <a:lnTo>
                    <a:pt x="422" y="300"/>
                  </a:lnTo>
                  <a:lnTo>
                    <a:pt x="424" y="302"/>
                  </a:lnTo>
                  <a:lnTo>
                    <a:pt x="424" y="302"/>
                  </a:lnTo>
                  <a:lnTo>
                    <a:pt x="428" y="298"/>
                  </a:lnTo>
                  <a:lnTo>
                    <a:pt x="428" y="298"/>
                  </a:lnTo>
                  <a:lnTo>
                    <a:pt x="430" y="298"/>
                  </a:lnTo>
                  <a:lnTo>
                    <a:pt x="430" y="298"/>
                  </a:lnTo>
                  <a:lnTo>
                    <a:pt x="438" y="296"/>
                  </a:lnTo>
                  <a:lnTo>
                    <a:pt x="438" y="290"/>
                  </a:lnTo>
                  <a:lnTo>
                    <a:pt x="438" y="290"/>
                  </a:lnTo>
                  <a:lnTo>
                    <a:pt x="440" y="290"/>
                  </a:lnTo>
                  <a:lnTo>
                    <a:pt x="442" y="292"/>
                  </a:lnTo>
                  <a:lnTo>
                    <a:pt x="442" y="292"/>
                  </a:lnTo>
                  <a:lnTo>
                    <a:pt x="444" y="292"/>
                  </a:lnTo>
                  <a:lnTo>
                    <a:pt x="444" y="292"/>
                  </a:lnTo>
                  <a:lnTo>
                    <a:pt x="448" y="286"/>
                  </a:lnTo>
                  <a:lnTo>
                    <a:pt x="448" y="286"/>
                  </a:lnTo>
                  <a:lnTo>
                    <a:pt x="452" y="286"/>
                  </a:lnTo>
                  <a:lnTo>
                    <a:pt x="452" y="286"/>
                  </a:lnTo>
                  <a:lnTo>
                    <a:pt x="452" y="288"/>
                  </a:lnTo>
                  <a:lnTo>
                    <a:pt x="452" y="288"/>
                  </a:lnTo>
                  <a:lnTo>
                    <a:pt x="454" y="286"/>
                  </a:lnTo>
                  <a:lnTo>
                    <a:pt x="454" y="286"/>
                  </a:lnTo>
                  <a:lnTo>
                    <a:pt x="456" y="286"/>
                  </a:lnTo>
                  <a:lnTo>
                    <a:pt x="456" y="286"/>
                  </a:lnTo>
                  <a:lnTo>
                    <a:pt x="458" y="284"/>
                  </a:lnTo>
                  <a:lnTo>
                    <a:pt x="458" y="284"/>
                  </a:lnTo>
                  <a:lnTo>
                    <a:pt x="460" y="284"/>
                  </a:lnTo>
                  <a:lnTo>
                    <a:pt x="462" y="284"/>
                  </a:lnTo>
                  <a:lnTo>
                    <a:pt x="462" y="284"/>
                  </a:lnTo>
                  <a:lnTo>
                    <a:pt x="466" y="282"/>
                  </a:lnTo>
                  <a:lnTo>
                    <a:pt x="466" y="282"/>
                  </a:lnTo>
                  <a:lnTo>
                    <a:pt x="470" y="282"/>
                  </a:lnTo>
                  <a:lnTo>
                    <a:pt x="470" y="282"/>
                  </a:lnTo>
                  <a:lnTo>
                    <a:pt x="470" y="278"/>
                  </a:lnTo>
                  <a:lnTo>
                    <a:pt x="474" y="278"/>
                  </a:lnTo>
                  <a:lnTo>
                    <a:pt x="474" y="278"/>
                  </a:lnTo>
                  <a:lnTo>
                    <a:pt x="474" y="274"/>
                  </a:lnTo>
                  <a:lnTo>
                    <a:pt x="474" y="274"/>
                  </a:lnTo>
                  <a:lnTo>
                    <a:pt x="476" y="270"/>
                  </a:lnTo>
                  <a:lnTo>
                    <a:pt x="476" y="270"/>
                  </a:lnTo>
                  <a:lnTo>
                    <a:pt x="480" y="270"/>
                  </a:lnTo>
                  <a:lnTo>
                    <a:pt x="480" y="270"/>
                  </a:lnTo>
                  <a:lnTo>
                    <a:pt x="482" y="268"/>
                  </a:lnTo>
                  <a:lnTo>
                    <a:pt x="482" y="268"/>
                  </a:lnTo>
                  <a:lnTo>
                    <a:pt x="482" y="268"/>
                  </a:lnTo>
                  <a:lnTo>
                    <a:pt x="474" y="268"/>
                  </a:lnTo>
                  <a:lnTo>
                    <a:pt x="466" y="266"/>
                  </a:lnTo>
                  <a:lnTo>
                    <a:pt x="466" y="266"/>
                  </a:lnTo>
                  <a:lnTo>
                    <a:pt x="462" y="264"/>
                  </a:lnTo>
                  <a:lnTo>
                    <a:pt x="462" y="264"/>
                  </a:lnTo>
                  <a:lnTo>
                    <a:pt x="460" y="264"/>
                  </a:lnTo>
                  <a:lnTo>
                    <a:pt x="458" y="264"/>
                  </a:lnTo>
                  <a:lnTo>
                    <a:pt x="458" y="262"/>
                  </a:lnTo>
                  <a:lnTo>
                    <a:pt x="458" y="262"/>
                  </a:lnTo>
                  <a:lnTo>
                    <a:pt x="454" y="264"/>
                  </a:lnTo>
                  <a:lnTo>
                    <a:pt x="450" y="266"/>
                  </a:lnTo>
                  <a:lnTo>
                    <a:pt x="450" y="266"/>
                  </a:lnTo>
                  <a:lnTo>
                    <a:pt x="438" y="266"/>
                  </a:lnTo>
                  <a:lnTo>
                    <a:pt x="438" y="266"/>
                  </a:lnTo>
                  <a:lnTo>
                    <a:pt x="440" y="264"/>
                  </a:lnTo>
                  <a:lnTo>
                    <a:pt x="442" y="262"/>
                  </a:lnTo>
                  <a:lnTo>
                    <a:pt x="436" y="260"/>
                  </a:lnTo>
                  <a:lnTo>
                    <a:pt x="422" y="262"/>
                  </a:lnTo>
                  <a:lnTo>
                    <a:pt x="422" y="262"/>
                  </a:lnTo>
                  <a:lnTo>
                    <a:pt x="420" y="258"/>
                  </a:lnTo>
                  <a:lnTo>
                    <a:pt x="420" y="258"/>
                  </a:lnTo>
                  <a:lnTo>
                    <a:pt x="420" y="258"/>
                  </a:lnTo>
                  <a:lnTo>
                    <a:pt x="420" y="256"/>
                  </a:lnTo>
                  <a:lnTo>
                    <a:pt x="420" y="256"/>
                  </a:lnTo>
                  <a:lnTo>
                    <a:pt x="422" y="256"/>
                  </a:lnTo>
                  <a:lnTo>
                    <a:pt x="422" y="256"/>
                  </a:lnTo>
                  <a:lnTo>
                    <a:pt x="422" y="256"/>
                  </a:lnTo>
                  <a:lnTo>
                    <a:pt x="422" y="262"/>
                  </a:lnTo>
                  <a:lnTo>
                    <a:pt x="422" y="262"/>
                  </a:lnTo>
                  <a:lnTo>
                    <a:pt x="432" y="260"/>
                  </a:lnTo>
                  <a:lnTo>
                    <a:pt x="442" y="258"/>
                  </a:lnTo>
                  <a:lnTo>
                    <a:pt x="442" y="258"/>
                  </a:lnTo>
                  <a:lnTo>
                    <a:pt x="444" y="260"/>
                  </a:lnTo>
                  <a:lnTo>
                    <a:pt x="448" y="260"/>
                  </a:lnTo>
                  <a:lnTo>
                    <a:pt x="448" y="260"/>
                  </a:lnTo>
                  <a:lnTo>
                    <a:pt x="450" y="258"/>
                  </a:lnTo>
                  <a:lnTo>
                    <a:pt x="450" y="258"/>
                  </a:lnTo>
                  <a:lnTo>
                    <a:pt x="448" y="254"/>
                  </a:lnTo>
                  <a:lnTo>
                    <a:pt x="448" y="254"/>
                  </a:lnTo>
                  <a:lnTo>
                    <a:pt x="440" y="254"/>
                  </a:lnTo>
                  <a:lnTo>
                    <a:pt x="430" y="254"/>
                  </a:lnTo>
                  <a:lnTo>
                    <a:pt x="430" y="254"/>
                  </a:lnTo>
                  <a:lnTo>
                    <a:pt x="426" y="256"/>
                  </a:lnTo>
                  <a:lnTo>
                    <a:pt x="422" y="256"/>
                  </a:lnTo>
                  <a:lnTo>
                    <a:pt x="424" y="254"/>
                  </a:lnTo>
                  <a:lnTo>
                    <a:pt x="424" y="254"/>
                  </a:lnTo>
                  <a:lnTo>
                    <a:pt x="426" y="252"/>
                  </a:lnTo>
                  <a:lnTo>
                    <a:pt x="426" y="250"/>
                  </a:lnTo>
                  <a:lnTo>
                    <a:pt x="426" y="250"/>
                  </a:lnTo>
                  <a:lnTo>
                    <a:pt x="428" y="252"/>
                  </a:lnTo>
                  <a:lnTo>
                    <a:pt x="428" y="252"/>
                  </a:lnTo>
                  <a:lnTo>
                    <a:pt x="428" y="252"/>
                  </a:lnTo>
                  <a:lnTo>
                    <a:pt x="442" y="254"/>
                  </a:lnTo>
                  <a:lnTo>
                    <a:pt x="442" y="254"/>
                  </a:lnTo>
                  <a:lnTo>
                    <a:pt x="444" y="250"/>
                  </a:lnTo>
                  <a:lnTo>
                    <a:pt x="444" y="250"/>
                  </a:lnTo>
                  <a:lnTo>
                    <a:pt x="450" y="250"/>
                  </a:lnTo>
                  <a:lnTo>
                    <a:pt x="450" y="250"/>
                  </a:lnTo>
                  <a:lnTo>
                    <a:pt x="450" y="250"/>
                  </a:lnTo>
                  <a:lnTo>
                    <a:pt x="450" y="248"/>
                  </a:lnTo>
                  <a:lnTo>
                    <a:pt x="450" y="246"/>
                  </a:lnTo>
                  <a:lnTo>
                    <a:pt x="450" y="246"/>
                  </a:lnTo>
                  <a:lnTo>
                    <a:pt x="442" y="244"/>
                  </a:lnTo>
                  <a:lnTo>
                    <a:pt x="442" y="242"/>
                  </a:lnTo>
                  <a:lnTo>
                    <a:pt x="442" y="242"/>
                  </a:lnTo>
                  <a:lnTo>
                    <a:pt x="432" y="244"/>
                  </a:lnTo>
                  <a:lnTo>
                    <a:pt x="422" y="244"/>
                  </a:lnTo>
                  <a:lnTo>
                    <a:pt x="420" y="244"/>
                  </a:lnTo>
                  <a:lnTo>
                    <a:pt x="420" y="244"/>
                  </a:lnTo>
                  <a:lnTo>
                    <a:pt x="426" y="242"/>
                  </a:lnTo>
                  <a:lnTo>
                    <a:pt x="426" y="242"/>
                  </a:lnTo>
                  <a:lnTo>
                    <a:pt x="426" y="242"/>
                  </a:lnTo>
                  <a:lnTo>
                    <a:pt x="426" y="240"/>
                  </a:lnTo>
                  <a:lnTo>
                    <a:pt x="422" y="238"/>
                  </a:lnTo>
                  <a:lnTo>
                    <a:pt x="422" y="238"/>
                  </a:lnTo>
                  <a:lnTo>
                    <a:pt x="424" y="238"/>
                  </a:lnTo>
                  <a:lnTo>
                    <a:pt x="424" y="236"/>
                  </a:lnTo>
                  <a:lnTo>
                    <a:pt x="424" y="236"/>
                  </a:lnTo>
                  <a:lnTo>
                    <a:pt x="428" y="240"/>
                  </a:lnTo>
                  <a:lnTo>
                    <a:pt x="428" y="240"/>
                  </a:lnTo>
                  <a:lnTo>
                    <a:pt x="434" y="240"/>
                  </a:lnTo>
                  <a:lnTo>
                    <a:pt x="442" y="240"/>
                  </a:lnTo>
                  <a:lnTo>
                    <a:pt x="442" y="242"/>
                  </a:lnTo>
                  <a:lnTo>
                    <a:pt x="442" y="242"/>
                  </a:lnTo>
                  <a:lnTo>
                    <a:pt x="446" y="242"/>
                  </a:lnTo>
                  <a:lnTo>
                    <a:pt x="446" y="242"/>
                  </a:lnTo>
                  <a:lnTo>
                    <a:pt x="450" y="244"/>
                  </a:lnTo>
                  <a:lnTo>
                    <a:pt x="450" y="244"/>
                  </a:lnTo>
                  <a:lnTo>
                    <a:pt x="454" y="246"/>
                  </a:lnTo>
                  <a:lnTo>
                    <a:pt x="458" y="246"/>
                  </a:lnTo>
                  <a:lnTo>
                    <a:pt x="458" y="246"/>
                  </a:lnTo>
                  <a:lnTo>
                    <a:pt x="458" y="250"/>
                  </a:lnTo>
                  <a:lnTo>
                    <a:pt x="458" y="250"/>
                  </a:lnTo>
                  <a:lnTo>
                    <a:pt x="462" y="256"/>
                  </a:lnTo>
                  <a:lnTo>
                    <a:pt x="468" y="262"/>
                  </a:lnTo>
                  <a:lnTo>
                    <a:pt x="468" y="262"/>
                  </a:lnTo>
                  <a:lnTo>
                    <a:pt x="474" y="264"/>
                  </a:lnTo>
                  <a:lnTo>
                    <a:pt x="474" y="264"/>
                  </a:lnTo>
                  <a:lnTo>
                    <a:pt x="474" y="264"/>
                  </a:lnTo>
                  <a:lnTo>
                    <a:pt x="476" y="264"/>
                  </a:lnTo>
                  <a:lnTo>
                    <a:pt x="476" y="262"/>
                  </a:lnTo>
                  <a:lnTo>
                    <a:pt x="476" y="262"/>
                  </a:lnTo>
                  <a:lnTo>
                    <a:pt x="480" y="264"/>
                  </a:lnTo>
                  <a:lnTo>
                    <a:pt x="484" y="266"/>
                  </a:lnTo>
                  <a:lnTo>
                    <a:pt x="486" y="266"/>
                  </a:lnTo>
                  <a:lnTo>
                    <a:pt x="486" y="266"/>
                  </a:lnTo>
                  <a:lnTo>
                    <a:pt x="488" y="264"/>
                  </a:lnTo>
                  <a:lnTo>
                    <a:pt x="488" y="262"/>
                  </a:lnTo>
                  <a:lnTo>
                    <a:pt x="484" y="260"/>
                  </a:lnTo>
                  <a:lnTo>
                    <a:pt x="484" y="260"/>
                  </a:lnTo>
                  <a:lnTo>
                    <a:pt x="486" y="258"/>
                  </a:lnTo>
                  <a:lnTo>
                    <a:pt x="486" y="258"/>
                  </a:lnTo>
                  <a:lnTo>
                    <a:pt x="486" y="258"/>
                  </a:lnTo>
                  <a:lnTo>
                    <a:pt x="486" y="258"/>
                  </a:lnTo>
                  <a:lnTo>
                    <a:pt x="486" y="258"/>
                  </a:lnTo>
                  <a:lnTo>
                    <a:pt x="486" y="256"/>
                  </a:lnTo>
                  <a:lnTo>
                    <a:pt x="486" y="252"/>
                  </a:lnTo>
                  <a:lnTo>
                    <a:pt x="484" y="248"/>
                  </a:lnTo>
                  <a:lnTo>
                    <a:pt x="482" y="248"/>
                  </a:lnTo>
                  <a:lnTo>
                    <a:pt x="482" y="248"/>
                  </a:lnTo>
                  <a:lnTo>
                    <a:pt x="482" y="244"/>
                  </a:lnTo>
                  <a:lnTo>
                    <a:pt x="482" y="244"/>
                  </a:lnTo>
                  <a:lnTo>
                    <a:pt x="480" y="244"/>
                  </a:lnTo>
                  <a:lnTo>
                    <a:pt x="480" y="244"/>
                  </a:lnTo>
                  <a:lnTo>
                    <a:pt x="480" y="246"/>
                  </a:lnTo>
                  <a:lnTo>
                    <a:pt x="478" y="246"/>
                  </a:lnTo>
                  <a:lnTo>
                    <a:pt x="478" y="246"/>
                  </a:lnTo>
                  <a:lnTo>
                    <a:pt x="478" y="242"/>
                  </a:lnTo>
                  <a:lnTo>
                    <a:pt x="478" y="242"/>
                  </a:lnTo>
                  <a:lnTo>
                    <a:pt x="480" y="242"/>
                  </a:lnTo>
                  <a:lnTo>
                    <a:pt x="480" y="242"/>
                  </a:lnTo>
                  <a:lnTo>
                    <a:pt x="480" y="242"/>
                  </a:lnTo>
                  <a:lnTo>
                    <a:pt x="476" y="242"/>
                  </a:lnTo>
                  <a:lnTo>
                    <a:pt x="476" y="242"/>
                  </a:lnTo>
                  <a:lnTo>
                    <a:pt x="476" y="240"/>
                  </a:lnTo>
                  <a:lnTo>
                    <a:pt x="476" y="238"/>
                  </a:lnTo>
                  <a:lnTo>
                    <a:pt x="476" y="238"/>
                  </a:lnTo>
                  <a:lnTo>
                    <a:pt x="472" y="236"/>
                  </a:lnTo>
                  <a:lnTo>
                    <a:pt x="472" y="236"/>
                  </a:lnTo>
                  <a:lnTo>
                    <a:pt x="468" y="234"/>
                  </a:lnTo>
                  <a:lnTo>
                    <a:pt x="468" y="234"/>
                  </a:lnTo>
                  <a:lnTo>
                    <a:pt x="466" y="232"/>
                  </a:lnTo>
                  <a:lnTo>
                    <a:pt x="462" y="230"/>
                  </a:lnTo>
                  <a:lnTo>
                    <a:pt x="462" y="230"/>
                  </a:lnTo>
                  <a:lnTo>
                    <a:pt x="456" y="230"/>
                  </a:lnTo>
                  <a:lnTo>
                    <a:pt x="452" y="230"/>
                  </a:lnTo>
                  <a:lnTo>
                    <a:pt x="452" y="230"/>
                  </a:lnTo>
                  <a:lnTo>
                    <a:pt x="452" y="230"/>
                  </a:lnTo>
                  <a:lnTo>
                    <a:pt x="458" y="228"/>
                  </a:lnTo>
                  <a:lnTo>
                    <a:pt x="458" y="228"/>
                  </a:lnTo>
                  <a:lnTo>
                    <a:pt x="456" y="224"/>
                  </a:lnTo>
                  <a:lnTo>
                    <a:pt x="452" y="222"/>
                  </a:lnTo>
                  <a:lnTo>
                    <a:pt x="452" y="222"/>
                  </a:lnTo>
                  <a:lnTo>
                    <a:pt x="452" y="224"/>
                  </a:lnTo>
                  <a:lnTo>
                    <a:pt x="452" y="224"/>
                  </a:lnTo>
                  <a:lnTo>
                    <a:pt x="450" y="226"/>
                  </a:lnTo>
                  <a:lnTo>
                    <a:pt x="450" y="226"/>
                  </a:lnTo>
                  <a:lnTo>
                    <a:pt x="444" y="226"/>
                  </a:lnTo>
                  <a:lnTo>
                    <a:pt x="444" y="226"/>
                  </a:lnTo>
                  <a:lnTo>
                    <a:pt x="444" y="228"/>
                  </a:lnTo>
                  <a:lnTo>
                    <a:pt x="444" y="228"/>
                  </a:lnTo>
                  <a:lnTo>
                    <a:pt x="440" y="228"/>
                  </a:lnTo>
                  <a:lnTo>
                    <a:pt x="440" y="228"/>
                  </a:lnTo>
                  <a:lnTo>
                    <a:pt x="442" y="224"/>
                  </a:lnTo>
                  <a:lnTo>
                    <a:pt x="442" y="224"/>
                  </a:lnTo>
                  <a:lnTo>
                    <a:pt x="438" y="224"/>
                  </a:lnTo>
                  <a:lnTo>
                    <a:pt x="438" y="224"/>
                  </a:lnTo>
                  <a:lnTo>
                    <a:pt x="436" y="224"/>
                  </a:lnTo>
                  <a:lnTo>
                    <a:pt x="436" y="224"/>
                  </a:lnTo>
                  <a:lnTo>
                    <a:pt x="436" y="222"/>
                  </a:lnTo>
                  <a:lnTo>
                    <a:pt x="436" y="222"/>
                  </a:lnTo>
                  <a:lnTo>
                    <a:pt x="434" y="220"/>
                  </a:lnTo>
                  <a:lnTo>
                    <a:pt x="434" y="220"/>
                  </a:lnTo>
                  <a:lnTo>
                    <a:pt x="434" y="220"/>
                  </a:lnTo>
                  <a:lnTo>
                    <a:pt x="434" y="218"/>
                  </a:lnTo>
                  <a:lnTo>
                    <a:pt x="434" y="218"/>
                  </a:lnTo>
                  <a:lnTo>
                    <a:pt x="434" y="218"/>
                  </a:lnTo>
                  <a:lnTo>
                    <a:pt x="436" y="216"/>
                  </a:lnTo>
                  <a:lnTo>
                    <a:pt x="436" y="216"/>
                  </a:lnTo>
                  <a:lnTo>
                    <a:pt x="438" y="216"/>
                  </a:lnTo>
                  <a:lnTo>
                    <a:pt x="438" y="214"/>
                  </a:lnTo>
                  <a:lnTo>
                    <a:pt x="438" y="214"/>
                  </a:lnTo>
                  <a:lnTo>
                    <a:pt x="436" y="214"/>
                  </a:lnTo>
                  <a:lnTo>
                    <a:pt x="436" y="214"/>
                  </a:lnTo>
                  <a:lnTo>
                    <a:pt x="436" y="214"/>
                  </a:lnTo>
                  <a:lnTo>
                    <a:pt x="446" y="214"/>
                  </a:lnTo>
                  <a:lnTo>
                    <a:pt x="446" y="214"/>
                  </a:lnTo>
                  <a:lnTo>
                    <a:pt x="450" y="210"/>
                  </a:lnTo>
                  <a:lnTo>
                    <a:pt x="450" y="210"/>
                  </a:lnTo>
                  <a:lnTo>
                    <a:pt x="452" y="210"/>
                  </a:lnTo>
                  <a:lnTo>
                    <a:pt x="452" y="210"/>
                  </a:lnTo>
                  <a:lnTo>
                    <a:pt x="454" y="208"/>
                  </a:lnTo>
                  <a:lnTo>
                    <a:pt x="454" y="208"/>
                  </a:lnTo>
                  <a:lnTo>
                    <a:pt x="458" y="208"/>
                  </a:lnTo>
                  <a:lnTo>
                    <a:pt x="458" y="208"/>
                  </a:lnTo>
                  <a:lnTo>
                    <a:pt x="458" y="202"/>
                  </a:lnTo>
                  <a:lnTo>
                    <a:pt x="458" y="202"/>
                  </a:lnTo>
                  <a:lnTo>
                    <a:pt x="462" y="202"/>
                  </a:lnTo>
                  <a:lnTo>
                    <a:pt x="462" y="202"/>
                  </a:lnTo>
                  <a:lnTo>
                    <a:pt x="460" y="206"/>
                  </a:lnTo>
                  <a:lnTo>
                    <a:pt x="460" y="208"/>
                  </a:lnTo>
                  <a:lnTo>
                    <a:pt x="462" y="208"/>
                  </a:lnTo>
                  <a:lnTo>
                    <a:pt x="462" y="208"/>
                  </a:lnTo>
                  <a:lnTo>
                    <a:pt x="464" y="210"/>
                  </a:lnTo>
                  <a:lnTo>
                    <a:pt x="468" y="210"/>
                  </a:lnTo>
                  <a:lnTo>
                    <a:pt x="470" y="210"/>
                  </a:lnTo>
                  <a:lnTo>
                    <a:pt x="470" y="210"/>
                  </a:lnTo>
                  <a:lnTo>
                    <a:pt x="476" y="210"/>
                  </a:lnTo>
                  <a:lnTo>
                    <a:pt x="476" y="210"/>
                  </a:lnTo>
                  <a:lnTo>
                    <a:pt x="478" y="214"/>
                  </a:lnTo>
                  <a:lnTo>
                    <a:pt x="478" y="214"/>
                  </a:lnTo>
                  <a:lnTo>
                    <a:pt x="484" y="212"/>
                  </a:lnTo>
                  <a:lnTo>
                    <a:pt x="488" y="210"/>
                  </a:lnTo>
                  <a:lnTo>
                    <a:pt x="488" y="210"/>
                  </a:lnTo>
                  <a:lnTo>
                    <a:pt x="488" y="208"/>
                  </a:lnTo>
                  <a:lnTo>
                    <a:pt x="488" y="208"/>
                  </a:lnTo>
                  <a:lnTo>
                    <a:pt x="496" y="206"/>
                  </a:lnTo>
                  <a:lnTo>
                    <a:pt x="496" y="206"/>
                  </a:lnTo>
                  <a:lnTo>
                    <a:pt x="496" y="202"/>
                  </a:lnTo>
                  <a:lnTo>
                    <a:pt x="496" y="200"/>
                  </a:lnTo>
                  <a:lnTo>
                    <a:pt x="496" y="200"/>
                  </a:lnTo>
                  <a:lnTo>
                    <a:pt x="492" y="200"/>
                  </a:lnTo>
                  <a:lnTo>
                    <a:pt x="492" y="200"/>
                  </a:lnTo>
                  <a:lnTo>
                    <a:pt x="486" y="198"/>
                  </a:lnTo>
                  <a:lnTo>
                    <a:pt x="486" y="200"/>
                  </a:lnTo>
                  <a:lnTo>
                    <a:pt x="484" y="202"/>
                  </a:lnTo>
                  <a:lnTo>
                    <a:pt x="484" y="202"/>
                  </a:lnTo>
                  <a:lnTo>
                    <a:pt x="482" y="198"/>
                  </a:lnTo>
                  <a:lnTo>
                    <a:pt x="482" y="198"/>
                  </a:lnTo>
                  <a:lnTo>
                    <a:pt x="480" y="198"/>
                  </a:lnTo>
                  <a:lnTo>
                    <a:pt x="480" y="198"/>
                  </a:lnTo>
                  <a:lnTo>
                    <a:pt x="478" y="198"/>
                  </a:lnTo>
                  <a:lnTo>
                    <a:pt x="478" y="196"/>
                  </a:lnTo>
                  <a:lnTo>
                    <a:pt x="480" y="192"/>
                  </a:lnTo>
                  <a:lnTo>
                    <a:pt x="480" y="192"/>
                  </a:lnTo>
                  <a:lnTo>
                    <a:pt x="480" y="188"/>
                  </a:lnTo>
                  <a:lnTo>
                    <a:pt x="480" y="188"/>
                  </a:lnTo>
                  <a:lnTo>
                    <a:pt x="486" y="190"/>
                  </a:lnTo>
                  <a:lnTo>
                    <a:pt x="486" y="190"/>
                  </a:lnTo>
                  <a:lnTo>
                    <a:pt x="492" y="190"/>
                  </a:lnTo>
                  <a:lnTo>
                    <a:pt x="498" y="192"/>
                  </a:lnTo>
                  <a:lnTo>
                    <a:pt x="498" y="192"/>
                  </a:lnTo>
                  <a:lnTo>
                    <a:pt x="502" y="194"/>
                  </a:lnTo>
                  <a:lnTo>
                    <a:pt x="504" y="194"/>
                  </a:lnTo>
                  <a:lnTo>
                    <a:pt x="506" y="194"/>
                  </a:lnTo>
                  <a:lnTo>
                    <a:pt x="506" y="194"/>
                  </a:lnTo>
                  <a:lnTo>
                    <a:pt x="508" y="192"/>
                  </a:lnTo>
                  <a:lnTo>
                    <a:pt x="508" y="192"/>
                  </a:lnTo>
                  <a:lnTo>
                    <a:pt x="510" y="192"/>
                  </a:lnTo>
                  <a:lnTo>
                    <a:pt x="510" y="190"/>
                  </a:lnTo>
                  <a:lnTo>
                    <a:pt x="510" y="190"/>
                  </a:lnTo>
                  <a:lnTo>
                    <a:pt x="504" y="188"/>
                  </a:lnTo>
                  <a:lnTo>
                    <a:pt x="502" y="190"/>
                  </a:lnTo>
                  <a:lnTo>
                    <a:pt x="502" y="190"/>
                  </a:lnTo>
                  <a:lnTo>
                    <a:pt x="492" y="190"/>
                  </a:lnTo>
                  <a:lnTo>
                    <a:pt x="494" y="188"/>
                  </a:lnTo>
                  <a:lnTo>
                    <a:pt x="494" y="188"/>
                  </a:lnTo>
                  <a:lnTo>
                    <a:pt x="494" y="186"/>
                  </a:lnTo>
                  <a:lnTo>
                    <a:pt x="496" y="184"/>
                  </a:lnTo>
                  <a:lnTo>
                    <a:pt x="494" y="184"/>
                  </a:lnTo>
                  <a:lnTo>
                    <a:pt x="490" y="184"/>
                  </a:lnTo>
                  <a:lnTo>
                    <a:pt x="490" y="186"/>
                  </a:lnTo>
                  <a:lnTo>
                    <a:pt x="490" y="186"/>
                  </a:lnTo>
                  <a:lnTo>
                    <a:pt x="486" y="186"/>
                  </a:lnTo>
                  <a:lnTo>
                    <a:pt x="486" y="186"/>
                  </a:lnTo>
                  <a:lnTo>
                    <a:pt x="488" y="184"/>
                  </a:lnTo>
                  <a:lnTo>
                    <a:pt x="490" y="182"/>
                  </a:lnTo>
                  <a:lnTo>
                    <a:pt x="490" y="182"/>
                  </a:lnTo>
                  <a:lnTo>
                    <a:pt x="492" y="180"/>
                  </a:lnTo>
                  <a:lnTo>
                    <a:pt x="492" y="180"/>
                  </a:lnTo>
                  <a:lnTo>
                    <a:pt x="488" y="176"/>
                  </a:lnTo>
                  <a:lnTo>
                    <a:pt x="482" y="174"/>
                  </a:lnTo>
                  <a:lnTo>
                    <a:pt x="484" y="172"/>
                  </a:lnTo>
                  <a:lnTo>
                    <a:pt x="484" y="172"/>
                  </a:lnTo>
                  <a:lnTo>
                    <a:pt x="484" y="172"/>
                  </a:lnTo>
                  <a:lnTo>
                    <a:pt x="486" y="172"/>
                  </a:lnTo>
                  <a:lnTo>
                    <a:pt x="486" y="172"/>
                  </a:lnTo>
                  <a:lnTo>
                    <a:pt x="488" y="174"/>
                  </a:lnTo>
                  <a:lnTo>
                    <a:pt x="488" y="174"/>
                  </a:lnTo>
                  <a:lnTo>
                    <a:pt x="494" y="174"/>
                  </a:lnTo>
                  <a:lnTo>
                    <a:pt x="494" y="174"/>
                  </a:lnTo>
                  <a:lnTo>
                    <a:pt x="496" y="172"/>
                  </a:lnTo>
                  <a:lnTo>
                    <a:pt x="498" y="172"/>
                  </a:lnTo>
                  <a:lnTo>
                    <a:pt x="498" y="172"/>
                  </a:lnTo>
                  <a:lnTo>
                    <a:pt x="498" y="174"/>
                  </a:lnTo>
                  <a:lnTo>
                    <a:pt x="498" y="176"/>
                  </a:lnTo>
                  <a:lnTo>
                    <a:pt x="498" y="176"/>
                  </a:lnTo>
                  <a:lnTo>
                    <a:pt x="498" y="176"/>
                  </a:lnTo>
                  <a:lnTo>
                    <a:pt x="502" y="176"/>
                  </a:lnTo>
                  <a:lnTo>
                    <a:pt x="502" y="176"/>
                  </a:lnTo>
                  <a:lnTo>
                    <a:pt x="502" y="168"/>
                  </a:lnTo>
                  <a:lnTo>
                    <a:pt x="500" y="160"/>
                  </a:lnTo>
                  <a:lnTo>
                    <a:pt x="498" y="160"/>
                  </a:lnTo>
                  <a:lnTo>
                    <a:pt x="498" y="160"/>
                  </a:lnTo>
                  <a:lnTo>
                    <a:pt x="498" y="158"/>
                  </a:lnTo>
                  <a:lnTo>
                    <a:pt x="500" y="158"/>
                  </a:lnTo>
                  <a:lnTo>
                    <a:pt x="500" y="158"/>
                  </a:lnTo>
                  <a:lnTo>
                    <a:pt x="500" y="156"/>
                  </a:lnTo>
                  <a:lnTo>
                    <a:pt x="498" y="154"/>
                  </a:lnTo>
                  <a:lnTo>
                    <a:pt x="498" y="154"/>
                  </a:lnTo>
                  <a:lnTo>
                    <a:pt x="494" y="154"/>
                  </a:lnTo>
                  <a:lnTo>
                    <a:pt x="490" y="158"/>
                  </a:lnTo>
                  <a:lnTo>
                    <a:pt x="490" y="158"/>
                  </a:lnTo>
                  <a:lnTo>
                    <a:pt x="488" y="156"/>
                  </a:lnTo>
                  <a:lnTo>
                    <a:pt x="488" y="156"/>
                  </a:lnTo>
                  <a:lnTo>
                    <a:pt x="488" y="156"/>
                  </a:lnTo>
                  <a:lnTo>
                    <a:pt x="484" y="156"/>
                  </a:lnTo>
                  <a:lnTo>
                    <a:pt x="484" y="156"/>
                  </a:lnTo>
                  <a:lnTo>
                    <a:pt x="484" y="152"/>
                  </a:lnTo>
                  <a:lnTo>
                    <a:pt x="484" y="152"/>
                  </a:lnTo>
                  <a:lnTo>
                    <a:pt x="488" y="154"/>
                  </a:lnTo>
                  <a:lnTo>
                    <a:pt x="488" y="154"/>
                  </a:lnTo>
                  <a:lnTo>
                    <a:pt x="490" y="152"/>
                  </a:lnTo>
                  <a:lnTo>
                    <a:pt x="490" y="152"/>
                  </a:lnTo>
                  <a:lnTo>
                    <a:pt x="492" y="150"/>
                  </a:lnTo>
                  <a:lnTo>
                    <a:pt x="490" y="146"/>
                  </a:lnTo>
                  <a:lnTo>
                    <a:pt x="490" y="146"/>
                  </a:lnTo>
                  <a:lnTo>
                    <a:pt x="492" y="146"/>
                  </a:lnTo>
                  <a:lnTo>
                    <a:pt x="490" y="146"/>
                  </a:lnTo>
                  <a:lnTo>
                    <a:pt x="490" y="146"/>
                  </a:lnTo>
                  <a:lnTo>
                    <a:pt x="490" y="142"/>
                  </a:lnTo>
                  <a:lnTo>
                    <a:pt x="490" y="142"/>
                  </a:lnTo>
                  <a:lnTo>
                    <a:pt x="498" y="144"/>
                  </a:lnTo>
                  <a:lnTo>
                    <a:pt x="504" y="144"/>
                  </a:lnTo>
                  <a:lnTo>
                    <a:pt x="504" y="144"/>
                  </a:lnTo>
                  <a:lnTo>
                    <a:pt x="508" y="148"/>
                  </a:lnTo>
                  <a:lnTo>
                    <a:pt x="508" y="148"/>
                  </a:lnTo>
                  <a:lnTo>
                    <a:pt x="516" y="146"/>
                  </a:lnTo>
                  <a:lnTo>
                    <a:pt x="514" y="146"/>
                  </a:lnTo>
                  <a:lnTo>
                    <a:pt x="514" y="146"/>
                  </a:lnTo>
                  <a:lnTo>
                    <a:pt x="514" y="142"/>
                  </a:lnTo>
                  <a:lnTo>
                    <a:pt x="514" y="140"/>
                  </a:lnTo>
                  <a:lnTo>
                    <a:pt x="514" y="140"/>
                  </a:lnTo>
                  <a:lnTo>
                    <a:pt x="512" y="136"/>
                  </a:lnTo>
                  <a:lnTo>
                    <a:pt x="512" y="136"/>
                  </a:lnTo>
                  <a:lnTo>
                    <a:pt x="510" y="134"/>
                  </a:lnTo>
                  <a:lnTo>
                    <a:pt x="510" y="134"/>
                  </a:lnTo>
                  <a:lnTo>
                    <a:pt x="508" y="132"/>
                  </a:lnTo>
                  <a:lnTo>
                    <a:pt x="508" y="132"/>
                  </a:lnTo>
                  <a:lnTo>
                    <a:pt x="506" y="132"/>
                  </a:lnTo>
                  <a:lnTo>
                    <a:pt x="506" y="132"/>
                  </a:lnTo>
                  <a:lnTo>
                    <a:pt x="506" y="136"/>
                  </a:lnTo>
                  <a:lnTo>
                    <a:pt x="506" y="136"/>
                  </a:lnTo>
                  <a:lnTo>
                    <a:pt x="504" y="136"/>
                  </a:lnTo>
                  <a:lnTo>
                    <a:pt x="502" y="134"/>
                  </a:lnTo>
                  <a:lnTo>
                    <a:pt x="502" y="134"/>
                  </a:lnTo>
                  <a:lnTo>
                    <a:pt x="496" y="136"/>
                  </a:lnTo>
                  <a:lnTo>
                    <a:pt x="496" y="136"/>
                  </a:lnTo>
                  <a:lnTo>
                    <a:pt x="496" y="128"/>
                  </a:lnTo>
                  <a:lnTo>
                    <a:pt x="496" y="128"/>
                  </a:lnTo>
                  <a:lnTo>
                    <a:pt x="504" y="128"/>
                  </a:lnTo>
                  <a:lnTo>
                    <a:pt x="504" y="128"/>
                  </a:lnTo>
                  <a:lnTo>
                    <a:pt x="506" y="128"/>
                  </a:lnTo>
                  <a:lnTo>
                    <a:pt x="506" y="126"/>
                  </a:lnTo>
                  <a:lnTo>
                    <a:pt x="500" y="124"/>
                  </a:lnTo>
                  <a:lnTo>
                    <a:pt x="500" y="124"/>
                  </a:lnTo>
                  <a:lnTo>
                    <a:pt x="498" y="122"/>
                  </a:lnTo>
                  <a:lnTo>
                    <a:pt x="498" y="122"/>
                  </a:lnTo>
                  <a:lnTo>
                    <a:pt x="496" y="122"/>
                  </a:lnTo>
                  <a:lnTo>
                    <a:pt x="494" y="124"/>
                  </a:lnTo>
                  <a:lnTo>
                    <a:pt x="494" y="124"/>
                  </a:lnTo>
                  <a:lnTo>
                    <a:pt x="490" y="122"/>
                  </a:lnTo>
                  <a:lnTo>
                    <a:pt x="486" y="120"/>
                  </a:lnTo>
                  <a:lnTo>
                    <a:pt x="486" y="120"/>
                  </a:lnTo>
                  <a:lnTo>
                    <a:pt x="484" y="122"/>
                  </a:lnTo>
                  <a:lnTo>
                    <a:pt x="484" y="122"/>
                  </a:lnTo>
                  <a:lnTo>
                    <a:pt x="482" y="120"/>
                  </a:lnTo>
                  <a:lnTo>
                    <a:pt x="484" y="120"/>
                  </a:lnTo>
                  <a:lnTo>
                    <a:pt x="484" y="120"/>
                  </a:lnTo>
                  <a:lnTo>
                    <a:pt x="484" y="116"/>
                  </a:lnTo>
                  <a:lnTo>
                    <a:pt x="484" y="116"/>
                  </a:lnTo>
                  <a:lnTo>
                    <a:pt x="492" y="118"/>
                  </a:lnTo>
                  <a:lnTo>
                    <a:pt x="498" y="120"/>
                  </a:lnTo>
                  <a:lnTo>
                    <a:pt x="498" y="120"/>
                  </a:lnTo>
                  <a:lnTo>
                    <a:pt x="500" y="114"/>
                  </a:lnTo>
                  <a:lnTo>
                    <a:pt x="500" y="114"/>
                  </a:lnTo>
                  <a:lnTo>
                    <a:pt x="502" y="112"/>
                  </a:lnTo>
                  <a:lnTo>
                    <a:pt x="506" y="110"/>
                  </a:lnTo>
                  <a:lnTo>
                    <a:pt x="506" y="110"/>
                  </a:lnTo>
                  <a:lnTo>
                    <a:pt x="506" y="108"/>
                  </a:lnTo>
                  <a:lnTo>
                    <a:pt x="506" y="106"/>
                  </a:lnTo>
                  <a:lnTo>
                    <a:pt x="506" y="106"/>
                  </a:lnTo>
                  <a:lnTo>
                    <a:pt x="506" y="106"/>
                  </a:lnTo>
                  <a:lnTo>
                    <a:pt x="506" y="104"/>
                  </a:lnTo>
                  <a:lnTo>
                    <a:pt x="506" y="104"/>
                  </a:lnTo>
                  <a:lnTo>
                    <a:pt x="510" y="98"/>
                  </a:lnTo>
                  <a:lnTo>
                    <a:pt x="508" y="98"/>
                  </a:lnTo>
                  <a:lnTo>
                    <a:pt x="506" y="94"/>
                  </a:lnTo>
                  <a:lnTo>
                    <a:pt x="506" y="94"/>
                  </a:lnTo>
                  <a:lnTo>
                    <a:pt x="520" y="94"/>
                  </a:lnTo>
                  <a:lnTo>
                    <a:pt x="520" y="94"/>
                  </a:lnTo>
                  <a:lnTo>
                    <a:pt x="520" y="90"/>
                  </a:lnTo>
                  <a:lnTo>
                    <a:pt x="520" y="90"/>
                  </a:lnTo>
                  <a:lnTo>
                    <a:pt x="524" y="86"/>
                  </a:lnTo>
                  <a:lnTo>
                    <a:pt x="524" y="84"/>
                  </a:lnTo>
                  <a:lnTo>
                    <a:pt x="524" y="82"/>
                  </a:lnTo>
                  <a:lnTo>
                    <a:pt x="518" y="80"/>
                  </a:lnTo>
                  <a:lnTo>
                    <a:pt x="518" y="80"/>
                  </a:lnTo>
                  <a:lnTo>
                    <a:pt x="514" y="80"/>
                  </a:lnTo>
                  <a:lnTo>
                    <a:pt x="508" y="80"/>
                  </a:lnTo>
                  <a:lnTo>
                    <a:pt x="508" y="80"/>
                  </a:lnTo>
                  <a:lnTo>
                    <a:pt x="506" y="82"/>
                  </a:lnTo>
                  <a:lnTo>
                    <a:pt x="506" y="82"/>
                  </a:lnTo>
                  <a:lnTo>
                    <a:pt x="498" y="86"/>
                  </a:lnTo>
                  <a:lnTo>
                    <a:pt x="498" y="86"/>
                  </a:lnTo>
                  <a:lnTo>
                    <a:pt x="498" y="82"/>
                  </a:lnTo>
                  <a:lnTo>
                    <a:pt x="498" y="82"/>
                  </a:lnTo>
                  <a:lnTo>
                    <a:pt x="496" y="80"/>
                  </a:lnTo>
                  <a:lnTo>
                    <a:pt x="496" y="78"/>
                  </a:lnTo>
                  <a:lnTo>
                    <a:pt x="498" y="76"/>
                  </a:lnTo>
                  <a:lnTo>
                    <a:pt x="498" y="76"/>
                  </a:lnTo>
                  <a:lnTo>
                    <a:pt x="502" y="74"/>
                  </a:lnTo>
                  <a:lnTo>
                    <a:pt x="508" y="76"/>
                  </a:lnTo>
                  <a:lnTo>
                    <a:pt x="520" y="78"/>
                  </a:lnTo>
                  <a:lnTo>
                    <a:pt x="520" y="78"/>
                  </a:lnTo>
                  <a:lnTo>
                    <a:pt x="528" y="78"/>
                  </a:lnTo>
                  <a:lnTo>
                    <a:pt x="528" y="78"/>
                  </a:lnTo>
                  <a:lnTo>
                    <a:pt x="530" y="78"/>
                  </a:lnTo>
                  <a:lnTo>
                    <a:pt x="530" y="78"/>
                  </a:lnTo>
                  <a:lnTo>
                    <a:pt x="540" y="70"/>
                  </a:lnTo>
                  <a:lnTo>
                    <a:pt x="540" y="70"/>
                  </a:lnTo>
                  <a:lnTo>
                    <a:pt x="540" y="68"/>
                  </a:lnTo>
                  <a:lnTo>
                    <a:pt x="540" y="66"/>
                  </a:lnTo>
                  <a:lnTo>
                    <a:pt x="540" y="66"/>
                  </a:lnTo>
                  <a:lnTo>
                    <a:pt x="532" y="66"/>
                  </a:lnTo>
                  <a:lnTo>
                    <a:pt x="532" y="66"/>
                  </a:lnTo>
                  <a:lnTo>
                    <a:pt x="530" y="70"/>
                  </a:lnTo>
                  <a:lnTo>
                    <a:pt x="530" y="70"/>
                  </a:lnTo>
                  <a:lnTo>
                    <a:pt x="524" y="68"/>
                  </a:lnTo>
                  <a:lnTo>
                    <a:pt x="524" y="68"/>
                  </a:lnTo>
                  <a:lnTo>
                    <a:pt x="520" y="70"/>
                  </a:lnTo>
                  <a:lnTo>
                    <a:pt x="514" y="70"/>
                  </a:lnTo>
                  <a:lnTo>
                    <a:pt x="514" y="70"/>
                  </a:lnTo>
                  <a:lnTo>
                    <a:pt x="508" y="66"/>
                  </a:lnTo>
                  <a:lnTo>
                    <a:pt x="508" y="66"/>
                  </a:lnTo>
                  <a:lnTo>
                    <a:pt x="514" y="66"/>
                  </a:lnTo>
                  <a:lnTo>
                    <a:pt x="518" y="66"/>
                  </a:lnTo>
                  <a:lnTo>
                    <a:pt x="518" y="66"/>
                  </a:lnTo>
                  <a:lnTo>
                    <a:pt x="520" y="64"/>
                  </a:lnTo>
                  <a:lnTo>
                    <a:pt x="520" y="64"/>
                  </a:lnTo>
                  <a:lnTo>
                    <a:pt x="526" y="64"/>
                  </a:lnTo>
                  <a:lnTo>
                    <a:pt x="532" y="66"/>
                  </a:lnTo>
                  <a:lnTo>
                    <a:pt x="532" y="66"/>
                  </a:lnTo>
                  <a:lnTo>
                    <a:pt x="536" y="64"/>
                  </a:lnTo>
                  <a:lnTo>
                    <a:pt x="536" y="64"/>
                  </a:lnTo>
                  <a:lnTo>
                    <a:pt x="540" y="64"/>
                  </a:lnTo>
                  <a:lnTo>
                    <a:pt x="544" y="66"/>
                  </a:lnTo>
                  <a:lnTo>
                    <a:pt x="544" y="66"/>
                  </a:lnTo>
                  <a:lnTo>
                    <a:pt x="544" y="62"/>
                  </a:lnTo>
                  <a:lnTo>
                    <a:pt x="544" y="62"/>
                  </a:lnTo>
                  <a:lnTo>
                    <a:pt x="554" y="62"/>
                  </a:lnTo>
                  <a:lnTo>
                    <a:pt x="554" y="62"/>
                  </a:lnTo>
                  <a:lnTo>
                    <a:pt x="554" y="58"/>
                  </a:lnTo>
                  <a:lnTo>
                    <a:pt x="554" y="58"/>
                  </a:lnTo>
                  <a:lnTo>
                    <a:pt x="554" y="58"/>
                  </a:lnTo>
                  <a:lnTo>
                    <a:pt x="558" y="58"/>
                  </a:lnTo>
                  <a:lnTo>
                    <a:pt x="558" y="58"/>
                  </a:lnTo>
                  <a:lnTo>
                    <a:pt x="562" y="54"/>
                  </a:lnTo>
                  <a:lnTo>
                    <a:pt x="562" y="54"/>
                  </a:lnTo>
                  <a:lnTo>
                    <a:pt x="566" y="54"/>
                  </a:lnTo>
                  <a:lnTo>
                    <a:pt x="568" y="54"/>
                  </a:lnTo>
                  <a:lnTo>
                    <a:pt x="568" y="54"/>
                  </a:lnTo>
                  <a:lnTo>
                    <a:pt x="570" y="52"/>
                  </a:lnTo>
                  <a:lnTo>
                    <a:pt x="570" y="52"/>
                  </a:lnTo>
                  <a:lnTo>
                    <a:pt x="568" y="50"/>
                  </a:lnTo>
                  <a:lnTo>
                    <a:pt x="566" y="46"/>
                  </a:lnTo>
                  <a:lnTo>
                    <a:pt x="566" y="46"/>
                  </a:lnTo>
                  <a:lnTo>
                    <a:pt x="560" y="48"/>
                  </a:lnTo>
                  <a:lnTo>
                    <a:pt x="554" y="48"/>
                  </a:lnTo>
                  <a:lnTo>
                    <a:pt x="554" y="48"/>
                  </a:lnTo>
                  <a:lnTo>
                    <a:pt x="538" y="44"/>
                  </a:lnTo>
                  <a:lnTo>
                    <a:pt x="538" y="44"/>
                  </a:lnTo>
                  <a:lnTo>
                    <a:pt x="534" y="44"/>
                  </a:lnTo>
                  <a:lnTo>
                    <a:pt x="528" y="46"/>
                  </a:lnTo>
                  <a:lnTo>
                    <a:pt x="528" y="46"/>
                  </a:lnTo>
                  <a:lnTo>
                    <a:pt x="524" y="44"/>
                  </a:lnTo>
                  <a:lnTo>
                    <a:pt x="520" y="44"/>
                  </a:lnTo>
                  <a:lnTo>
                    <a:pt x="520" y="48"/>
                  </a:lnTo>
                  <a:lnTo>
                    <a:pt x="520" y="48"/>
                  </a:lnTo>
                  <a:lnTo>
                    <a:pt x="510" y="50"/>
                  </a:lnTo>
                  <a:lnTo>
                    <a:pt x="510" y="50"/>
                  </a:lnTo>
                  <a:lnTo>
                    <a:pt x="510" y="52"/>
                  </a:lnTo>
                  <a:lnTo>
                    <a:pt x="510" y="52"/>
                  </a:lnTo>
                  <a:lnTo>
                    <a:pt x="508" y="52"/>
                  </a:lnTo>
                  <a:lnTo>
                    <a:pt x="506" y="52"/>
                  </a:lnTo>
                  <a:lnTo>
                    <a:pt x="506" y="52"/>
                  </a:lnTo>
                  <a:lnTo>
                    <a:pt x="502" y="50"/>
                  </a:lnTo>
                  <a:lnTo>
                    <a:pt x="500" y="52"/>
                  </a:lnTo>
                  <a:lnTo>
                    <a:pt x="500" y="52"/>
                  </a:lnTo>
                  <a:lnTo>
                    <a:pt x="496" y="46"/>
                  </a:lnTo>
                  <a:lnTo>
                    <a:pt x="496" y="46"/>
                  </a:lnTo>
                  <a:lnTo>
                    <a:pt x="492" y="52"/>
                  </a:lnTo>
                  <a:lnTo>
                    <a:pt x="488" y="54"/>
                  </a:lnTo>
                  <a:lnTo>
                    <a:pt x="488" y="54"/>
                  </a:lnTo>
                  <a:lnTo>
                    <a:pt x="484" y="54"/>
                  </a:lnTo>
                  <a:lnTo>
                    <a:pt x="484" y="54"/>
                  </a:lnTo>
                  <a:lnTo>
                    <a:pt x="480" y="58"/>
                  </a:lnTo>
                  <a:lnTo>
                    <a:pt x="480" y="58"/>
                  </a:lnTo>
                  <a:lnTo>
                    <a:pt x="474" y="60"/>
                  </a:lnTo>
                  <a:lnTo>
                    <a:pt x="466" y="62"/>
                  </a:lnTo>
                  <a:lnTo>
                    <a:pt x="466" y="62"/>
                  </a:lnTo>
                  <a:lnTo>
                    <a:pt x="462" y="60"/>
                  </a:lnTo>
                  <a:lnTo>
                    <a:pt x="462" y="60"/>
                  </a:lnTo>
                  <a:lnTo>
                    <a:pt x="460" y="62"/>
                  </a:lnTo>
                  <a:lnTo>
                    <a:pt x="460" y="62"/>
                  </a:lnTo>
                  <a:lnTo>
                    <a:pt x="456" y="60"/>
                  </a:lnTo>
                  <a:lnTo>
                    <a:pt x="456" y="60"/>
                  </a:lnTo>
                  <a:lnTo>
                    <a:pt x="460" y="58"/>
                  </a:lnTo>
                  <a:lnTo>
                    <a:pt x="464" y="56"/>
                  </a:lnTo>
                  <a:lnTo>
                    <a:pt x="464" y="56"/>
                  </a:lnTo>
                  <a:lnTo>
                    <a:pt x="468" y="56"/>
                  </a:lnTo>
                  <a:lnTo>
                    <a:pt x="468" y="56"/>
                  </a:lnTo>
                  <a:lnTo>
                    <a:pt x="468" y="54"/>
                  </a:lnTo>
                  <a:lnTo>
                    <a:pt x="468" y="54"/>
                  </a:lnTo>
                  <a:lnTo>
                    <a:pt x="474" y="52"/>
                  </a:lnTo>
                  <a:lnTo>
                    <a:pt x="474" y="52"/>
                  </a:lnTo>
                  <a:lnTo>
                    <a:pt x="480" y="44"/>
                  </a:lnTo>
                  <a:lnTo>
                    <a:pt x="480" y="44"/>
                  </a:lnTo>
                  <a:lnTo>
                    <a:pt x="480" y="42"/>
                  </a:lnTo>
                  <a:lnTo>
                    <a:pt x="480" y="40"/>
                  </a:lnTo>
                  <a:lnTo>
                    <a:pt x="480" y="40"/>
                  </a:lnTo>
                  <a:lnTo>
                    <a:pt x="468" y="42"/>
                  </a:lnTo>
                  <a:lnTo>
                    <a:pt x="468" y="42"/>
                  </a:lnTo>
                  <a:lnTo>
                    <a:pt x="466" y="40"/>
                  </a:lnTo>
                  <a:lnTo>
                    <a:pt x="462" y="40"/>
                  </a:lnTo>
                  <a:lnTo>
                    <a:pt x="462" y="40"/>
                  </a:lnTo>
                  <a:lnTo>
                    <a:pt x="460" y="42"/>
                  </a:lnTo>
                  <a:lnTo>
                    <a:pt x="460" y="42"/>
                  </a:lnTo>
                  <a:lnTo>
                    <a:pt x="460" y="48"/>
                  </a:lnTo>
                  <a:lnTo>
                    <a:pt x="460" y="48"/>
                  </a:lnTo>
                  <a:lnTo>
                    <a:pt x="438" y="48"/>
                  </a:lnTo>
                  <a:lnTo>
                    <a:pt x="438" y="48"/>
                  </a:lnTo>
                  <a:lnTo>
                    <a:pt x="440" y="46"/>
                  </a:lnTo>
                  <a:lnTo>
                    <a:pt x="440" y="46"/>
                  </a:lnTo>
                  <a:lnTo>
                    <a:pt x="440" y="42"/>
                  </a:lnTo>
                  <a:lnTo>
                    <a:pt x="440" y="42"/>
                  </a:lnTo>
                  <a:lnTo>
                    <a:pt x="440" y="42"/>
                  </a:lnTo>
                  <a:lnTo>
                    <a:pt x="438" y="40"/>
                  </a:lnTo>
                  <a:lnTo>
                    <a:pt x="438" y="40"/>
                  </a:lnTo>
                  <a:lnTo>
                    <a:pt x="414" y="42"/>
                  </a:lnTo>
                  <a:lnTo>
                    <a:pt x="414" y="42"/>
                  </a:lnTo>
                  <a:lnTo>
                    <a:pt x="410" y="42"/>
                  </a:lnTo>
                  <a:lnTo>
                    <a:pt x="410" y="42"/>
                  </a:lnTo>
                  <a:lnTo>
                    <a:pt x="406" y="42"/>
                  </a:lnTo>
                  <a:lnTo>
                    <a:pt x="404" y="42"/>
                  </a:lnTo>
                  <a:lnTo>
                    <a:pt x="404" y="42"/>
                  </a:lnTo>
                  <a:lnTo>
                    <a:pt x="400" y="42"/>
                  </a:lnTo>
                  <a:lnTo>
                    <a:pt x="398" y="42"/>
                  </a:lnTo>
                  <a:lnTo>
                    <a:pt x="398" y="42"/>
                  </a:lnTo>
                  <a:lnTo>
                    <a:pt x="398" y="42"/>
                  </a:lnTo>
                  <a:lnTo>
                    <a:pt x="396" y="42"/>
                  </a:lnTo>
                  <a:lnTo>
                    <a:pt x="396" y="42"/>
                  </a:lnTo>
                  <a:lnTo>
                    <a:pt x="390" y="44"/>
                  </a:lnTo>
                  <a:lnTo>
                    <a:pt x="384" y="46"/>
                  </a:lnTo>
                  <a:lnTo>
                    <a:pt x="384" y="46"/>
                  </a:lnTo>
                  <a:lnTo>
                    <a:pt x="380" y="46"/>
                  </a:lnTo>
                  <a:lnTo>
                    <a:pt x="376" y="46"/>
                  </a:lnTo>
                  <a:lnTo>
                    <a:pt x="376" y="46"/>
                  </a:lnTo>
                  <a:lnTo>
                    <a:pt x="374" y="48"/>
                  </a:lnTo>
                  <a:lnTo>
                    <a:pt x="374" y="50"/>
                  </a:lnTo>
                  <a:lnTo>
                    <a:pt x="374" y="50"/>
                  </a:lnTo>
                  <a:lnTo>
                    <a:pt x="370" y="50"/>
                  </a:lnTo>
                  <a:lnTo>
                    <a:pt x="370" y="50"/>
                  </a:lnTo>
                  <a:lnTo>
                    <a:pt x="372" y="46"/>
                  </a:lnTo>
                  <a:lnTo>
                    <a:pt x="372" y="46"/>
                  </a:lnTo>
                  <a:lnTo>
                    <a:pt x="378" y="46"/>
                  </a:lnTo>
                  <a:lnTo>
                    <a:pt x="384" y="44"/>
                  </a:lnTo>
                  <a:lnTo>
                    <a:pt x="384" y="44"/>
                  </a:lnTo>
                  <a:lnTo>
                    <a:pt x="386" y="42"/>
                  </a:lnTo>
                  <a:lnTo>
                    <a:pt x="386" y="42"/>
                  </a:lnTo>
                  <a:lnTo>
                    <a:pt x="386" y="42"/>
                  </a:lnTo>
                  <a:lnTo>
                    <a:pt x="390" y="42"/>
                  </a:lnTo>
                  <a:lnTo>
                    <a:pt x="394" y="42"/>
                  </a:lnTo>
                  <a:lnTo>
                    <a:pt x="394" y="42"/>
                  </a:lnTo>
                  <a:lnTo>
                    <a:pt x="394" y="38"/>
                  </a:lnTo>
                  <a:lnTo>
                    <a:pt x="394" y="38"/>
                  </a:lnTo>
                  <a:lnTo>
                    <a:pt x="400" y="36"/>
                  </a:lnTo>
                  <a:lnTo>
                    <a:pt x="400" y="36"/>
                  </a:lnTo>
                  <a:lnTo>
                    <a:pt x="408" y="36"/>
                  </a:lnTo>
                  <a:lnTo>
                    <a:pt x="408" y="36"/>
                  </a:lnTo>
                  <a:lnTo>
                    <a:pt x="424" y="36"/>
                  </a:lnTo>
                  <a:lnTo>
                    <a:pt x="428" y="38"/>
                  </a:lnTo>
                  <a:lnTo>
                    <a:pt x="428" y="38"/>
                  </a:lnTo>
                  <a:lnTo>
                    <a:pt x="440" y="36"/>
                  </a:lnTo>
                  <a:lnTo>
                    <a:pt x="454" y="36"/>
                  </a:lnTo>
                  <a:lnTo>
                    <a:pt x="454" y="36"/>
                  </a:lnTo>
                  <a:lnTo>
                    <a:pt x="458" y="38"/>
                  </a:lnTo>
                  <a:lnTo>
                    <a:pt x="464" y="38"/>
                  </a:lnTo>
                  <a:lnTo>
                    <a:pt x="464" y="38"/>
                  </a:lnTo>
                  <a:lnTo>
                    <a:pt x="472" y="36"/>
                  </a:lnTo>
                  <a:lnTo>
                    <a:pt x="472" y="36"/>
                  </a:lnTo>
                  <a:lnTo>
                    <a:pt x="478" y="36"/>
                  </a:lnTo>
                  <a:lnTo>
                    <a:pt x="482" y="36"/>
                  </a:lnTo>
                  <a:lnTo>
                    <a:pt x="482" y="3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5" name="Freeform 121"/>
            <p:cNvSpPr>
              <a:spLocks noChangeAspect="1"/>
            </p:cNvSpPr>
            <p:nvPr/>
          </p:nvSpPr>
          <p:spPr bwMode="gray">
            <a:xfrm>
              <a:off x="7124900" y="3187304"/>
              <a:ext cx="136009" cy="184237"/>
            </a:xfrm>
            <a:custGeom>
              <a:avLst/>
              <a:gdLst/>
              <a:ahLst/>
              <a:cxnLst>
                <a:cxn ang="0">
                  <a:pos x="50" y="100"/>
                </a:cxn>
                <a:cxn ang="0">
                  <a:pos x="46" y="96"/>
                </a:cxn>
                <a:cxn ang="0">
                  <a:pos x="46" y="88"/>
                </a:cxn>
                <a:cxn ang="0">
                  <a:pos x="32" y="82"/>
                </a:cxn>
                <a:cxn ang="0">
                  <a:pos x="34" y="78"/>
                </a:cxn>
                <a:cxn ang="0">
                  <a:pos x="36" y="76"/>
                </a:cxn>
                <a:cxn ang="0">
                  <a:pos x="36" y="68"/>
                </a:cxn>
                <a:cxn ang="0">
                  <a:pos x="40" y="66"/>
                </a:cxn>
                <a:cxn ang="0">
                  <a:pos x="46" y="64"/>
                </a:cxn>
                <a:cxn ang="0">
                  <a:pos x="52" y="54"/>
                </a:cxn>
                <a:cxn ang="0">
                  <a:pos x="56" y="54"/>
                </a:cxn>
                <a:cxn ang="0">
                  <a:pos x="58" y="54"/>
                </a:cxn>
                <a:cxn ang="0">
                  <a:pos x="62" y="48"/>
                </a:cxn>
                <a:cxn ang="0">
                  <a:pos x="66" y="48"/>
                </a:cxn>
                <a:cxn ang="0">
                  <a:pos x="66" y="44"/>
                </a:cxn>
                <a:cxn ang="0">
                  <a:pos x="62" y="34"/>
                </a:cxn>
                <a:cxn ang="0">
                  <a:pos x="64" y="30"/>
                </a:cxn>
                <a:cxn ang="0">
                  <a:pos x="66" y="28"/>
                </a:cxn>
                <a:cxn ang="0">
                  <a:pos x="68" y="24"/>
                </a:cxn>
                <a:cxn ang="0">
                  <a:pos x="70" y="24"/>
                </a:cxn>
                <a:cxn ang="0">
                  <a:pos x="72" y="24"/>
                </a:cxn>
                <a:cxn ang="0">
                  <a:pos x="80" y="14"/>
                </a:cxn>
                <a:cxn ang="0">
                  <a:pos x="70" y="10"/>
                </a:cxn>
                <a:cxn ang="0">
                  <a:pos x="64" y="16"/>
                </a:cxn>
                <a:cxn ang="0">
                  <a:pos x="54" y="18"/>
                </a:cxn>
                <a:cxn ang="0">
                  <a:pos x="50" y="26"/>
                </a:cxn>
                <a:cxn ang="0">
                  <a:pos x="42" y="30"/>
                </a:cxn>
                <a:cxn ang="0">
                  <a:pos x="34" y="22"/>
                </a:cxn>
                <a:cxn ang="0">
                  <a:pos x="28" y="32"/>
                </a:cxn>
                <a:cxn ang="0">
                  <a:pos x="16" y="46"/>
                </a:cxn>
                <a:cxn ang="0">
                  <a:pos x="6" y="60"/>
                </a:cxn>
                <a:cxn ang="0">
                  <a:pos x="0" y="70"/>
                </a:cxn>
                <a:cxn ang="0">
                  <a:pos x="2" y="72"/>
                </a:cxn>
                <a:cxn ang="0">
                  <a:pos x="8" y="76"/>
                </a:cxn>
                <a:cxn ang="0">
                  <a:pos x="10" y="88"/>
                </a:cxn>
                <a:cxn ang="0">
                  <a:pos x="6" y="90"/>
                </a:cxn>
                <a:cxn ang="0">
                  <a:pos x="0" y="100"/>
                </a:cxn>
                <a:cxn ang="0">
                  <a:pos x="8" y="102"/>
                </a:cxn>
                <a:cxn ang="0">
                  <a:pos x="6" y="106"/>
                </a:cxn>
                <a:cxn ang="0">
                  <a:pos x="10" y="112"/>
                </a:cxn>
                <a:cxn ang="0">
                  <a:pos x="14" y="110"/>
                </a:cxn>
                <a:cxn ang="0">
                  <a:pos x="16" y="108"/>
                </a:cxn>
                <a:cxn ang="0">
                  <a:pos x="24" y="108"/>
                </a:cxn>
                <a:cxn ang="0">
                  <a:pos x="36" y="98"/>
                </a:cxn>
                <a:cxn ang="0">
                  <a:pos x="42" y="102"/>
                </a:cxn>
                <a:cxn ang="0">
                  <a:pos x="50" y="100"/>
                </a:cxn>
              </a:cxnLst>
              <a:rect l="0" t="0" r="r" b="b"/>
              <a:pathLst>
                <a:path w="80" h="112">
                  <a:moveTo>
                    <a:pt x="50" y="100"/>
                  </a:moveTo>
                  <a:lnTo>
                    <a:pt x="50" y="100"/>
                  </a:lnTo>
                  <a:lnTo>
                    <a:pt x="46" y="96"/>
                  </a:lnTo>
                  <a:lnTo>
                    <a:pt x="46" y="96"/>
                  </a:lnTo>
                  <a:lnTo>
                    <a:pt x="46" y="88"/>
                  </a:lnTo>
                  <a:lnTo>
                    <a:pt x="46" y="88"/>
                  </a:lnTo>
                  <a:lnTo>
                    <a:pt x="40" y="84"/>
                  </a:lnTo>
                  <a:lnTo>
                    <a:pt x="32" y="82"/>
                  </a:lnTo>
                  <a:lnTo>
                    <a:pt x="32" y="82"/>
                  </a:lnTo>
                  <a:lnTo>
                    <a:pt x="34" y="78"/>
                  </a:lnTo>
                  <a:lnTo>
                    <a:pt x="36" y="76"/>
                  </a:lnTo>
                  <a:lnTo>
                    <a:pt x="36" y="76"/>
                  </a:lnTo>
                  <a:lnTo>
                    <a:pt x="36" y="72"/>
                  </a:lnTo>
                  <a:lnTo>
                    <a:pt x="36" y="68"/>
                  </a:lnTo>
                  <a:lnTo>
                    <a:pt x="36" y="68"/>
                  </a:lnTo>
                  <a:lnTo>
                    <a:pt x="40" y="66"/>
                  </a:lnTo>
                  <a:lnTo>
                    <a:pt x="46" y="64"/>
                  </a:lnTo>
                  <a:lnTo>
                    <a:pt x="46" y="64"/>
                  </a:lnTo>
                  <a:lnTo>
                    <a:pt x="50" y="60"/>
                  </a:lnTo>
                  <a:lnTo>
                    <a:pt x="52" y="54"/>
                  </a:lnTo>
                  <a:lnTo>
                    <a:pt x="52" y="54"/>
                  </a:lnTo>
                  <a:lnTo>
                    <a:pt x="56" y="54"/>
                  </a:lnTo>
                  <a:lnTo>
                    <a:pt x="58" y="54"/>
                  </a:lnTo>
                  <a:lnTo>
                    <a:pt x="58" y="54"/>
                  </a:lnTo>
                  <a:lnTo>
                    <a:pt x="60" y="50"/>
                  </a:lnTo>
                  <a:lnTo>
                    <a:pt x="62" y="48"/>
                  </a:lnTo>
                  <a:lnTo>
                    <a:pt x="62" y="48"/>
                  </a:lnTo>
                  <a:lnTo>
                    <a:pt x="66" y="48"/>
                  </a:lnTo>
                  <a:lnTo>
                    <a:pt x="66" y="48"/>
                  </a:lnTo>
                  <a:lnTo>
                    <a:pt x="66" y="44"/>
                  </a:lnTo>
                  <a:lnTo>
                    <a:pt x="64" y="38"/>
                  </a:lnTo>
                  <a:lnTo>
                    <a:pt x="62" y="34"/>
                  </a:lnTo>
                  <a:lnTo>
                    <a:pt x="64" y="30"/>
                  </a:lnTo>
                  <a:lnTo>
                    <a:pt x="64" y="30"/>
                  </a:lnTo>
                  <a:lnTo>
                    <a:pt x="64" y="30"/>
                  </a:lnTo>
                  <a:lnTo>
                    <a:pt x="66" y="28"/>
                  </a:lnTo>
                  <a:lnTo>
                    <a:pt x="66" y="28"/>
                  </a:lnTo>
                  <a:lnTo>
                    <a:pt x="68" y="24"/>
                  </a:lnTo>
                  <a:lnTo>
                    <a:pt x="68" y="24"/>
                  </a:lnTo>
                  <a:lnTo>
                    <a:pt x="70" y="24"/>
                  </a:lnTo>
                  <a:lnTo>
                    <a:pt x="72" y="24"/>
                  </a:lnTo>
                  <a:lnTo>
                    <a:pt x="72" y="24"/>
                  </a:lnTo>
                  <a:lnTo>
                    <a:pt x="80" y="14"/>
                  </a:lnTo>
                  <a:lnTo>
                    <a:pt x="80" y="14"/>
                  </a:lnTo>
                  <a:lnTo>
                    <a:pt x="70" y="0"/>
                  </a:lnTo>
                  <a:lnTo>
                    <a:pt x="70" y="10"/>
                  </a:lnTo>
                  <a:lnTo>
                    <a:pt x="64" y="12"/>
                  </a:lnTo>
                  <a:lnTo>
                    <a:pt x="64" y="16"/>
                  </a:lnTo>
                  <a:lnTo>
                    <a:pt x="60" y="18"/>
                  </a:lnTo>
                  <a:lnTo>
                    <a:pt x="54" y="18"/>
                  </a:lnTo>
                  <a:lnTo>
                    <a:pt x="50" y="22"/>
                  </a:lnTo>
                  <a:lnTo>
                    <a:pt x="50" y="26"/>
                  </a:lnTo>
                  <a:lnTo>
                    <a:pt x="50" y="32"/>
                  </a:lnTo>
                  <a:lnTo>
                    <a:pt x="42" y="30"/>
                  </a:lnTo>
                  <a:lnTo>
                    <a:pt x="38" y="28"/>
                  </a:lnTo>
                  <a:lnTo>
                    <a:pt x="34" y="22"/>
                  </a:lnTo>
                  <a:lnTo>
                    <a:pt x="28" y="24"/>
                  </a:lnTo>
                  <a:lnTo>
                    <a:pt x="28" y="32"/>
                  </a:lnTo>
                  <a:lnTo>
                    <a:pt x="20" y="40"/>
                  </a:lnTo>
                  <a:lnTo>
                    <a:pt x="16" y="46"/>
                  </a:lnTo>
                  <a:lnTo>
                    <a:pt x="10" y="54"/>
                  </a:lnTo>
                  <a:lnTo>
                    <a:pt x="6" y="60"/>
                  </a:lnTo>
                  <a:lnTo>
                    <a:pt x="0" y="70"/>
                  </a:lnTo>
                  <a:lnTo>
                    <a:pt x="0" y="70"/>
                  </a:lnTo>
                  <a:lnTo>
                    <a:pt x="2" y="72"/>
                  </a:lnTo>
                  <a:lnTo>
                    <a:pt x="2" y="72"/>
                  </a:lnTo>
                  <a:lnTo>
                    <a:pt x="8" y="76"/>
                  </a:lnTo>
                  <a:lnTo>
                    <a:pt x="8" y="76"/>
                  </a:lnTo>
                  <a:lnTo>
                    <a:pt x="6" y="82"/>
                  </a:lnTo>
                  <a:lnTo>
                    <a:pt x="10" y="88"/>
                  </a:lnTo>
                  <a:lnTo>
                    <a:pt x="10" y="88"/>
                  </a:lnTo>
                  <a:lnTo>
                    <a:pt x="6" y="90"/>
                  </a:lnTo>
                  <a:lnTo>
                    <a:pt x="2" y="92"/>
                  </a:lnTo>
                  <a:lnTo>
                    <a:pt x="0" y="100"/>
                  </a:lnTo>
                  <a:lnTo>
                    <a:pt x="0" y="100"/>
                  </a:lnTo>
                  <a:lnTo>
                    <a:pt x="8" y="102"/>
                  </a:lnTo>
                  <a:lnTo>
                    <a:pt x="8" y="102"/>
                  </a:lnTo>
                  <a:lnTo>
                    <a:pt x="6" y="106"/>
                  </a:lnTo>
                  <a:lnTo>
                    <a:pt x="8" y="110"/>
                  </a:lnTo>
                  <a:lnTo>
                    <a:pt x="10" y="112"/>
                  </a:lnTo>
                  <a:lnTo>
                    <a:pt x="10" y="112"/>
                  </a:lnTo>
                  <a:lnTo>
                    <a:pt x="14" y="110"/>
                  </a:lnTo>
                  <a:lnTo>
                    <a:pt x="16" y="108"/>
                  </a:lnTo>
                  <a:lnTo>
                    <a:pt x="16" y="108"/>
                  </a:lnTo>
                  <a:lnTo>
                    <a:pt x="20" y="108"/>
                  </a:lnTo>
                  <a:lnTo>
                    <a:pt x="24" y="108"/>
                  </a:lnTo>
                  <a:lnTo>
                    <a:pt x="32" y="100"/>
                  </a:lnTo>
                  <a:lnTo>
                    <a:pt x="36" y="98"/>
                  </a:lnTo>
                  <a:lnTo>
                    <a:pt x="36" y="98"/>
                  </a:lnTo>
                  <a:lnTo>
                    <a:pt x="42" y="102"/>
                  </a:lnTo>
                  <a:lnTo>
                    <a:pt x="42" y="102"/>
                  </a:lnTo>
                  <a:lnTo>
                    <a:pt x="50" y="100"/>
                  </a:lnTo>
                  <a:lnTo>
                    <a:pt x="50" y="10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6" name="Freeform 124"/>
            <p:cNvSpPr>
              <a:spLocks noChangeAspect="1"/>
            </p:cNvSpPr>
            <p:nvPr/>
          </p:nvSpPr>
          <p:spPr bwMode="gray">
            <a:xfrm>
              <a:off x="2301673" y="4016368"/>
              <a:ext cx="95207" cy="105278"/>
            </a:xfrm>
            <a:custGeom>
              <a:avLst/>
              <a:gdLst/>
              <a:ahLst/>
              <a:cxnLst>
                <a:cxn ang="0">
                  <a:pos x="0" y="30"/>
                </a:cxn>
                <a:cxn ang="0">
                  <a:pos x="0" y="34"/>
                </a:cxn>
                <a:cxn ang="0">
                  <a:pos x="8" y="40"/>
                </a:cxn>
                <a:cxn ang="0">
                  <a:pos x="10" y="46"/>
                </a:cxn>
                <a:cxn ang="0">
                  <a:pos x="12" y="52"/>
                </a:cxn>
                <a:cxn ang="0">
                  <a:pos x="18" y="58"/>
                </a:cxn>
                <a:cxn ang="0">
                  <a:pos x="24" y="58"/>
                </a:cxn>
                <a:cxn ang="0">
                  <a:pos x="22" y="54"/>
                </a:cxn>
                <a:cxn ang="0">
                  <a:pos x="20" y="52"/>
                </a:cxn>
                <a:cxn ang="0">
                  <a:pos x="22" y="44"/>
                </a:cxn>
                <a:cxn ang="0">
                  <a:pos x="26" y="52"/>
                </a:cxn>
                <a:cxn ang="0">
                  <a:pos x="28" y="52"/>
                </a:cxn>
                <a:cxn ang="0">
                  <a:pos x="32" y="56"/>
                </a:cxn>
                <a:cxn ang="0">
                  <a:pos x="34" y="62"/>
                </a:cxn>
                <a:cxn ang="0">
                  <a:pos x="40" y="62"/>
                </a:cxn>
                <a:cxn ang="0">
                  <a:pos x="42" y="62"/>
                </a:cxn>
                <a:cxn ang="0">
                  <a:pos x="44" y="64"/>
                </a:cxn>
                <a:cxn ang="0">
                  <a:pos x="50" y="64"/>
                </a:cxn>
                <a:cxn ang="0">
                  <a:pos x="46" y="60"/>
                </a:cxn>
                <a:cxn ang="0">
                  <a:pos x="46" y="58"/>
                </a:cxn>
                <a:cxn ang="0">
                  <a:pos x="48" y="56"/>
                </a:cxn>
                <a:cxn ang="0">
                  <a:pos x="46" y="48"/>
                </a:cxn>
                <a:cxn ang="0">
                  <a:pos x="48" y="36"/>
                </a:cxn>
                <a:cxn ang="0">
                  <a:pos x="50" y="36"/>
                </a:cxn>
                <a:cxn ang="0">
                  <a:pos x="50" y="22"/>
                </a:cxn>
                <a:cxn ang="0">
                  <a:pos x="52" y="16"/>
                </a:cxn>
                <a:cxn ang="0">
                  <a:pos x="56" y="8"/>
                </a:cxn>
                <a:cxn ang="0">
                  <a:pos x="54" y="0"/>
                </a:cxn>
                <a:cxn ang="0">
                  <a:pos x="46" y="2"/>
                </a:cxn>
                <a:cxn ang="0">
                  <a:pos x="40" y="8"/>
                </a:cxn>
                <a:cxn ang="0">
                  <a:pos x="40" y="10"/>
                </a:cxn>
                <a:cxn ang="0">
                  <a:pos x="30" y="12"/>
                </a:cxn>
                <a:cxn ang="0">
                  <a:pos x="26" y="12"/>
                </a:cxn>
                <a:cxn ang="0">
                  <a:pos x="24" y="12"/>
                </a:cxn>
                <a:cxn ang="0">
                  <a:pos x="22" y="10"/>
                </a:cxn>
                <a:cxn ang="0">
                  <a:pos x="16" y="10"/>
                </a:cxn>
                <a:cxn ang="0">
                  <a:pos x="6" y="14"/>
                </a:cxn>
                <a:cxn ang="0">
                  <a:pos x="6" y="28"/>
                </a:cxn>
                <a:cxn ang="0">
                  <a:pos x="4" y="28"/>
                </a:cxn>
                <a:cxn ang="0">
                  <a:pos x="0" y="30"/>
                </a:cxn>
              </a:cxnLst>
              <a:rect l="0" t="0" r="r" b="b"/>
              <a:pathLst>
                <a:path w="56" h="64">
                  <a:moveTo>
                    <a:pt x="0" y="30"/>
                  </a:moveTo>
                  <a:lnTo>
                    <a:pt x="0" y="30"/>
                  </a:lnTo>
                  <a:lnTo>
                    <a:pt x="0" y="34"/>
                  </a:lnTo>
                  <a:lnTo>
                    <a:pt x="0" y="34"/>
                  </a:lnTo>
                  <a:lnTo>
                    <a:pt x="4" y="36"/>
                  </a:lnTo>
                  <a:lnTo>
                    <a:pt x="8" y="40"/>
                  </a:lnTo>
                  <a:lnTo>
                    <a:pt x="8" y="40"/>
                  </a:lnTo>
                  <a:lnTo>
                    <a:pt x="10" y="46"/>
                  </a:lnTo>
                  <a:lnTo>
                    <a:pt x="12" y="52"/>
                  </a:lnTo>
                  <a:lnTo>
                    <a:pt x="12" y="52"/>
                  </a:lnTo>
                  <a:lnTo>
                    <a:pt x="18" y="58"/>
                  </a:lnTo>
                  <a:lnTo>
                    <a:pt x="18" y="58"/>
                  </a:lnTo>
                  <a:lnTo>
                    <a:pt x="20" y="56"/>
                  </a:lnTo>
                  <a:lnTo>
                    <a:pt x="24" y="58"/>
                  </a:lnTo>
                  <a:lnTo>
                    <a:pt x="24" y="58"/>
                  </a:lnTo>
                  <a:lnTo>
                    <a:pt x="22" y="54"/>
                  </a:lnTo>
                  <a:lnTo>
                    <a:pt x="22" y="54"/>
                  </a:lnTo>
                  <a:lnTo>
                    <a:pt x="20" y="52"/>
                  </a:lnTo>
                  <a:lnTo>
                    <a:pt x="20" y="48"/>
                  </a:lnTo>
                  <a:lnTo>
                    <a:pt x="22" y="44"/>
                  </a:lnTo>
                  <a:lnTo>
                    <a:pt x="22" y="44"/>
                  </a:lnTo>
                  <a:lnTo>
                    <a:pt x="26" y="52"/>
                  </a:lnTo>
                  <a:lnTo>
                    <a:pt x="26" y="52"/>
                  </a:lnTo>
                  <a:lnTo>
                    <a:pt x="28" y="52"/>
                  </a:lnTo>
                  <a:lnTo>
                    <a:pt x="32" y="56"/>
                  </a:lnTo>
                  <a:lnTo>
                    <a:pt x="32" y="56"/>
                  </a:lnTo>
                  <a:lnTo>
                    <a:pt x="34" y="62"/>
                  </a:lnTo>
                  <a:lnTo>
                    <a:pt x="34" y="62"/>
                  </a:lnTo>
                  <a:lnTo>
                    <a:pt x="38" y="62"/>
                  </a:lnTo>
                  <a:lnTo>
                    <a:pt x="40" y="62"/>
                  </a:lnTo>
                  <a:lnTo>
                    <a:pt x="40" y="62"/>
                  </a:lnTo>
                  <a:lnTo>
                    <a:pt x="42" y="62"/>
                  </a:lnTo>
                  <a:lnTo>
                    <a:pt x="44" y="64"/>
                  </a:lnTo>
                  <a:lnTo>
                    <a:pt x="44" y="64"/>
                  </a:lnTo>
                  <a:lnTo>
                    <a:pt x="50" y="64"/>
                  </a:lnTo>
                  <a:lnTo>
                    <a:pt x="50" y="64"/>
                  </a:lnTo>
                  <a:lnTo>
                    <a:pt x="48" y="62"/>
                  </a:lnTo>
                  <a:lnTo>
                    <a:pt x="46" y="60"/>
                  </a:lnTo>
                  <a:lnTo>
                    <a:pt x="46" y="60"/>
                  </a:lnTo>
                  <a:lnTo>
                    <a:pt x="46" y="58"/>
                  </a:lnTo>
                  <a:lnTo>
                    <a:pt x="48" y="56"/>
                  </a:lnTo>
                  <a:lnTo>
                    <a:pt x="48" y="56"/>
                  </a:lnTo>
                  <a:lnTo>
                    <a:pt x="48" y="52"/>
                  </a:lnTo>
                  <a:lnTo>
                    <a:pt x="46" y="48"/>
                  </a:lnTo>
                  <a:lnTo>
                    <a:pt x="46" y="48"/>
                  </a:lnTo>
                  <a:lnTo>
                    <a:pt x="48" y="36"/>
                  </a:lnTo>
                  <a:lnTo>
                    <a:pt x="50" y="36"/>
                  </a:lnTo>
                  <a:lnTo>
                    <a:pt x="50" y="36"/>
                  </a:lnTo>
                  <a:lnTo>
                    <a:pt x="50" y="26"/>
                  </a:lnTo>
                  <a:lnTo>
                    <a:pt x="50" y="22"/>
                  </a:lnTo>
                  <a:lnTo>
                    <a:pt x="52" y="16"/>
                  </a:lnTo>
                  <a:lnTo>
                    <a:pt x="52" y="16"/>
                  </a:lnTo>
                  <a:lnTo>
                    <a:pt x="54" y="12"/>
                  </a:lnTo>
                  <a:lnTo>
                    <a:pt x="56" y="8"/>
                  </a:lnTo>
                  <a:lnTo>
                    <a:pt x="56" y="8"/>
                  </a:lnTo>
                  <a:lnTo>
                    <a:pt x="54" y="0"/>
                  </a:lnTo>
                  <a:lnTo>
                    <a:pt x="46" y="2"/>
                  </a:lnTo>
                  <a:lnTo>
                    <a:pt x="46" y="2"/>
                  </a:lnTo>
                  <a:lnTo>
                    <a:pt x="42" y="4"/>
                  </a:lnTo>
                  <a:lnTo>
                    <a:pt x="40" y="8"/>
                  </a:lnTo>
                  <a:lnTo>
                    <a:pt x="40" y="8"/>
                  </a:lnTo>
                  <a:lnTo>
                    <a:pt x="40" y="10"/>
                  </a:lnTo>
                  <a:lnTo>
                    <a:pt x="36" y="10"/>
                  </a:lnTo>
                  <a:lnTo>
                    <a:pt x="30" y="12"/>
                  </a:lnTo>
                  <a:lnTo>
                    <a:pt x="30" y="12"/>
                  </a:lnTo>
                  <a:lnTo>
                    <a:pt x="26" y="12"/>
                  </a:lnTo>
                  <a:lnTo>
                    <a:pt x="26" y="14"/>
                  </a:lnTo>
                  <a:lnTo>
                    <a:pt x="24" y="12"/>
                  </a:lnTo>
                  <a:lnTo>
                    <a:pt x="24" y="12"/>
                  </a:lnTo>
                  <a:lnTo>
                    <a:pt x="22" y="10"/>
                  </a:lnTo>
                  <a:lnTo>
                    <a:pt x="16" y="10"/>
                  </a:lnTo>
                  <a:lnTo>
                    <a:pt x="16" y="10"/>
                  </a:lnTo>
                  <a:lnTo>
                    <a:pt x="6" y="14"/>
                  </a:lnTo>
                  <a:lnTo>
                    <a:pt x="6" y="14"/>
                  </a:lnTo>
                  <a:lnTo>
                    <a:pt x="6" y="20"/>
                  </a:lnTo>
                  <a:lnTo>
                    <a:pt x="6" y="28"/>
                  </a:lnTo>
                  <a:lnTo>
                    <a:pt x="6" y="28"/>
                  </a:lnTo>
                  <a:lnTo>
                    <a:pt x="4" y="28"/>
                  </a:lnTo>
                  <a:lnTo>
                    <a:pt x="2" y="30"/>
                  </a:lnTo>
                  <a:lnTo>
                    <a:pt x="0" y="30"/>
                  </a:lnTo>
                  <a:lnTo>
                    <a:pt x="0" y="3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7" name="Freeform 125"/>
            <p:cNvSpPr>
              <a:spLocks noChangeAspect="1"/>
            </p:cNvSpPr>
            <p:nvPr/>
          </p:nvSpPr>
          <p:spPr bwMode="gray">
            <a:xfrm>
              <a:off x="8229975" y="5605408"/>
              <a:ext cx="3400" cy="3290"/>
            </a:xfrm>
            <a:custGeom>
              <a:avLst/>
              <a:gdLst/>
              <a:ahLst/>
              <a:cxnLst>
                <a:cxn ang="0">
                  <a:pos x="0" y="0"/>
                </a:cxn>
                <a:cxn ang="0">
                  <a:pos x="2" y="2"/>
                </a:cxn>
                <a:cxn ang="0">
                  <a:pos x="2" y="2"/>
                </a:cxn>
                <a:cxn ang="0">
                  <a:pos x="2" y="2"/>
                </a:cxn>
                <a:cxn ang="0">
                  <a:pos x="0" y="0"/>
                </a:cxn>
                <a:cxn ang="0">
                  <a:pos x="0" y="0"/>
                </a:cxn>
              </a:cxnLst>
              <a:rect l="0" t="0" r="r" b="b"/>
              <a:pathLst>
                <a:path w="2" h="2">
                  <a:moveTo>
                    <a:pt x="0" y="0"/>
                  </a:moveTo>
                  <a:lnTo>
                    <a:pt x="2" y="2"/>
                  </a:lnTo>
                  <a:lnTo>
                    <a:pt x="2" y="2"/>
                  </a:lnTo>
                  <a:lnTo>
                    <a:pt x="2" y="2"/>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8" name="Freeform 126"/>
            <p:cNvSpPr>
              <a:spLocks noChangeAspect="1" noEditPoints="1"/>
            </p:cNvSpPr>
            <p:nvPr/>
          </p:nvSpPr>
          <p:spPr bwMode="gray">
            <a:xfrm>
              <a:off x="8063363" y="5408013"/>
              <a:ext cx="282219" cy="401373"/>
            </a:xfrm>
            <a:custGeom>
              <a:avLst/>
              <a:gdLst/>
              <a:ahLst/>
              <a:cxnLst>
                <a:cxn ang="0">
                  <a:pos x="24" y="242"/>
                </a:cxn>
                <a:cxn ang="0">
                  <a:pos x="22" y="234"/>
                </a:cxn>
                <a:cxn ang="0">
                  <a:pos x="82" y="112"/>
                </a:cxn>
                <a:cxn ang="0">
                  <a:pos x="76" y="128"/>
                </a:cxn>
                <a:cxn ang="0">
                  <a:pos x="70" y="142"/>
                </a:cxn>
                <a:cxn ang="0">
                  <a:pos x="64" y="152"/>
                </a:cxn>
                <a:cxn ang="0">
                  <a:pos x="56" y="166"/>
                </a:cxn>
                <a:cxn ang="0">
                  <a:pos x="50" y="170"/>
                </a:cxn>
                <a:cxn ang="0">
                  <a:pos x="32" y="180"/>
                </a:cxn>
                <a:cxn ang="0">
                  <a:pos x="20" y="192"/>
                </a:cxn>
                <a:cxn ang="0">
                  <a:pos x="14" y="196"/>
                </a:cxn>
                <a:cxn ang="0">
                  <a:pos x="8" y="202"/>
                </a:cxn>
                <a:cxn ang="0">
                  <a:pos x="6" y="204"/>
                </a:cxn>
                <a:cxn ang="0">
                  <a:pos x="4" y="210"/>
                </a:cxn>
                <a:cxn ang="0">
                  <a:pos x="0" y="218"/>
                </a:cxn>
                <a:cxn ang="0">
                  <a:pos x="10" y="224"/>
                </a:cxn>
                <a:cxn ang="0">
                  <a:pos x="24" y="228"/>
                </a:cxn>
                <a:cxn ang="0">
                  <a:pos x="38" y="232"/>
                </a:cxn>
                <a:cxn ang="0">
                  <a:pos x="48" y="220"/>
                </a:cxn>
                <a:cxn ang="0">
                  <a:pos x="56" y="212"/>
                </a:cxn>
                <a:cxn ang="0">
                  <a:pos x="64" y="186"/>
                </a:cxn>
                <a:cxn ang="0">
                  <a:pos x="72" y="184"/>
                </a:cxn>
                <a:cxn ang="0">
                  <a:pos x="84" y="178"/>
                </a:cxn>
                <a:cxn ang="0">
                  <a:pos x="86" y="168"/>
                </a:cxn>
                <a:cxn ang="0">
                  <a:pos x="92" y="162"/>
                </a:cxn>
                <a:cxn ang="0">
                  <a:pos x="100" y="150"/>
                </a:cxn>
                <a:cxn ang="0">
                  <a:pos x="104" y="138"/>
                </a:cxn>
                <a:cxn ang="0">
                  <a:pos x="108" y="128"/>
                </a:cxn>
                <a:cxn ang="0">
                  <a:pos x="102" y="126"/>
                </a:cxn>
                <a:cxn ang="0">
                  <a:pos x="100" y="124"/>
                </a:cxn>
                <a:cxn ang="0">
                  <a:pos x="94" y="126"/>
                </a:cxn>
                <a:cxn ang="0">
                  <a:pos x="90" y="120"/>
                </a:cxn>
                <a:cxn ang="0">
                  <a:pos x="86" y="118"/>
                </a:cxn>
                <a:cxn ang="0">
                  <a:pos x="86" y="114"/>
                </a:cxn>
                <a:cxn ang="0">
                  <a:pos x="84" y="0"/>
                </a:cxn>
                <a:cxn ang="0">
                  <a:pos x="88" y="8"/>
                </a:cxn>
                <a:cxn ang="0">
                  <a:pos x="104" y="34"/>
                </a:cxn>
                <a:cxn ang="0">
                  <a:pos x="108" y="38"/>
                </a:cxn>
                <a:cxn ang="0">
                  <a:pos x="108" y="46"/>
                </a:cxn>
                <a:cxn ang="0">
                  <a:pos x="112" y="54"/>
                </a:cxn>
                <a:cxn ang="0">
                  <a:pos x="112" y="74"/>
                </a:cxn>
                <a:cxn ang="0">
                  <a:pos x="100" y="88"/>
                </a:cxn>
                <a:cxn ang="0">
                  <a:pos x="98" y="94"/>
                </a:cxn>
                <a:cxn ang="0">
                  <a:pos x="118" y="112"/>
                </a:cxn>
                <a:cxn ang="0">
                  <a:pos x="112" y="126"/>
                </a:cxn>
                <a:cxn ang="0">
                  <a:pos x="124" y="134"/>
                </a:cxn>
                <a:cxn ang="0">
                  <a:pos x="136" y="120"/>
                </a:cxn>
                <a:cxn ang="0">
                  <a:pos x="144" y="110"/>
                </a:cxn>
                <a:cxn ang="0">
                  <a:pos x="146" y="100"/>
                </a:cxn>
                <a:cxn ang="0">
                  <a:pos x="154" y="92"/>
                </a:cxn>
                <a:cxn ang="0">
                  <a:pos x="156" y="86"/>
                </a:cxn>
                <a:cxn ang="0">
                  <a:pos x="160" y="66"/>
                </a:cxn>
                <a:cxn ang="0">
                  <a:pos x="136" y="68"/>
                </a:cxn>
                <a:cxn ang="0">
                  <a:pos x="132" y="58"/>
                </a:cxn>
                <a:cxn ang="0">
                  <a:pos x="126" y="46"/>
                </a:cxn>
                <a:cxn ang="0">
                  <a:pos x="122" y="54"/>
                </a:cxn>
                <a:cxn ang="0">
                  <a:pos x="116" y="50"/>
                </a:cxn>
                <a:cxn ang="0">
                  <a:pos x="112" y="30"/>
                </a:cxn>
                <a:cxn ang="0">
                  <a:pos x="112" y="20"/>
                </a:cxn>
                <a:cxn ang="0">
                  <a:pos x="108" y="16"/>
                </a:cxn>
                <a:cxn ang="0">
                  <a:pos x="98" y="10"/>
                </a:cxn>
                <a:cxn ang="0">
                  <a:pos x="92" y="8"/>
                </a:cxn>
                <a:cxn ang="0">
                  <a:pos x="88" y="0"/>
                </a:cxn>
              </a:cxnLst>
              <a:rect l="0" t="0" r="r" b="b"/>
              <a:pathLst>
                <a:path w="166" h="244">
                  <a:moveTo>
                    <a:pt x="16" y="230"/>
                  </a:moveTo>
                  <a:lnTo>
                    <a:pt x="16" y="230"/>
                  </a:lnTo>
                  <a:lnTo>
                    <a:pt x="14" y="244"/>
                  </a:lnTo>
                  <a:lnTo>
                    <a:pt x="14" y="244"/>
                  </a:lnTo>
                  <a:lnTo>
                    <a:pt x="24" y="242"/>
                  </a:lnTo>
                  <a:lnTo>
                    <a:pt x="24" y="242"/>
                  </a:lnTo>
                  <a:lnTo>
                    <a:pt x="26" y="238"/>
                  </a:lnTo>
                  <a:lnTo>
                    <a:pt x="22" y="238"/>
                  </a:lnTo>
                  <a:lnTo>
                    <a:pt x="22" y="238"/>
                  </a:lnTo>
                  <a:lnTo>
                    <a:pt x="22" y="234"/>
                  </a:lnTo>
                  <a:lnTo>
                    <a:pt x="22" y="234"/>
                  </a:lnTo>
                  <a:lnTo>
                    <a:pt x="16" y="230"/>
                  </a:lnTo>
                  <a:lnTo>
                    <a:pt x="16" y="230"/>
                  </a:lnTo>
                  <a:close/>
                  <a:moveTo>
                    <a:pt x="82" y="112"/>
                  </a:moveTo>
                  <a:lnTo>
                    <a:pt x="82" y="112"/>
                  </a:lnTo>
                  <a:lnTo>
                    <a:pt x="80" y="116"/>
                  </a:lnTo>
                  <a:lnTo>
                    <a:pt x="80" y="116"/>
                  </a:lnTo>
                  <a:lnTo>
                    <a:pt x="76" y="122"/>
                  </a:lnTo>
                  <a:lnTo>
                    <a:pt x="76" y="124"/>
                  </a:lnTo>
                  <a:lnTo>
                    <a:pt x="76" y="128"/>
                  </a:lnTo>
                  <a:lnTo>
                    <a:pt x="74" y="134"/>
                  </a:lnTo>
                  <a:lnTo>
                    <a:pt x="74" y="134"/>
                  </a:lnTo>
                  <a:lnTo>
                    <a:pt x="70" y="138"/>
                  </a:lnTo>
                  <a:lnTo>
                    <a:pt x="70" y="138"/>
                  </a:lnTo>
                  <a:lnTo>
                    <a:pt x="70" y="142"/>
                  </a:lnTo>
                  <a:lnTo>
                    <a:pt x="70" y="142"/>
                  </a:lnTo>
                  <a:lnTo>
                    <a:pt x="66" y="144"/>
                  </a:lnTo>
                  <a:lnTo>
                    <a:pt x="66" y="144"/>
                  </a:lnTo>
                  <a:lnTo>
                    <a:pt x="64" y="152"/>
                  </a:lnTo>
                  <a:lnTo>
                    <a:pt x="64" y="152"/>
                  </a:lnTo>
                  <a:lnTo>
                    <a:pt x="62" y="152"/>
                  </a:lnTo>
                  <a:lnTo>
                    <a:pt x="62" y="152"/>
                  </a:lnTo>
                  <a:lnTo>
                    <a:pt x="60" y="160"/>
                  </a:lnTo>
                  <a:lnTo>
                    <a:pt x="56" y="166"/>
                  </a:lnTo>
                  <a:lnTo>
                    <a:pt x="56" y="166"/>
                  </a:lnTo>
                  <a:lnTo>
                    <a:pt x="54" y="166"/>
                  </a:lnTo>
                  <a:lnTo>
                    <a:pt x="50" y="168"/>
                  </a:lnTo>
                  <a:lnTo>
                    <a:pt x="50" y="168"/>
                  </a:lnTo>
                  <a:lnTo>
                    <a:pt x="50" y="170"/>
                  </a:lnTo>
                  <a:lnTo>
                    <a:pt x="50" y="170"/>
                  </a:lnTo>
                  <a:lnTo>
                    <a:pt x="40" y="176"/>
                  </a:lnTo>
                  <a:lnTo>
                    <a:pt x="40" y="176"/>
                  </a:lnTo>
                  <a:lnTo>
                    <a:pt x="38" y="180"/>
                  </a:lnTo>
                  <a:lnTo>
                    <a:pt x="38" y="180"/>
                  </a:lnTo>
                  <a:lnTo>
                    <a:pt x="32" y="180"/>
                  </a:lnTo>
                  <a:lnTo>
                    <a:pt x="28" y="182"/>
                  </a:lnTo>
                  <a:lnTo>
                    <a:pt x="28" y="182"/>
                  </a:lnTo>
                  <a:lnTo>
                    <a:pt x="24" y="186"/>
                  </a:lnTo>
                  <a:lnTo>
                    <a:pt x="20" y="192"/>
                  </a:lnTo>
                  <a:lnTo>
                    <a:pt x="20" y="192"/>
                  </a:lnTo>
                  <a:lnTo>
                    <a:pt x="18" y="192"/>
                  </a:lnTo>
                  <a:lnTo>
                    <a:pt x="14" y="192"/>
                  </a:lnTo>
                  <a:lnTo>
                    <a:pt x="14" y="192"/>
                  </a:lnTo>
                  <a:lnTo>
                    <a:pt x="14" y="196"/>
                  </a:lnTo>
                  <a:lnTo>
                    <a:pt x="14" y="196"/>
                  </a:lnTo>
                  <a:lnTo>
                    <a:pt x="10" y="198"/>
                  </a:lnTo>
                  <a:lnTo>
                    <a:pt x="10" y="198"/>
                  </a:lnTo>
                  <a:lnTo>
                    <a:pt x="8" y="200"/>
                  </a:lnTo>
                  <a:lnTo>
                    <a:pt x="8" y="202"/>
                  </a:lnTo>
                  <a:lnTo>
                    <a:pt x="8" y="202"/>
                  </a:lnTo>
                  <a:lnTo>
                    <a:pt x="4" y="202"/>
                  </a:lnTo>
                  <a:lnTo>
                    <a:pt x="4" y="202"/>
                  </a:lnTo>
                  <a:lnTo>
                    <a:pt x="4" y="204"/>
                  </a:lnTo>
                  <a:lnTo>
                    <a:pt x="4" y="204"/>
                  </a:lnTo>
                  <a:lnTo>
                    <a:pt x="6" y="204"/>
                  </a:lnTo>
                  <a:lnTo>
                    <a:pt x="6" y="204"/>
                  </a:lnTo>
                  <a:lnTo>
                    <a:pt x="6" y="206"/>
                  </a:lnTo>
                  <a:lnTo>
                    <a:pt x="6" y="206"/>
                  </a:lnTo>
                  <a:lnTo>
                    <a:pt x="4" y="210"/>
                  </a:lnTo>
                  <a:lnTo>
                    <a:pt x="4" y="210"/>
                  </a:lnTo>
                  <a:lnTo>
                    <a:pt x="4" y="214"/>
                  </a:lnTo>
                  <a:lnTo>
                    <a:pt x="0" y="214"/>
                  </a:lnTo>
                  <a:lnTo>
                    <a:pt x="0" y="214"/>
                  </a:lnTo>
                  <a:lnTo>
                    <a:pt x="0" y="218"/>
                  </a:lnTo>
                  <a:lnTo>
                    <a:pt x="0" y="218"/>
                  </a:lnTo>
                  <a:lnTo>
                    <a:pt x="2" y="220"/>
                  </a:lnTo>
                  <a:lnTo>
                    <a:pt x="6" y="222"/>
                  </a:lnTo>
                  <a:lnTo>
                    <a:pt x="8" y="224"/>
                  </a:lnTo>
                  <a:lnTo>
                    <a:pt x="8" y="224"/>
                  </a:lnTo>
                  <a:lnTo>
                    <a:pt x="10" y="224"/>
                  </a:lnTo>
                  <a:lnTo>
                    <a:pt x="12" y="222"/>
                  </a:lnTo>
                  <a:lnTo>
                    <a:pt x="16" y="222"/>
                  </a:lnTo>
                  <a:lnTo>
                    <a:pt x="18" y="228"/>
                  </a:lnTo>
                  <a:lnTo>
                    <a:pt x="18" y="228"/>
                  </a:lnTo>
                  <a:lnTo>
                    <a:pt x="24" y="228"/>
                  </a:lnTo>
                  <a:lnTo>
                    <a:pt x="24" y="228"/>
                  </a:lnTo>
                  <a:lnTo>
                    <a:pt x="26" y="230"/>
                  </a:lnTo>
                  <a:lnTo>
                    <a:pt x="26" y="230"/>
                  </a:lnTo>
                  <a:lnTo>
                    <a:pt x="38" y="232"/>
                  </a:lnTo>
                  <a:lnTo>
                    <a:pt x="38" y="232"/>
                  </a:lnTo>
                  <a:lnTo>
                    <a:pt x="44" y="226"/>
                  </a:lnTo>
                  <a:lnTo>
                    <a:pt x="44" y="224"/>
                  </a:lnTo>
                  <a:lnTo>
                    <a:pt x="44" y="224"/>
                  </a:lnTo>
                  <a:lnTo>
                    <a:pt x="48" y="222"/>
                  </a:lnTo>
                  <a:lnTo>
                    <a:pt x="48" y="220"/>
                  </a:lnTo>
                  <a:lnTo>
                    <a:pt x="48" y="220"/>
                  </a:lnTo>
                  <a:lnTo>
                    <a:pt x="52" y="218"/>
                  </a:lnTo>
                  <a:lnTo>
                    <a:pt x="54" y="216"/>
                  </a:lnTo>
                  <a:lnTo>
                    <a:pt x="54" y="216"/>
                  </a:lnTo>
                  <a:lnTo>
                    <a:pt x="56" y="212"/>
                  </a:lnTo>
                  <a:lnTo>
                    <a:pt x="56" y="208"/>
                  </a:lnTo>
                  <a:lnTo>
                    <a:pt x="56" y="208"/>
                  </a:lnTo>
                  <a:lnTo>
                    <a:pt x="60" y="198"/>
                  </a:lnTo>
                  <a:lnTo>
                    <a:pt x="64" y="186"/>
                  </a:lnTo>
                  <a:lnTo>
                    <a:pt x="64" y="186"/>
                  </a:lnTo>
                  <a:lnTo>
                    <a:pt x="64" y="186"/>
                  </a:lnTo>
                  <a:lnTo>
                    <a:pt x="66" y="184"/>
                  </a:lnTo>
                  <a:lnTo>
                    <a:pt x="66" y="184"/>
                  </a:lnTo>
                  <a:lnTo>
                    <a:pt x="70" y="184"/>
                  </a:lnTo>
                  <a:lnTo>
                    <a:pt x="72" y="184"/>
                  </a:lnTo>
                  <a:lnTo>
                    <a:pt x="76" y="182"/>
                  </a:lnTo>
                  <a:lnTo>
                    <a:pt x="76" y="182"/>
                  </a:lnTo>
                  <a:lnTo>
                    <a:pt x="78" y="178"/>
                  </a:lnTo>
                  <a:lnTo>
                    <a:pt x="78" y="178"/>
                  </a:lnTo>
                  <a:lnTo>
                    <a:pt x="84" y="178"/>
                  </a:lnTo>
                  <a:lnTo>
                    <a:pt x="90" y="178"/>
                  </a:lnTo>
                  <a:lnTo>
                    <a:pt x="90" y="178"/>
                  </a:lnTo>
                  <a:lnTo>
                    <a:pt x="84" y="178"/>
                  </a:lnTo>
                  <a:lnTo>
                    <a:pt x="84" y="178"/>
                  </a:lnTo>
                  <a:lnTo>
                    <a:pt x="86" y="168"/>
                  </a:lnTo>
                  <a:lnTo>
                    <a:pt x="86" y="166"/>
                  </a:lnTo>
                  <a:lnTo>
                    <a:pt x="90" y="164"/>
                  </a:lnTo>
                  <a:lnTo>
                    <a:pt x="90" y="164"/>
                  </a:lnTo>
                  <a:lnTo>
                    <a:pt x="92" y="162"/>
                  </a:lnTo>
                  <a:lnTo>
                    <a:pt x="92" y="162"/>
                  </a:lnTo>
                  <a:lnTo>
                    <a:pt x="92" y="162"/>
                  </a:lnTo>
                  <a:lnTo>
                    <a:pt x="94" y="158"/>
                  </a:lnTo>
                  <a:lnTo>
                    <a:pt x="96" y="154"/>
                  </a:lnTo>
                  <a:lnTo>
                    <a:pt x="96" y="154"/>
                  </a:lnTo>
                  <a:lnTo>
                    <a:pt x="100" y="150"/>
                  </a:lnTo>
                  <a:lnTo>
                    <a:pt x="100" y="150"/>
                  </a:lnTo>
                  <a:lnTo>
                    <a:pt x="104" y="142"/>
                  </a:lnTo>
                  <a:lnTo>
                    <a:pt x="106" y="142"/>
                  </a:lnTo>
                  <a:lnTo>
                    <a:pt x="106" y="142"/>
                  </a:lnTo>
                  <a:lnTo>
                    <a:pt x="104" y="138"/>
                  </a:lnTo>
                  <a:lnTo>
                    <a:pt x="104" y="134"/>
                  </a:lnTo>
                  <a:lnTo>
                    <a:pt x="104" y="134"/>
                  </a:lnTo>
                  <a:lnTo>
                    <a:pt x="106" y="132"/>
                  </a:lnTo>
                  <a:lnTo>
                    <a:pt x="106" y="132"/>
                  </a:lnTo>
                  <a:lnTo>
                    <a:pt x="108" y="128"/>
                  </a:lnTo>
                  <a:lnTo>
                    <a:pt x="106" y="124"/>
                  </a:lnTo>
                  <a:lnTo>
                    <a:pt x="106" y="124"/>
                  </a:lnTo>
                  <a:lnTo>
                    <a:pt x="102" y="126"/>
                  </a:lnTo>
                  <a:lnTo>
                    <a:pt x="102" y="126"/>
                  </a:lnTo>
                  <a:lnTo>
                    <a:pt x="102" y="126"/>
                  </a:lnTo>
                  <a:lnTo>
                    <a:pt x="102" y="126"/>
                  </a:lnTo>
                  <a:lnTo>
                    <a:pt x="100" y="128"/>
                  </a:lnTo>
                  <a:lnTo>
                    <a:pt x="100" y="128"/>
                  </a:lnTo>
                  <a:lnTo>
                    <a:pt x="100" y="126"/>
                  </a:lnTo>
                  <a:lnTo>
                    <a:pt x="100" y="124"/>
                  </a:lnTo>
                  <a:lnTo>
                    <a:pt x="100" y="124"/>
                  </a:lnTo>
                  <a:lnTo>
                    <a:pt x="96" y="124"/>
                  </a:lnTo>
                  <a:lnTo>
                    <a:pt x="96" y="126"/>
                  </a:lnTo>
                  <a:lnTo>
                    <a:pt x="96" y="126"/>
                  </a:lnTo>
                  <a:lnTo>
                    <a:pt x="94" y="126"/>
                  </a:lnTo>
                  <a:lnTo>
                    <a:pt x="96" y="128"/>
                  </a:lnTo>
                  <a:lnTo>
                    <a:pt x="96" y="128"/>
                  </a:lnTo>
                  <a:lnTo>
                    <a:pt x="90" y="128"/>
                  </a:lnTo>
                  <a:lnTo>
                    <a:pt x="90" y="128"/>
                  </a:lnTo>
                  <a:lnTo>
                    <a:pt x="90" y="120"/>
                  </a:lnTo>
                  <a:lnTo>
                    <a:pt x="88" y="120"/>
                  </a:lnTo>
                  <a:lnTo>
                    <a:pt x="88" y="120"/>
                  </a:lnTo>
                  <a:lnTo>
                    <a:pt x="88" y="120"/>
                  </a:lnTo>
                  <a:lnTo>
                    <a:pt x="86" y="118"/>
                  </a:lnTo>
                  <a:lnTo>
                    <a:pt x="86" y="118"/>
                  </a:lnTo>
                  <a:lnTo>
                    <a:pt x="86" y="118"/>
                  </a:lnTo>
                  <a:lnTo>
                    <a:pt x="84" y="118"/>
                  </a:lnTo>
                  <a:lnTo>
                    <a:pt x="84" y="116"/>
                  </a:lnTo>
                  <a:lnTo>
                    <a:pt x="84" y="116"/>
                  </a:lnTo>
                  <a:lnTo>
                    <a:pt x="86" y="114"/>
                  </a:lnTo>
                  <a:lnTo>
                    <a:pt x="88" y="112"/>
                  </a:lnTo>
                  <a:lnTo>
                    <a:pt x="88" y="112"/>
                  </a:lnTo>
                  <a:lnTo>
                    <a:pt x="82" y="112"/>
                  </a:lnTo>
                  <a:lnTo>
                    <a:pt x="82" y="112"/>
                  </a:lnTo>
                  <a:close/>
                  <a:moveTo>
                    <a:pt x="84" y="0"/>
                  </a:moveTo>
                  <a:lnTo>
                    <a:pt x="84" y="0"/>
                  </a:lnTo>
                  <a:lnTo>
                    <a:pt x="84" y="2"/>
                  </a:lnTo>
                  <a:lnTo>
                    <a:pt x="84" y="4"/>
                  </a:lnTo>
                  <a:lnTo>
                    <a:pt x="84" y="4"/>
                  </a:lnTo>
                  <a:lnTo>
                    <a:pt x="88" y="8"/>
                  </a:lnTo>
                  <a:lnTo>
                    <a:pt x="92" y="12"/>
                  </a:lnTo>
                  <a:lnTo>
                    <a:pt x="92" y="12"/>
                  </a:lnTo>
                  <a:lnTo>
                    <a:pt x="96" y="24"/>
                  </a:lnTo>
                  <a:lnTo>
                    <a:pt x="96" y="24"/>
                  </a:lnTo>
                  <a:lnTo>
                    <a:pt x="104" y="34"/>
                  </a:lnTo>
                  <a:lnTo>
                    <a:pt x="104" y="34"/>
                  </a:lnTo>
                  <a:lnTo>
                    <a:pt x="104" y="36"/>
                  </a:lnTo>
                  <a:lnTo>
                    <a:pt x="104" y="36"/>
                  </a:lnTo>
                  <a:lnTo>
                    <a:pt x="104" y="36"/>
                  </a:lnTo>
                  <a:lnTo>
                    <a:pt x="108" y="38"/>
                  </a:lnTo>
                  <a:lnTo>
                    <a:pt x="108" y="38"/>
                  </a:lnTo>
                  <a:lnTo>
                    <a:pt x="110" y="42"/>
                  </a:lnTo>
                  <a:lnTo>
                    <a:pt x="110" y="42"/>
                  </a:lnTo>
                  <a:lnTo>
                    <a:pt x="108" y="44"/>
                  </a:lnTo>
                  <a:lnTo>
                    <a:pt x="108" y="46"/>
                  </a:lnTo>
                  <a:lnTo>
                    <a:pt x="108" y="50"/>
                  </a:lnTo>
                  <a:lnTo>
                    <a:pt x="108" y="50"/>
                  </a:lnTo>
                  <a:lnTo>
                    <a:pt x="114" y="52"/>
                  </a:lnTo>
                  <a:lnTo>
                    <a:pt x="114" y="52"/>
                  </a:lnTo>
                  <a:lnTo>
                    <a:pt x="112" y="54"/>
                  </a:lnTo>
                  <a:lnTo>
                    <a:pt x="112" y="54"/>
                  </a:lnTo>
                  <a:lnTo>
                    <a:pt x="114" y="64"/>
                  </a:lnTo>
                  <a:lnTo>
                    <a:pt x="114" y="70"/>
                  </a:lnTo>
                  <a:lnTo>
                    <a:pt x="112" y="74"/>
                  </a:lnTo>
                  <a:lnTo>
                    <a:pt x="112" y="74"/>
                  </a:lnTo>
                  <a:lnTo>
                    <a:pt x="110" y="78"/>
                  </a:lnTo>
                  <a:lnTo>
                    <a:pt x="110" y="78"/>
                  </a:lnTo>
                  <a:lnTo>
                    <a:pt x="108" y="86"/>
                  </a:lnTo>
                  <a:lnTo>
                    <a:pt x="108" y="86"/>
                  </a:lnTo>
                  <a:lnTo>
                    <a:pt x="100" y="88"/>
                  </a:lnTo>
                  <a:lnTo>
                    <a:pt x="100" y="88"/>
                  </a:lnTo>
                  <a:lnTo>
                    <a:pt x="100" y="90"/>
                  </a:lnTo>
                  <a:lnTo>
                    <a:pt x="98" y="90"/>
                  </a:lnTo>
                  <a:lnTo>
                    <a:pt x="98" y="90"/>
                  </a:lnTo>
                  <a:lnTo>
                    <a:pt x="98" y="94"/>
                  </a:lnTo>
                  <a:lnTo>
                    <a:pt x="98" y="94"/>
                  </a:lnTo>
                  <a:lnTo>
                    <a:pt x="104" y="96"/>
                  </a:lnTo>
                  <a:lnTo>
                    <a:pt x="112" y="102"/>
                  </a:lnTo>
                  <a:lnTo>
                    <a:pt x="116" y="108"/>
                  </a:lnTo>
                  <a:lnTo>
                    <a:pt x="118" y="112"/>
                  </a:lnTo>
                  <a:lnTo>
                    <a:pt x="118" y="118"/>
                  </a:lnTo>
                  <a:lnTo>
                    <a:pt x="118" y="118"/>
                  </a:lnTo>
                  <a:lnTo>
                    <a:pt x="116" y="122"/>
                  </a:lnTo>
                  <a:lnTo>
                    <a:pt x="112" y="126"/>
                  </a:lnTo>
                  <a:lnTo>
                    <a:pt x="112" y="126"/>
                  </a:lnTo>
                  <a:lnTo>
                    <a:pt x="112" y="128"/>
                  </a:lnTo>
                  <a:lnTo>
                    <a:pt x="112" y="128"/>
                  </a:lnTo>
                  <a:lnTo>
                    <a:pt x="120" y="130"/>
                  </a:lnTo>
                  <a:lnTo>
                    <a:pt x="120" y="130"/>
                  </a:lnTo>
                  <a:lnTo>
                    <a:pt x="124" y="134"/>
                  </a:lnTo>
                  <a:lnTo>
                    <a:pt x="124" y="134"/>
                  </a:lnTo>
                  <a:lnTo>
                    <a:pt x="130" y="130"/>
                  </a:lnTo>
                  <a:lnTo>
                    <a:pt x="132" y="126"/>
                  </a:lnTo>
                  <a:lnTo>
                    <a:pt x="132" y="126"/>
                  </a:lnTo>
                  <a:lnTo>
                    <a:pt x="136" y="120"/>
                  </a:lnTo>
                  <a:lnTo>
                    <a:pt x="136" y="120"/>
                  </a:lnTo>
                  <a:lnTo>
                    <a:pt x="136" y="116"/>
                  </a:lnTo>
                  <a:lnTo>
                    <a:pt x="136" y="116"/>
                  </a:lnTo>
                  <a:lnTo>
                    <a:pt x="140" y="114"/>
                  </a:lnTo>
                  <a:lnTo>
                    <a:pt x="144" y="110"/>
                  </a:lnTo>
                  <a:lnTo>
                    <a:pt x="144" y="110"/>
                  </a:lnTo>
                  <a:lnTo>
                    <a:pt x="144" y="108"/>
                  </a:lnTo>
                  <a:lnTo>
                    <a:pt x="144" y="104"/>
                  </a:lnTo>
                  <a:lnTo>
                    <a:pt x="144" y="104"/>
                  </a:lnTo>
                  <a:lnTo>
                    <a:pt x="146" y="100"/>
                  </a:lnTo>
                  <a:lnTo>
                    <a:pt x="146" y="100"/>
                  </a:lnTo>
                  <a:lnTo>
                    <a:pt x="144" y="96"/>
                  </a:lnTo>
                  <a:lnTo>
                    <a:pt x="144" y="96"/>
                  </a:lnTo>
                  <a:lnTo>
                    <a:pt x="150" y="92"/>
                  </a:lnTo>
                  <a:lnTo>
                    <a:pt x="154" y="92"/>
                  </a:lnTo>
                  <a:lnTo>
                    <a:pt x="158" y="94"/>
                  </a:lnTo>
                  <a:lnTo>
                    <a:pt x="158" y="94"/>
                  </a:lnTo>
                  <a:lnTo>
                    <a:pt x="156" y="90"/>
                  </a:lnTo>
                  <a:lnTo>
                    <a:pt x="156" y="86"/>
                  </a:lnTo>
                  <a:lnTo>
                    <a:pt x="156" y="86"/>
                  </a:lnTo>
                  <a:lnTo>
                    <a:pt x="158" y="84"/>
                  </a:lnTo>
                  <a:lnTo>
                    <a:pt x="158" y="84"/>
                  </a:lnTo>
                  <a:lnTo>
                    <a:pt x="166" y="70"/>
                  </a:lnTo>
                  <a:lnTo>
                    <a:pt x="166" y="70"/>
                  </a:lnTo>
                  <a:lnTo>
                    <a:pt x="160" y="66"/>
                  </a:lnTo>
                  <a:lnTo>
                    <a:pt x="158" y="64"/>
                  </a:lnTo>
                  <a:lnTo>
                    <a:pt x="148" y="70"/>
                  </a:lnTo>
                  <a:lnTo>
                    <a:pt x="146" y="72"/>
                  </a:lnTo>
                  <a:lnTo>
                    <a:pt x="146" y="72"/>
                  </a:lnTo>
                  <a:lnTo>
                    <a:pt x="136" y="68"/>
                  </a:lnTo>
                  <a:lnTo>
                    <a:pt x="136" y="68"/>
                  </a:lnTo>
                  <a:lnTo>
                    <a:pt x="134" y="66"/>
                  </a:lnTo>
                  <a:lnTo>
                    <a:pt x="132" y="64"/>
                  </a:lnTo>
                  <a:lnTo>
                    <a:pt x="132" y="58"/>
                  </a:lnTo>
                  <a:lnTo>
                    <a:pt x="132" y="58"/>
                  </a:lnTo>
                  <a:lnTo>
                    <a:pt x="130" y="48"/>
                  </a:lnTo>
                  <a:lnTo>
                    <a:pt x="130" y="48"/>
                  </a:lnTo>
                  <a:lnTo>
                    <a:pt x="126" y="50"/>
                  </a:lnTo>
                  <a:lnTo>
                    <a:pt x="126" y="50"/>
                  </a:lnTo>
                  <a:lnTo>
                    <a:pt x="126" y="46"/>
                  </a:lnTo>
                  <a:lnTo>
                    <a:pt x="126" y="42"/>
                  </a:lnTo>
                  <a:lnTo>
                    <a:pt x="124" y="42"/>
                  </a:lnTo>
                  <a:lnTo>
                    <a:pt x="124" y="42"/>
                  </a:lnTo>
                  <a:lnTo>
                    <a:pt x="122" y="54"/>
                  </a:lnTo>
                  <a:lnTo>
                    <a:pt x="122" y="54"/>
                  </a:lnTo>
                  <a:lnTo>
                    <a:pt x="120" y="54"/>
                  </a:lnTo>
                  <a:lnTo>
                    <a:pt x="120" y="52"/>
                  </a:lnTo>
                  <a:lnTo>
                    <a:pt x="120" y="52"/>
                  </a:lnTo>
                  <a:lnTo>
                    <a:pt x="116" y="50"/>
                  </a:lnTo>
                  <a:lnTo>
                    <a:pt x="116" y="50"/>
                  </a:lnTo>
                  <a:lnTo>
                    <a:pt x="116" y="38"/>
                  </a:lnTo>
                  <a:lnTo>
                    <a:pt x="116" y="38"/>
                  </a:lnTo>
                  <a:lnTo>
                    <a:pt x="114" y="34"/>
                  </a:lnTo>
                  <a:lnTo>
                    <a:pt x="112" y="30"/>
                  </a:lnTo>
                  <a:lnTo>
                    <a:pt x="112" y="30"/>
                  </a:lnTo>
                  <a:lnTo>
                    <a:pt x="114" y="28"/>
                  </a:lnTo>
                  <a:lnTo>
                    <a:pt x="114" y="28"/>
                  </a:lnTo>
                  <a:lnTo>
                    <a:pt x="114" y="24"/>
                  </a:lnTo>
                  <a:lnTo>
                    <a:pt x="112" y="20"/>
                  </a:lnTo>
                  <a:lnTo>
                    <a:pt x="112" y="20"/>
                  </a:lnTo>
                  <a:lnTo>
                    <a:pt x="110" y="20"/>
                  </a:lnTo>
                  <a:lnTo>
                    <a:pt x="108" y="22"/>
                  </a:lnTo>
                  <a:lnTo>
                    <a:pt x="108" y="22"/>
                  </a:lnTo>
                  <a:lnTo>
                    <a:pt x="108" y="16"/>
                  </a:lnTo>
                  <a:lnTo>
                    <a:pt x="108" y="16"/>
                  </a:lnTo>
                  <a:lnTo>
                    <a:pt x="104" y="12"/>
                  </a:lnTo>
                  <a:lnTo>
                    <a:pt x="104" y="12"/>
                  </a:lnTo>
                  <a:lnTo>
                    <a:pt x="100" y="12"/>
                  </a:lnTo>
                  <a:lnTo>
                    <a:pt x="100" y="12"/>
                  </a:lnTo>
                  <a:lnTo>
                    <a:pt x="98" y="10"/>
                  </a:lnTo>
                  <a:lnTo>
                    <a:pt x="98" y="8"/>
                  </a:lnTo>
                  <a:lnTo>
                    <a:pt x="98" y="8"/>
                  </a:lnTo>
                  <a:lnTo>
                    <a:pt x="96" y="10"/>
                  </a:lnTo>
                  <a:lnTo>
                    <a:pt x="96" y="12"/>
                  </a:lnTo>
                  <a:lnTo>
                    <a:pt x="92" y="8"/>
                  </a:lnTo>
                  <a:lnTo>
                    <a:pt x="92" y="8"/>
                  </a:lnTo>
                  <a:lnTo>
                    <a:pt x="88" y="4"/>
                  </a:lnTo>
                  <a:lnTo>
                    <a:pt x="88" y="4"/>
                  </a:lnTo>
                  <a:lnTo>
                    <a:pt x="88" y="2"/>
                  </a:lnTo>
                  <a:lnTo>
                    <a:pt x="88" y="0"/>
                  </a:lnTo>
                  <a:lnTo>
                    <a:pt x="88" y="0"/>
                  </a:lnTo>
                  <a:lnTo>
                    <a:pt x="84" y="0"/>
                  </a:lnTo>
                  <a:lnTo>
                    <a:pt x="8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399" name="Freeform 127"/>
            <p:cNvSpPr>
              <a:spLocks noChangeAspect="1"/>
            </p:cNvSpPr>
            <p:nvPr/>
          </p:nvSpPr>
          <p:spPr bwMode="gray">
            <a:xfrm>
              <a:off x="4365613" y="2868179"/>
              <a:ext cx="98607" cy="75669"/>
            </a:xfrm>
            <a:custGeom>
              <a:avLst/>
              <a:gdLst/>
              <a:ahLst/>
              <a:cxnLst>
                <a:cxn ang="0">
                  <a:pos x="58" y="8"/>
                </a:cxn>
                <a:cxn ang="0">
                  <a:pos x="54" y="6"/>
                </a:cxn>
                <a:cxn ang="0">
                  <a:pos x="54" y="2"/>
                </a:cxn>
                <a:cxn ang="0">
                  <a:pos x="46" y="0"/>
                </a:cxn>
                <a:cxn ang="0">
                  <a:pos x="44" y="2"/>
                </a:cxn>
                <a:cxn ang="0">
                  <a:pos x="42" y="0"/>
                </a:cxn>
                <a:cxn ang="0">
                  <a:pos x="36" y="0"/>
                </a:cxn>
                <a:cxn ang="0">
                  <a:pos x="32" y="2"/>
                </a:cxn>
                <a:cxn ang="0">
                  <a:pos x="32" y="4"/>
                </a:cxn>
                <a:cxn ang="0">
                  <a:pos x="30" y="6"/>
                </a:cxn>
                <a:cxn ang="0">
                  <a:pos x="22" y="8"/>
                </a:cxn>
                <a:cxn ang="0">
                  <a:pos x="18" y="14"/>
                </a:cxn>
                <a:cxn ang="0">
                  <a:pos x="16" y="22"/>
                </a:cxn>
                <a:cxn ang="0">
                  <a:pos x="16" y="22"/>
                </a:cxn>
                <a:cxn ang="0">
                  <a:pos x="18" y="26"/>
                </a:cxn>
                <a:cxn ang="0">
                  <a:pos x="14" y="30"/>
                </a:cxn>
                <a:cxn ang="0">
                  <a:pos x="14" y="34"/>
                </a:cxn>
                <a:cxn ang="0">
                  <a:pos x="14" y="34"/>
                </a:cxn>
                <a:cxn ang="0">
                  <a:pos x="12" y="36"/>
                </a:cxn>
                <a:cxn ang="0">
                  <a:pos x="6" y="36"/>
                </a:cxn>
                <a:cxn ang="0">
                  <a:pos x="0" y="34"/>
                </a:cxn>
                <a:cxn ang="0">
                  <a:pos x="0" y="34"/>
                </a:cxn>
                <a:cxn ang="0">
                  <a:pos x="6" y="42"/>
                </a:cxn>
                <a:cxn ang="0">
                  <a:pos x="10" y="44"/>
                </a:cxn>
                <a:cxn ang="0">
                  <a:pos x="14" y="42"/>
                </a:cxn>
                <a:cxn ang="0">
                  <a:pos x="18" y="40"/>
                </a:cxn>
                <a:cxn ang="0">
                  <a:pos x="24" y="40"/>
                </a:cxn>
                <a:cxn ang="0">
                  <a:pos x="24" y="42"/>
                </a:cxn>
                <a:cxn ang="0">
                  <a:pos x="28" y="46"/>
                </a:cxn>
                <a:cxn ang="0">
                  <a:pos x="30" y="46"/>
                </a:cxn>
                <a:cxn ang="0">
                  <a:pos x="34" y="32"/>
                </a:cxn>
                <a:cxn ang="0">
                  <a:pos x="38" y="28"/>
                </a:cxn>
                <a:cxn ang="0">
                  <a:pos x="42" y="28"/>
                </a:cxn>
                <a:cxn ang="0">
                  <a:pos x="48" y="28"/>
                </a:cxn>
                <a:cxn ang="0">
                  <a:pos x="48" y="26"/>
                </a:cxn>
                <a:cxn ang="0">
                  <a:pos x="54" y="24"/>
                </a:cxn>
                <a:cxn ang="0">
                  <a:pos x="54" y="22"/>
                </a:cxn>
                <a:cxn ang="0">
                  <a:pos x="52" y="18"/>
                </a:cxn>
                <a:cxn ang="0">
                  <a:pos x="54" y="18"/>
                </a:cxn>
                <a:cxn ang="0">
                  <a:pos x="58" y="14"/>
                </a:cxn>
                <a:cxn ang="0">
                  <a:pos x="58" y="8"/>
                </a:cxn>
              </a:cxnLst>
              <a:rect l="0" t="0" r="r" b="b"/>
              <a:pathLst>
                <a:path w="58" h="46">
                  <a:moveTo>
                    <a:pt x="58" y="8"/>
                  </a:moveTo>
                  <a:lnTo>
                    <a:pt x="58" y="8"/>
                  </a:lnTo>
                  <a:lnTo>
                    <a:pt x="54" y="6"/>
                  </a:lnTo>
                  <a:lnTo>
                    <a:pt x="54" y="6"/>
                  </a:lnTo>
                  <a:lnTo>
                    <a:pt x="54" y="2"/>
                  </a:lnTo>
                  <a:lnTo>
                    <a:pt x="54" y="2"/>
                  </a:lnTo>
                  <a:lnTo>
                    <a:pt x="50" y="0"/>
                  </a:lnTo>
                  <a:lnTo>
                    <a:pt x="46" y="0"/>
                  </a:lnTo>
                  <a:lnTo>
                    <a:pt x="46" y="0"/>
                  </a:lnTo>
                  <a:lnTo>
                    <a:pt x="44" y="2"/>
                  </a:lnTo>
                  <a:lnTo>
                    <a:pt x="42" y="0"/>
                  </a:lnTo>
                  <a:lnTo>
                    <a:pt x="42" y="0"/>
                  </a:lnTo>
                  <a:lnTo>
                    <a:pt x="38" y="0"/>
                  </a:lnTo>
                  <a:lnTo>
                    <a:pt x="36" y="0"/>
                  </a:lnTo>
                  <a:lnTo>
                    <a:pt x="36" y="0"/>
                  </a:lnTo>
                  <a:lnTo>
                    <a:pt x="32" y="2"/>
                  </a:lnTo>
                  <a:lnTo>
                    <a:pt x="32" y="2"/>
                  </a:lnTo>
                  <a:lnTo>
                    <a:pt x="32" y="4"/>
                  </a:lnTo>
                  <a:lnTo>
                    <a:pt x="30" y="6"/>
                  </a:lnTo>
                  <a:lnTo>
                    <a:pt x="30" y="6"/>
                  </a:lnTo>
                  <a:lnTo>
                    <a:pt x="26" y="8"/>
                  </a:lnTo>
                  <a:lnTo>
                    <a:pt x="22" y="8"/>
                  </a:lnTo>
                  <a:lnTo>
                    <a:pt x="22" y="8"/>
                  </a:lnTo>
                  <a:lnTo>
                    <a:pt x="18" y="14"/>
                  </a:lnTo>
                  <a:lnTo>
                    <a:pt x="18" y="18"/>
                  </a:lnTo>
                  <a:lnTo>
                    <a:pt x="16" y="22"/>
                  </a:lnTo>
                  <a:lnTo>
                    <a:pt x="16" y="22"/>
                  </a:lnTo>
                  <a:lnTo>
                    <a:pt x="16" y="22"/>
                  </a:lnTo>
                  <a:lnTo>
                    <a:pt x="16" y="24"/>
                  </a:lnTo>
                  <a:lnTo>
                    <a:pt x="18" y="26"/>
                  </a:lnTo>
                  <a:lnTo>
                    <a:pt x="18" y="26"/>
                  </a:lnTo>
                  <a:lnTo>
                    <a:pt x="14" y="30"/>
                  </a:lnTo>
                  <a:lnTo>
                    <a:pt x="14" y="30"/>
                  </a:lnTo>
                  <a:lnTo>
                    <a:pt x="14" y="34"/>
                  </a:lnTo>
                  <a:lnTo>
                    <a:pt x="14" y="34"/>
                  </a:lnTo>
                  <a:lnTo>
                    <a:pt x="14" y="34"/>
                  </a:lnTo>
                  <a:lnTo>
                    <a:pt x="12" y="36"/>
                  </a:lnTo>
                  <a:lnTo>
                    <a:pt x="12" y="36"/>
                  </a:lnTo>
                  <a:lnTo>
                    <a:pt x="6" y="36"/>
                  </a:lnTo>
                  <a:lnTo>
                    <a:pt x="6" y="36"/>
                  </a:lnTo>
                  <a:lnTo>
                    <a:pt x="4" y="36"/>
                  </a:lnTo>
                  <a:lnTo>
                    <a:pt x="0" y="34"/>
                  </a:lnTo>
                  <a:lnTo>
                    <a:pt x="0" y="34"/>
                  </a:lnTo>
                  <a:lnTo>
                    <a:pt x="0" y="34"/>
                  </a:lnTo>
                  <a:lnTo>
                    <a:pt x="2" y="38"/>
                  </a:lnTo>
                  <a:lnTo>
                    <a:pt x="6" y="42"/>
                  </a:lnTo>
                  <a:lnTo>
                    <a:pt x="10" y="44"/>
                  </a:lnTo>
                  <a:lnTo>
                    <a:pt x="10" y="44"/>
                  </a:lnTo>
                  <a:lnTo>
                    <a:pt x="12" y="44"/>
                  </a:lnTo>
                  <a:lnTo>
                    <a:pt x="14" y="42"/>
                  </a:lnTo>
                  <a:lnTo>
                    <a:pt x="18" y="40"/>
                  </a:lnTo>
                  <a:lnTo>
                    <a:pt x="18" y="40"/>
                  </a:lnTo>
                  <a:lnTo>
                    <a:pt x="22" y="40"/>
                  </a:lnTo>
                  <a:lnTo>
                    <a:pt x="24" y="40"/>
                  </a:lnTo>
                  <a:lnTo>
                    <a:pt x="24" y="42"/>
                  </a:lnTo>
                  <a:lnTo>
                    <a:pt x="24" y="42"/>
                  </a:lnTo>
                  <a:lnTo>
                    <a:pt x="26" y="44"/>
                  </a:lnTo>
                  <a:lnTo>
                    <a:pt x="28" y="46"/>
                  </a:lnTo>
                  <a:lnTo>
                    <a:pt x="30" y="46"/>
                  </a:lnTo>
                  <a:lnTo>
                    <a:pt x="30" y="46"/>
                  </a:lnTo>
                  <a:lnTo>
                    <a:pt x="34" y="32"/>
                  </a:lnTo>
                  <a:lnTo>
                    <a:pt x="34" y="32"/>
                  </a:lnTo>
                  <a:lnTo>
                    <a:pt x="36" y="28"/>
                  </a:lnTo>
                  <a:lnTo>
                    <a:pt x="38" y="28"/>
                  </a:lnTo>
                  <a:lnTo>
                    <a:pt x="42" y="28"/>
                  </a:lnTo>
                  <a:lnTo>
                    <a:pt x="42" y="28"/>
                  </a:lnTo>
                  <a:lnTo>
                    <a:pt x="46" y="30"/>
                  </a:lnTo>
                  <a:lnTo>
                    <a:pt x="48" y="28"/>
                  </a:lnTo>
                  <a:lnTo>
                    <a:pt x="48" y="26"/>
                  </a:lnTo>
                  <a:lnTo>
                    <a:pt x="48" y="26"/>
                  </a:lnTo>
                  <a:lnTo>
                    <a:pt x="52" y="24"/>
                  </a:lnTo>
                  <a:lnTo>
                    <a:pt x="54" y="24"/>
                  </a:lnTo>
                  <a:lnTo>
                    <a:pt x="54" y="22"/>
                  </a:lnTo>
                  <a:lnTo>
                    <a:pt x="54" y="22"/>
                  </a:lnTo>
                  <a:lnTo>
                    <a:pt x="52" y="18"/>
                  </a:lnTo>
                  <a:lnTo>
                    <a:pt x="52" y="18"/>
                  </a:lnTo>
                  <a:lnTo>
                    <a:pt x="54" y="18"/>
                  </a:lnTo>
                  <a:lnTo>
                    <a:pt x="54" y="18"/>
                  </a:lnTo>
                  <a:lnTo>
                    <a:pt x="56" y="16"/>
                  </a:lnTo>
                  <a:lnTo>
                    <a:pt x="58" y="14"/>
                  </a:lnTo>
                  <a:lnTo>
                    <a:pt x="58" y="8"/>
                  </a:lnTo>
                  <a:lnTo>
                    <a:pt x="58" y="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0" name="Freeform 128"/>
            <p:cNvSpPr>
              <a:spLocks noChangeAspect="1"/>
            </p:cNvSpPr>
            <p:nvPr/>
          </p:nvSpPr>
          <p:spPr bwMode="gray">
            <a:xfrm>
              <a:off x="6111631" y="3595256"/>
              <a:ext cx="187013" cy="108568"/>
            </a:xfrm>
            <a:custGeom>
              <a:avLst/>
              <a:gdLst/>
              <a:ahLst/>
              <a:cxnLst>
                <a:cxn ang="0">
                  <a:pos x="108" y="42"/>
                </a:cxn>
                <a:cxn ang="0">
                  <a:pos x="98" y="40"/>
                </a:cxn>
                <a:cxn ang="0">
                  <a:pos x="86" y="38"/>
                </a:cxn>
                <a:cxn ang="0">
                  <a:pos x="80" y="34"/>
                </a:cxn>
                <a:cxn ang="0">
                  <a:pos x="74" y="34"/>
                </a:cxn>
                <a:cxn ang="0">
                  <a:pos x="70" y="30"/>
                </a:cxn>
                <a:cxn ang="0">
                  <a:pos x="64" y="24"/>
                </a:cxn>
                <a:cxn ang="0">
                  <a:pos x="58" y="20"/>
                </a:cxn>
                <a:cxn ang="0">
                  <a:pos x="58" y="14"/>
                </a:cxn>
                <a:cxn ang="0">
                  <a:pos x="52" y="10"/>
                </a:cxn>
                <a:cxn ang="0">
                  <a:pos x="46" y="12"/>
                </a:cxn>
                <a:cxn ang="0">
                  <a:pos x="40" y="12"/>
                </a:cxn>
                <a:cxn ang="0">
                  <a:pos x="34" y="2"/>
                </a:cxn>
                <a:cxn ang="0">
                  <a:pos x="28" y="0"/>
                </a:cxn>
                <a:cxn ang="0">
                  <a:pos x="22" y="0"/>
                </a:cxn>
                <a:cxn ang="0">
                  <a:pos x="16" y="0"/>
                </a:cxn>
                <a:cxn ang="0">
                  <a:pos x="12" y="0"/>
                </a:cxn>
                <a:cxn ang="0">
                  <a:pos x="4" y="6"/>
                </a:cxn>
                <a:cxn ang="0">
                  <a:pos x="0" y="14"/>
                </a:cxn>
                <a:cxn ang="0">
                  <a:pos x="2" y="22"/>
                </a:cxn>
                <a:cxn ang="0">
                  <a:pos x="10" y="26"/>
                </a:cxn>
                <a:cxn ang="0">
                  <a:pos x="10" y="30"/>
                </a:cxn>
                <a:cxn ang="0">
                  <a:pos x="18" y="34"/>
                </a:cxn>
                <a:cxn ang="0">
                  <a:pos x="26" y="36"/>
                </a:cxn>
                <a:cxn ang="0">
                  <a:pos x="34" y="42"/>
                </a:cxn>
                <a:cxn ang="0">
                  <a:pos x="42" y="42"/>
                </a:cxn>
                <a:cxn ang="0">
                  <a:pos x="48" y="46"/>
                </a:cxn>
                <a:cxn ang="0">
                  <a:pos x="52" y="50"/>
                </a:cxn>
                <a:cxn ang="0">
                  <a:pos x="58" y="52"/>
                </a:cxn>
                <a:cxn ang="0">
                  <a:pos x="64" y="58"/>
                </a:cxn>
                <a:cxn ang="0">
                  <a:pos x="74" y="58"/>
                </a:cxn>
                <a:cxn ang="0">
                  <a:pos x="86" y="64"/>
                </a:cxn>
                <a:cxn ang="0">
                  <a:pos x="94" y="64"/>
                </a:cxn>
                <a:cxn ang="0">
                  <a:pos x="100" y="66"/>
                </a:cxn>
                <a:cxn ang="0">
                  <a:pos x="106" y="64"/>
                </a:cxn>
                <a:cxn ang="0">
                  <a:pos x="108" y="62"/>
                </a:cxn>
                <a:cxn ang="0">
                  <a:pos x="110" y="58"/>
                </a:cxn>
                <a:cxn ang="0">
                  <a:pos x="106" y="54"/>
                </a:cxn>
                <a:cxn ang="0">
                  <a:pos x="108" y="50"/>
                </a:cxn>
                <a:cxn ang="0">
                  <a:pos x="108" y="42"/>
                </a:cxn>
              </a:cxnLst>
              <a:rect l="0" t="0" r="r" b="b"/>
              <a:pathLst>
                <a:path w="110" h="66">
                  <a:moveTo>
                    <a:pt x="108" y="42"/>
                  </a:moveTo>
                  <a:lnTo>
                    <a:pt x="98" y="40"/>
                  </a:lnTo>
                  <a:lnTo>
                    <a:pt x="86" y="38"/>
                  </a:lnTo>
                  <a:lnTo>
                    <a:pt x="80" y="34"/>
                  </a:lnTo>
                  <a:lnTo>
                    <a:pt x="74" y="34"/>
                  </a:lnTo>
                  <a:lnTo>
                    <a:pt x="70" y="30"/>
                  </a:lnTo>
                  <a:lnTo>
                    <a:pt x="64" y="24"/>
                  </a:lnTo>
                  <a:lnTo>
                    <a:pt x="58" y="20"/>
                  </a:lnTo>
                  <a:lnTo>
                    <a:pt x="58" y="14"/>
                  </a:lnTo>
                  <a:lnTo>
                    <a:pt x="52" y="10"/>
                  </a:lnTo>
                  <a:lnTo>
                    <a:pt x="46" y="12"/>
                  </a:lnTo>
                  <a:lnTo>
                    <a:pt x="40" y="12"/>
                  </a:lnTo>
                  <a:lnTo>
                    <a:pt x="34" y="2"/>
                  </a:lnTo>
                  <a:lnTo>
                    <a:pt x="28" y="0"/>
                  </a:lnTo>
                  <a:lnTo>
                    <a:pt x="22" y="0"/>
                  </a:lnTo>
                  <a:lnTo>
                    <a:pt x="16" y="0"/>
                  </a:lnTo>
                  <a:lnTo>
                    <a:pt x="12" y="0"/>
                  </a:lnTo>
                  <a:lnTo>
                    <a:pt x="4" y="6"/>
                  </a:lnTo>
                  <a:lnTo>
                    <a:pt x="0" y="14"/>
                  </a:lnTo>
                  <a:lnTo>
                    <a:pt x="2" y="22"/>
                  </a:lnTo>
                  <a:lnTo>
                    <a:pt x="10" y="26"/>
                  </a:lnTo>
                  <a:lnTo>
                    <a:pt x="10" y="30"/>
                  </a:lnTo>
                  <a:lnTo>
                    <a:pt x="18" y="34"/>
                  </a:lnTo>
                  <a:lnTo>
                    <a:pt x="26" y="36"/>
                  </a:lnTo>
                  <a:lnTo>
                    <a:pt x="34" y="42"/>
                  </a:lnTo>
                  <a:lnTo>
                    <a:pt x="42" y="42"/>
                  </a:lnTo>
                  <a:lnTo>
                    <a:pt x="48" y="46"/>
                  </a:lnTo>
                  <a:lnTo>
                    <a:pt x="52" y="50"/>
                  </a:lnTo>
                  <a:lnTo>
                    <a:pt x="58" y="52"/>
                  </a:lnTo>
                  <a:lnTo>
                    <a:pt x="64" y="58"/>
                  </a:lnTo>
                  <a:lnTo>
                    <a:pt x="74" y="58"/>
                  </a:lnTo>
                  <a:lnTo>
                    <a:pt x="86" y="64"/>
                  </a:lnTo>
                  <a:lnTo>
                    <a:pt x="94" y="64"/>
                  </a:lnTo>
                  <a:lnTo>
                    <a:pt x="100" y="66"/>
                  </a:lnTo>
                  <a:lnTo>
                    <a:pt x="106" y="64"/>
                  </a:lnTo>
                  <a:lnTo>
                    <a:pt x="108" y="62"/>
                  </a:lnTo>
                  <a:lnTo>
                    <a:pt x="110" y="58"/>
                  </a:lnTo>
                  <a:lnTo>
                    <a:pt x="106" y="54"/>
                  </a:lnTo>
                  <a:lnTo>
                    <a:pt x="108" y="50"/>
                  </a:lnTo>
                  <a:lnTo>
                    <a:pt x="108" y="4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1" name="Freeform 130"/>
            <p:cNvSpPr>
              <a:spLocks noChangeAspect="1"/>
            </p:cNvSpPr>
            <p:nvPr/>
          </p:nvSpPr>
          <p:spPr bwMode="gray">
            <a:xfrm>
              <a:off x="5356780" y="3279422"/>
              <a:ext cx="20401" cy="23030"/>
            </a:xfrm>
            <a:custGeom>
              <a:avLst/>
              <a:gdLst/>
              <a:ahLst/>
              <a:cxnLst>
                <a:cxn ang="0">
                  <a:pos x="10" y="14"/>
                </a:cxn>
                <a:cxn ang="0">
                  <a:pos x="10" y="14"/>
                </a:cxn>
                <a:cxn ang="0">
                  <a:pos x="4" y="8"/>
                </a:cxn>
                <a:cxn ang="0">
                  <a:pos x="2" y="6"/>
                </a:cxn>
                <a:cxn ang="0">
                  <a:pos x="0" y="2"/>
                </a:cxn>
                <a:cxn ang="0">
                  <a:pos x="6" y="0"/>
                </a:cxn>
                <a:cxn ang="0">
                  <a:pos x="8" y="4"/>
                </a:cxn>
                <a:cxn ang="0">
                  <a:pos x="6" y="4"/>
                </a:cxn>
                <a:cxn ang="0">
                  <a:pos x="8" y="8"/>
                </a:cxn>
                <a:cxn ang="0">
                  <a:pos x="8" y="8"/>
                </a:cxn>
                <a:cxn ang="0">
                  <a:pos x="12" y="10"/>
                </a:cxn>
                <a:cxn ang="0">
                  <a:pos x="12" y="12"/>
                </a:cxn>
                <a:cxn ang="0">
                  <a:pos x="12" y="12"/>
                </a:cxn>
                <a:cxn ang="0">
                  <a:pos x="12" y="14"/>
                </a:cxn>
                <a:cxn ang="0">
                  <a:pos x="10" y="14"/>
                </a:cxn>
                <a:cxn ang="0">
                  <a:pos x="10" y="14"/>
                </a:cxn>
              </a:cxnLst>
              <a:rect l="0" t="0" r="r" b="b"/>
              <a:pathLst>
                <a:path w="12" h="14">
                  <a:moveTo>
                    <a:pt x="10" y="14"/>
                  </a:moveTo>
                  <a:lnTo>
                    <a:pt x="10" y="14"/>
                  </a:lnTo>
                  <a:lnTo>
                    <a:pt x="4" y="8"/>
                  </a:lnTo>
                  <a:lnTo>
                    <a:pt x="2" y="6"/>
                  </a:lnTo>
                  <a:lnTo>
                    <a:pt x="0" y="2"/>
                  </a:lnTo>
                  <a:lnTo>
                    <a:pt x="6" y="0"/>
                  </a:lnTo>
                  <a:lnTo>
                    <a:pt x="8" y="4"/>
                  </a:lnTo>
                  <a:lnTo>
                    <a:pt x="6" y="4"/>
                  </a:lnTo>
                  <a:lnTo>
                    <a:pt x="8" y="8"/>
                  </a:lnTo>
                  <a:lnTo>
                    <a:pt x="8" y="8"/>
                  </a:lnTo>
                  <a:lnTo>
                    <a:pt x="12" y="10"/>
                  </a:lnTo>
                  <a:lnTo>
                    <a:pt x="12" y="12"/>
                  </a:lnTo>
                  <a:lnTo>
                    <a:pt x="12" y="12"/>
                  </a:lnTo>
                  <a:lnTo>
                    <a:pt x="12" y="14"/>
                  </a:lnTo>
                  <a:lnTo>
                    <a:pt x="10" y="14"/>
                  </a:lnTo>
                  <a:lnTo>
                    <a:pt x="10" y="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2" name="Freeform 133"/>
            <p:cNvSpPr>
              <a:spLocks noChangeAspect="1"/>
            </p:cNvSpPr>
            <p:nvPr/>
          </p:nvSpPr>
          <p:spPr bwMode="gray">
            <a:xfrm>
              <a:off x="6298644" y="2907658"/>
              <a:ext cx="717449" cy="335574"/>
            </a:xfrm>
            <a:custGeom>
              <a:avLst/>
              <a:gdLst/>
              <a:ahLst/>
              <a:cxnLst>
                <a:cxn ang="0">
                  <a:pos x="14" y="52"/>
                </a:cxn>
                <a:cxn ang="0">
                  <a:pos x="20" y="40"/>
                </a:cxn>
                <a:cxn ang="0">
                  <a:pos x="40" y="30"/>
                </a:cxn>
                <a:cxn ang="0">
                  <a:pos x="62" y="26"/>
                </a:cxn>
                <a:cxn ang="0">
                  <a:pos x="82" y="32"/>
                </a:cxn>
                <a:cxn ang="0">
                  <a:pos x="108" y="38"/>
                </a:cxn>
                <a:cxn ang="0">
                  <a:pos x="134" y="34"/>
                </a:cxn>
                <a:cxn ang="0">
                  <a:pos x="122" y="16"/>
                </a:cxn>
                <a:cxn ang="0">
                  <a:pos x="130" y="0"/>
                </a:cxn>
                <a:cxn ang="0">
                  <a:pos x="156" y="2"/>
                </a:cxn>
                <a:cxn ang="0">
                  <a:pos x="182" y="18"/>
                </a:cxn>
                <a:cxn ang="0">
                  <a:pos x="198" y="36"/>
                </a:cxn>
                <a:cxn ang="0">
                  <a:pos x="220" y="42"/>
                </a:cxn>
                <a:cxn ang="0">
                  <a:pos x="240" y="38"/>
                </a:cxn>
                <a:cxn ang="0">
                  <a:pos x="258" y="48"/>
                </a:cxn>
                <a:cxn ang="0">
                  <a:pos x="276" y="56"/>
                </a:cxn>
                <a:cxn ang="0">
                  <a:pos x="294" y="56"/>
                </a:cxn>
                <a:cxn ang="0">
                  <a:pos x="320" y="52"/>
                </a:cxn>
                <a:cxn ang="0">
                  <a:pos x="348" y="40"/>
                </a:cxn>
                <a:cxn ang="0">
                  <a:pos x="374" y="48"/>
                </a:cxn>
                <a:cxn ang="0">
                  <a:pos x="370" y="70"/>
                </a:cxn>
                <a:cxn ang="0">
                  <a:pos x="368" y="76"/>
                </a:cxn>
                <a:cxn ang="0">
                  <a:pos x="376" y="90"/>
                </a:cxn>
                <a:cxn ang="0">
                  <a:pos x="396" y="82"/>
                </a:cxn>
                <a:cxn ang="0">
                  <a:pos x="416" y="96"/>
                </a:cxn>
                <a:cxn ang="0">
                  <a:pos x="418" y="108"/>
                </a:cxn>
                <a:cxn ang="0">
                  <a:pos x="408" y="108"/>
                </a:cxn>
                <a:cxn ang="0">
                  <a:pos x="400" y="112"/>
                </a:cxn>
                <a:cxn ang="0">
                  <a:pos x="380" y="122"/>
                </a:cxn>
                <a:cxn ang="0">
                  <a:pos x="368" y="126"/>
                </a:cxn>
                <a:cxn ang="0">
                  <a:pos x="344" y="144"/>
                </a:cxn>
                <a:cxn ang="0">
                  <a:pos x="318" y="140"/>
                </a:cxn>
                <a:cxn ang="0">
                  <a:pos x="304" y="150"/>
                </a:cxn>
                <a:cxn ang="0">
                  <a:pos x="306" y="172"/>
                </a:cxn>
                <a:cxn ang="0">
                  <a:pos x="286" y="184"/>
                </a:cxn>
                <a:cxn ang="0">
                  <a:pos x="252" y="190"/>
                </a:cxn>
                <a:cxn ang="0">
                  <a:pos x="232" y="202"/>
                </a:cxn>
                <a:cxn ang="0">
                  <a:pos x="200" y="204"/>
                </a:cxn>
                <a:cxn ang="0">
                  <a:pos x="182" y="190"/>
                </a:cxn>
                <a:cxn ang="0">
                  <a:pos x="138" y="188"/>
                </a:cxn>
                <a:cxn ang="0">
                  <a:pos x="114" y="182"/>
                </a:cxn>
                <a:cxn ang="0">
                  <a:pos x="94" y="166"/>
                </a:cxn>
                <a:cxn ang="0">
                  <a:pos x="78" y="150"/>
                </a:cxn>
                <a:cxn ang="0">
                  <a:pos x="58" y="140"/>
                </a:cxn>
                <a:cxn ang="0">
                  <a:pos x="50" y="124"/>
                </a:cxn>
                <a:cxn ang="0">
                  <a:pos x="40" y="108"/>
                </a:cxn>
                <a:cxn ang="0">
                  <a:pos x="24" y="88"/>
                </a:cxn>
                <a:cxn ang="0">
                  <a:pos x="4" y="84"/>
                </a:cxn>
                <a:cxn ang="0">
                  <a:pos x="2" y="56"/>
                </a:cxn>
              </a:cxnLst>
              <a:rect l="0" t="0" r="r" b="b"/>
              <a:pathLst>
                <a:path w="422" h="204">
                  <a:moveTo>
                    <a:pt x="2" y="56"/>
                  </a:moveTo>
                  <a:lnTo>
                    <a:pt x="8" y="54"/>
                  </a:lnTo>
                  <a:lnTo>
                    <a:pt x="14" y="52"/>
                  </a:lnTo>
                  <a:lnTo>
                    <a:pt x="16" y="48"/>
                  </a:lnTo>
                  <a:lnTo>
                    <a:pt x="16" y="44"/>
                  </a:lnTo>
                  <a:lnTo>
                    <a:pt x="20" y="40"/>
                  </a:lnTo>
                  <a:lnTo>
                    <a:pt x="24" y="36"/>
                  </a:lnTo>
                  <a:lnTo>
                    <a:pt x="32" y="34"/>
                  </a:lnTo>
                  <a:lnTo>
                    <a:pt x="40" y="30"/>
                  </a:lnTo>
                  <a:lnTo>
                    <a:pt x="44" y="26"/>
                  </a:lnTo>
                  <a:lnTo>
                    <a:pt x="54" y="26"/>
                  </a:lnTo>
                  <a:lnTo>
                    <a:pt x="62" y="26"/>
                  </a:lnTo>
                  <a:lnTo>
                    <a:pt x="64" y="30"/>
                  </a:lnTo>
                  <a:lnTo>
                    <a:pt x="72" y="28"/>
                  </a:lnTo>
                  <a:lnTo>
                    <a:pt x="82" y="32"/>
                  </a:lnTo>
                  <a:lnTo>
                    <a:pt x="90" y="36"/>
                  </a:lnTo>
                  <a:lnTo>
                    <a:pt x="98" y="38"/>
                  </a:lnTo>
                  <a:lnTo>
                    <a:pt x="108" y="38"/>
                  </a:lnTo>
                  <a:lnTo>
                    <a:pt x="120" y="38"/>
                  </a:lnTo>
                  <a:lnTo>
                    <a:pt x="130" y="38"/>
                  </a:lnTo>
                  <a:lnTo>
                    <a:pt x="134" y="34"/>
                  </a:lnTo>
                  <a:lnTo>
                    <a:pt x="132" y="26"/>
                  </a:lnTo>
                  <a:lnTo>
                    <a:pt x="128" y="20"/>
                  </a:lnTo>
                  <a:lnTo>
                    <a:pt x="122" y="16"/>
                  </a:lnTo>
                  <a:lnTo>
                    <a:pt x="124" y="10"/>
                  </a:lnTo>
                  <a:lnTo>
                    <a:pt x="128" y="4"/>
                  </a:lnTo>
                  <a:lnTo>
                    <a:pt x="130" y="0"/>
                  </a:lnTo>
                  <a:lnTo>
                    <a:pt x="140" y="0"/>
                  </a:lnTo>
                  <a:lnTo>
                    <a:pt x="146" y="2"/>
                  </a:lnTo>
                  <a:lnTo>
                    <a:pt x="156" y="2"/>
                  </a:lnTo>
                  <a:lnTo>
                    <a:pt x="160" y="6"/>
                  </a:lnTo>
                  <a:lnTo>
                    <a:pt x="170" y="8"/>
                  </a:lnTo>
                  <a:lnTo>
                    <a:pt x="182" y="18"/>
                  </a:lnTo>
                  <a:lnTo>
                    <a:pt x="190" y="24"/>
                  </a:lnTo>
                  <a:lnTo>
                    <a:pt x="194" y="34"/>
                  </a:lnTo>
                  <a:lnTo>
                    <a:pt x="198" y="36"/>
                  </a:lnTo>
                  <a:lnTo>
                    <a:pt x="208" y="42"/>
                  </a:lnTo>
                  <a:lnTo>
                    <a:pt x="214" y="42"/>
                  </a:lnTo>
                  <a:lnTo>
                    <a:pt x="220" y="42"/>
                  </a:lnTo>
                  <a:lnTo>
                    <a:pt x="226" y="40"/>
                  </a:lnTo>
                  <a:lnTo>
                    <a:pt x="232" y="36"/>
                  </a:lnTo>
                  <a:lnTo>
                    <a:pt x="240" y="38"/>
                  </a:lnTo>
                  <a:lnTo>
                    <a:pt x="252" y="42"/>
                  </a:lnTo>
                  <a:lnTo>
                    <a:pt x="258" y="42"/>
                  </a:lnTo>
                  <a:lnTo>
                    <a:pt x="258" y="48"/>
                  </a:lnTo>
                  <a:lnTo>
                    <a:pt x="264" y="52"/>
                  </a:lnTo>
                  <a:lnTo>
                    <a:pt x="270" y="52"/>
                  </a:lnTo>
                  <a:lnTo>
                    <a:pt x="276" y="56"/>
                  </a:lnTo>
                  <a:lnTo>
                    <a:pt x="282" y="56"/>
                  </a:lnTo>
                  <a:lnTo>
                    <a:pt x="288" y="54"/>
                  </a:lnTo>
                  <a:lnTo>
                    <a:pt x="294" y="56"/>
                  </a:lnTo>
                  <a:lnTo>
                    <a:pt x="304" y="58"/>
                  </a:lnTo>
                  <a:lnTo>
                    <a:pt x="314" y="56"/>
                  </a:lnTo>
                  <a:lnTo>
                    <a:pt x="320" y="52"/>
                  </a:lnTo>
                  <a:lnTo>
                    <a:pt x="332" y="50"/>
                  </a:lnTo>
                  <a:lnTo>
                    <a:pt x="344" y="42"/>
                  </a:lnTo>
                  <a:lnTo>
                    <a:pt x="348" y="40"/>
                  </a:lnTo>
                  <a:lnTo>
                    <a:pt x="358" y="46"/>
                  </a:lnTo>
                  <a:lnTo>
                    <a:pt x="364" y="46"/>
                  </a:lnTo>
                  <a:lnTo>
                    <a:pt x="374" y="48"/>
                  </a:lnTo>
                  <a:lnTo>
                    <a:pt x="368" y="64"/>
                  </a:lnTo>
                  <a:lnTo>
                    <a:pt x="368" y="64"/>
                  </a:lnTo>
                  <a:lnTo>
                    <a:pt x="370" y="70"/>
                  </a:lnTo>
                  <a:lnTo>
                    <a:pt x="370" y="70"/>
                  </a:lnTo>
                  <a:lnTo>
                    <a:pt x="370" y="74"/>
                  </a:lnTo>
                  <a:lnTo>
                    <a:pt x="368" y="76"/>
                  </a:lnTo>
                  <a:lnTo>
                    <a:pt x="366" y="80"/>
                  </a:lnTo>
                  <a:lnTo>
                    <a:pt x="366" y="86"/>
                  </a:lnTo>
                  <a:lnTo>
                    <a:pt x="376" y="90"/>
                  </a:lnTo>
                  <a:lnTo>
                    <a:pt x="386" y="88"/>
                  </a:lnTo>
                  <a:lnTo>
                    <a:pt x="392" y="82"/>
                  </a:lnTo>
                  <a:lnTo>
                    <a:pt x="396" y="82"/>
                  </a:lnTo>
                  <a:lnTo>
                    <a:pt x="400" y="86"/>
                  </a:lnTo>
                  <a:lnTo>
                    <a:pt x="406" y="92"/>
                  </a:lnTo>
                  <a:lnTo>
                    <a:pt x="416" y="96"/>
                  </a:lnTo>
                  <a:lnTo>
                    <a:pt x="422" y="102"/>
                  </a:lnTo>
                  <a:lnTo>
                    <a:pt x="418" y="108"/>
                  </a:lnTo>
                  <a:lnTo>
                    <a:pt x="418" y="108"/>
                  </a:lnTo>
                  <a:lnTo>
                    <a:pt x="414" y="106"/>
                  </a:lnTo>
                  <a:lnTo>
                    <a:pt x="410" y="106"/>
                  </a:lnTo>
                  <a:lnTo>
                    <a:pt x="408" y="108"/>
                  </a:lnTo>
                  <a:lnTo>
                    <a:pt x="408" y="108"/>
                  </a:lnTo>
                  <a:lnTo>
                    <a:pt x="404" y="110"/>
                  </a:lnTo>
                  <a:lnTo>
                    <a:pt x="400" y="112"/>
                  </a:lnTo>
                  <a:lnTo>
                    <a:pt x="398" y="116"/>
                  </a:lnTo>
                  <a:lnTo>
                    <a:pt x="390" y="114"/>
                  </a:lnTo>
                  <a:lnTo>
                    <a:pt x="380" y="122"/>
                  </a:lnTo>
                  <a:lnTo>
                    <a:pt x="374" y="118"/>
                  </a:lnTo>
                  <a:lnTo>
                    <a:pt x="370" y="118"/>
                  </a:lnTo>
                  <a:lnTo>
                    <a:pt x="368" y="126"/>
                  </a:lnTo>
                  <a:lnTo>
                    <a:pt x="364" y="130"/>
                  </a:lnTo>
                  <a:lnTo>
                    <a:pt x="346" y="134"/>
                  </a:lnTo>
                  <a:lnTo>
                    <a:pt x="344" y="144"/>
                  </a:lnTo>
                  <a:lnTo>
                    <a:pt x="332" y="150"/>
                  </a:lnTo>
                  <a:lnTo>
                    <a:pt x="324" y="146"/>
                  </a:lnTo>
                  <a:lnTo>
                    <a:pt x="318" y="140"/>
                  </a:lnTo>
                  <a:lnTo>
                    <a:pt x="312" y="138"/>
                  </a:lnTo>
                  <a:lnTo>
                    <a:pt x="306" y="142"/>
                  </a:lnTo>
                  <a:lnTo>
                    <a:pt x="304" y="150"/>
                  </a:lnTo>
                  <a:lnTo>
                    <a:pt x="302" y="156"/>
                  </a:lnTo>
                  <a:lnTo>
                    <a:pt x="304" y="166"/>
                  </a:lnTo>
                  <a:lnTo>
                    <a:pt x="306" y="172"/>
                  </a:lnTo>
                  <a:lnTo>
                    <a:pt x="302" y="178"/>
                  </a:lnTo>
                  <a:lnTo>
                    <a:pt x="296" y="182"/>
                  </a:lnTo>
                  <a:lnTo>
                    <a:pt x="286" y="184"/>
                  </a:lnTo>
                  <a:lnTo>
                    <a:pt x="272" y="188"/>
                  </a:lnTo>
                  <a:lnTo>
                    <a:pt x="260" y="188"/>
                  </a:lnTo>
                  <a:lnTo>
                    <a:pt x="252" y="190"/>
                  </a:lnTo>
                  <a:lnTo>
                    <a:pt x="248" y="190"/>
                  </a:lnTo>
                  <a:lnTo>
                    <a:pt x="240" y="198"/>
                  </a:lnTo>
                  <a:lnTo>
                    <a:pt x="232" y="202"/>
                  </a:lnTo>
                  <a:lnTo>
                    <a:pt x="222" y="202"/>
                  </a:lnTo>
                  <a:lnTo>
                    <a:pt x="212" y="204"/>
                  </a:lnTo>
                  <a:lnTo>
                    <a:pt x="200" y="204"/>
                  </a:lnTo>
                  <a:lnTo>
                    <a:pt x="192" y="200"/>
                  </a:lnTo>
                  <a:lnTo>
                    <a:pt x="186" y="192"/>
                  </a:lnTo>
                  <a:lnTo>
                    <a:pt x="182" y="190"/>
                  </a:lnTo>
                  <a:lnTo>
                    <a:pt x="162" y="190"/>
                  </a:lnTo>
                  <a:lnTo>
                    <a:pt x="150" y="188"/>
                  </a:lnTo>
                  <a:lnTo>
                    <a:pt x="138" y="188"/>
                  </a:lnTo>
                  <a:lnTo>
                    <a:pt x="128" y="188"/>
                  </a:lnTo>
                  <a:lnTo>
                    <a:pt x="120" y="188"/>
                  </a:lnTo>
                  <a:lnTo>
                    <a:pt x="114" y="182"/>
                  </a:lnTo>
                  <a:lnTo>
                    <a:pt x="106" y="176"/>
                  </a:lnTo>
                  <a:lnTo>
                    <a:pt x="98" y="170"/>
                  </a:lnTo>
                  <a:lnTo>
                    <a:pt x="94" y="166"/>
                  </a:lnTo>
                  <a:lnTo>
                    <a:pt x="92" y="158"/>
                  </a:lnTo>
                  <a:lnTo>
                    <a:pt x="86" y="152"/>
                  </a:lnTo>
                  <a:lnTo>
                    <a:pt x="78" y="150"/>
                  </a:lnTo>
                  <a:lnTo>
                    <a:pt x="74" y="146"/>
                  </a:lnTo>
                  <a:lnTo>
                    <a:pt x="66" y="142"/>
                  </a:lnTo>
                  <a:lnTo>
                    <a:pt x="58" y="140"/>
                  </a:lnTo>
                  <a:lnTo>
                    <a:pt x="50" y="138"/>
                  </a:lnTo>
                  <a:lnTo>
                    <a:pt x="48" y="132"/>
                  </a:lnTo>
                  <a:lnTo>
                    <a:pt x="50" y="124"/>
                  </a:lnTo>
                  <a:lnTo>
                    <a:pt x="52" y="118"/>
                  </a:lnTo>
                  <a:lnTo>
                    <a:pt x="48" y="110"/>
                  </a:lnTo>
                  <a:lnTo>
                    <a:pt x="40" y="108"/>
                  </a:lnTo>
                  <a:lnTo>
                    <a:pt x="40" y="102"/>
                  </a:lnTo>
                  <a:lnTo>
                    <a:pt x="32" y="94"/>
                  </a:lnTo>
                  <a:lnTo>
                    <a:pt x="24" y="88"/>
                  </a:lnTo>
                  <a:lnTo>
                    <a:pt x="16" y="90"/>
                  </a:lnTo>
                  <a:lnTo>
                    <a:pt x="8" y="88"/>
                  </a:lnTo>
                  <a:lnTo>
                    <a:pt x="4" y="84"/>
                  </a:lnTo>
                  <a:lnTo>
                    <a:pt x="2" y="80"/>
                  </a:lnTo>
                  <a:lnTo>
                    <a:pt x="0" y="70"/>
                  </a:lnTo>
                  <a:lnTo>
                    <a:pt x="2" y="5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3" name="Freeform 134"/>
            <p:cNvSpPr>
              <a:spLocks noChangeAspect="1"/>
            </p:cNvSpPr>
            <p:nvPr/>
          </p:nvSpPr>
          <p:spPr bwMode="gray">
            <a:xfrm>
              <a:off x="4440418" y="3177434"/>
              <a:ext cx="10201" cy="6580"/>
            </a:xfrm>
            <a:custGeom>
              <a:avLst/>
              <a:gdLst/>
              <a:ahLst/>
              <a:cxnLst>
                <a:cxn ang="0">
                  <a:pos x="4" y="4"/>
                </a:cxn>
                <a:cxn ang="0">
                  <a:pos x="0" y="2"/>
                </a:cxn>
                <a:cxn ang="0">
                  <a:pos x="4" y="0"/>
                </a:cxn>
                <a:cxn ang="0">
                  <a:pos x="6" y="2"/>
                </a:cxn>
                <a:cxn ang="0">
                  <a:pos x="6" y="2"/>
                </a:cxn>
                <a:cxn ang="0">
                  <a:pos x="4" y="4"/>
                </a:cxn>
                <a:cxn ang="0">
                  <a:pos x="4" y="4"/>
                </a:cxn>
              </a:cxnLst>
              <a:rect l="0" t="0" r="r" b="b"/>
              <a:pathLst>
                <a:path w="6" h="4">
                  <a:moveTo>
                    <a:pt x="4" y="4"/>
                  </a:moveTo>
                  <a:lnTo>
                    <a:pt x="0" y="2"/>
                  </a:lnTo>
                  <a:lnTo>
                    <a:pt x="4" y="0"/>
                  </a:lnTo>
                  <a:lnTo>
                    <a:pt x="6" y="2"/>
                  </a:lnTo>
                  <a:lnTo>
                    <a:pt x="6" y="2"/>
                  </a:lnTo>
                  <a:lnTo>
                    <a:pt x="4" y="4"/>
                  </a:lnTo>
                  <a:lnTo>
                    <a:pt x="4"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4" name="Freeform 135"/>
            <p:cNvSpPr>
              <a:spLocks noChangeAspect="1"/>
            </p:cNvSpPr>
            <p:nvPr/>
          </p:nvSpPr>
          <p:spPr bwMode="gray">
            <a:xfrm>
              <a:off x="4901149" y="3016227"/>
              <a:ext cx="85006" cy="105278"/>
            </a:xfrm>
            <a:custGeom>
              <a:avLst/>
              <a:gdLst/>
              <a:ahLst/>
              <a:cxnLst>
                <a:cxn ang="0">
                  <a:pos x="24" y="64"/>
                </a:cxn>
                <a:cxn ang="0">
                  <a:pos x="30" y="56"/>
                </a:cxn>
                <a:cxn ang="0">
                  <a:pos x="32" y="52"/>
                </a:cxn>
                <a:cxn ang="0">
                  <a:pos x="36" y="48"/>
                </a:cxn>
                <a:cxn ang="0">
                  <a:pos x="36" y="48"/>
                </a:cxn>
                <a:cxn ang="0">
                  <a:pos x="42" y="50"/>
                </a:cxn>
                <a:cxn ang="0">
                  <a:pos x="48" y="52"/>
                </a:cxn>
                <a:cxn ang="0">
                  <a:pos x="42" y="42"/>
                </a:cxn>
                <a:cxn ang="0">
                  <a:pos x="40" y="40"/>
                </a:cxn>
                <a:cxn ang="0">
                  <a:pos x="38" y="34"/>
                </a:cxn>
                <a:cxn ang="0">
                  <a:pos x="38" y="30"/>
                </a:cxn>
                <a:cxn ang="0">
                  <a:pos x="36" y="26"/>
                </a:cxn>
                <a:cxn ang="0">
                  <a:pos x="34" y="20"/>
                </a:cxn>
                <a:cxn ang="0">
                  <a:pos x="32" y="14"/>
                </a:cxn>
                <a:cxn ang="0">
                  <a:pos x="28" y="10"/>
                </a:cxn>
                <a:cxn ang="0">
                  <a:pos x="22" y="6"/>
                </a:cxn>
                <a:cxn ang="0">
                  <a:pos x="16" y="2"/>
                </a:cxn>
                <a:cxn ang="0">
                  <a:pos x="8" y="2"/>
                </a:cxn>
                <a:cxn ang="0">
                  <a:pos x="4" y="2"/>
                </a:cxn>
                <a:cxn ang="0">
                  <a:pos x="0" y="6"/>
                </a:cxn>
                <a:cxn ang="0">
                  <a:pos x="4" y="8"/>
                </a:cxn>
                <a:cxn ang="0">
                  <a:pos x="10" y="16"/>
                </a:cxn>
                <a:cxn ang="0">
                  <a:pos x="14" y="24"/>
                </a:cxn>
                <a:cxn ang="0">
                  <a:pos x="18" y="30"/>
                </a:cxn>
                <a:cxn ang="0">
                  <a:pos x="20" y="34"/>
                </a:cxn>
                <a:cxn ang="0">
                  <a:pos x="20" y="38"/>
                </a:cxn>
                <a:cxn ang="0">
                  <a:pos x="20" y="42"/>
                </a:cxn>
                <a:cxn ang="0">
                  <a:pos x="22" y="44"/>
                </a:cxn>
                <a:cxn ang="0">
                  <a:pos x="20" y="46"/>
                </a:cxn>
                <a:cxn ang="0">
                  <a:pos x="20" y="48"/>
                </a:cxn>
                <a:cxn ang="0">
                  <a:pos x="20" y="56"/>
                </a:cxn>
                <a:cxn ang="0">
                  <a:pos x="20" y="56"/>
                </a:cxn>
                <a:cxn ang="0">
                  <a:pos x="20" y="60"/>
                </a:cxn>
                <a:cxn ang="0">
                  <a:pos x="22" y="64"/>
                </a:cxn>
                <a:cxn ang="0">
                  <a:pos x="24" y="64"/>
                </a:cxn>
              </a:cxnLst>
              <a:rect l="0" t="0" r="r" b="b"/>
              <a:pathLst>
                <a:path w="50" h="64">
                  <a:moveTo>
                    <a:pt x="24" y="64"/>
                  </a:moveTo>
                  <a:lnTo>
                    <a:pt x="24" y="64"/>
                  </a:lnTo>
                  <a:lnTo>
                    <a:pt x="28" y="62"/>
                  </a:lnTo>
                  <a:lnTo>
                    <a:pt x="30" y="56"/>
                  </a:lnTo>
                  <a:lnTo>
                    <a:pt x="30" y="56"/>
                  </a:lnTo>
                  <a:lnTo>
                    <a:pt x="32" y="52"/>
                  </a:lnTo>
                  <a:lnTo>
                    <a:pt x="34" y="50"/>
                  </a:lnTo>
                  <a:lnTo>
                    <a:pt x="36" y="48"/>
                  </a:lnTo>
                  <a:lnTo>
                    <a:pt x="36" y="48"/>
                  </a:lnTo>
                  <a:lnTo>
                    <a:pt x="36" y="48"/>
                  </a:lnTo>
                  <a:lnTo>
                    <a:pt x="38" y="48"/>
                  </a:lnTo>
                  <a:lnTo>
                    <a:pt x="42" y="50"/>
                  </a:lnTo>
                  <a:lnTo>
                    <a:pt x="42" y="50"/>
                  </a:lnTo>
                  <a:lnTo>
                    <a:pt x="48" y="52"/>
                  </a:lnTo>
                  <a:lnTo>
                    <a:pt x="50" y="54"/>
                  </a:lnTo>
                  <a:lnTo>
                    <a:pt x="42" y="42"/>
                  </a:lnTo>
                  <a:lnTo>
                    <a:pt x="42" y="42"/>
                  </a:lnTo>
                  <a:lnTo>
                    <a:pt x="40" y="40"/>
                  </a:lnTo>
                  <a:lnTo>
                    <a:pt x="38" y="38"/>
                  </a:lnTo>
                  <a:lnTo>
                    <a:pt x="38" y="34"/>
                  </a:lnTo>
                  <a:lnTo>
                    <a:pt x="38" y="34"/>
                  </a:lnTo>
                  <a:lnTo>
                    <a:pt x="38" y="30"/>
                  </a:lnTo>
                  <a:lnTo>
                    <a:pt x="36" y="26"/>
                  </a:lnTo>
                  <a:lnTo>
                    <a:pt x="36" y="26"/>
                  </a:lnTo>
                  <a:lnTo>
                    <a:pt x="34" y="24"/>
                  </a:lnTo>
                  <a:lnTo>
                    <a:pt x="34" y="20"/>
                  </a:lnTo>
                  <a:lnTo>
                    <a:pt x="34" y="20"/>
                  </a:lnTo>
                  <a:lnTo>
                    <a:pt x="32" y="14"/>
                  </a:lnTo>
                  <a:lnTo>
                    <a:pt x="28" y="10"/>
                  </a:lnTo>
                  <a:lnTo>
                    <a:pt x="28" y="10"/>
                  </a:lnTo>
                  <a:lnTo>
                    <a:pt x="22" y="6"/>
                  </a:lnTo>
                  <a:lnTo>
                    <a:pt x="22" y="6"/>
                  </a:lnTo>
                  <a:lnTo>
                    <a:pt x="16" y="2"/>
                  </a:lnTo>
                  <a:lnTo>
                    <a:pt x="16" y="2"/>
                  </a:lnTo>
                  <a:lnTo>
                    <a:pt x="12" y="0"/>
                  </a:lnTo>
                  <a:lnTo>
                    <a:pt x="8" y="2"/>
                  </a:lnTo>
                  <a:lnTo>
                    <a:pt x="8" y="2"/>
                  </a:lnTo>
                  <a:lnTo>
                    <a:pt x="4" y="2"/>
                  </a:lnTo>
                  <a:lnTo>
                    <a:pt x="0" y="4"/>
                  </a:lnTo>
                  <a:lnTo>
                    <a:pt x="0" y="6"/>
                  </a:lnTo>
                  <a:lnTo>
                    <a:pt x="0" y="6"/>
                  </a:lnTo>
                  <a:lnTo>
                    <a:pt x="4" y="8"/>
                  </a:lnTo>
                  <a:lnTo>
                    <a:pt x="10" y="16"/>
                  </a:lnTo>
                  <a:lnTo>
                    <a:pt x="10" y="16"/>
                  </a:lnTo>
                  <a:lnTo>
                    <a:pt x="10" y="20"/>
                  </a:lnTo>
                  <a:lnTo>
                    <a:pt x="14" y="24"/>
                  </a:lnTo>
                  <a:lnTo>
                    <a:pt x="14" y="24"/>
                  </a:lnTo>
                  <a:lnTo>
                    <a:pt x="18" y="30"/>
                  </a:lnTo>
                  <a:lnTo>
                    <a:pt x="20" y="34"/>
                  </a:lnTo>
                  <a:lnTo>
                    <a:pt x="20" y="34"/>
                  </a:lnTo>
                  <a:lnTo>
                    <a:pt x="20" y="36"/>
                  </a:lnTo>
                  <a:lnTo>
                    <a:pt x="20" y="38"/>
                  </a:lnTo>
                  <a:lnTo>
                    <a:pt x="20" y="40"/>
                  </a:lnTo>
                  <a:lnTo>
                    <a:pt x="20" y="42"/>
                  </a:lnTo>
                  <a:lnTo>
                    <a:pt x="20" y="42"/>
                  </a:lnTo>
                  <a:lnTo>
                    <a:pt x="22" y="44"/>
                  </a:lnTo>
                  <a:lnTo>
                    <a:pt x="22" y="44"/>
                  </a:lnTo>
                  <a:lnTo>
                    <a:pt x="20" y="46"/>
                  </a:lnTo>
                  <a:lnTo>
                    <a:pt x="20" y="48"/>
                  </a:lnTo>
                  <a:lnTo>
                    <a:pt x="20" y="48"/>
                  </a:lnTo>
                  <a:lnTo>
                    <a:pt x="20" y="54"/>
                  </a:lnTo>
                  <a:lnTo>
                    <a:pt x="20" y="56"/>
                  </a:lnTo>
                  <a:lnTo>
                    <a:pt x="20" y="56"/>
                  </a:lnTo>
                  <a:lnTo>
                    <a:pt x="20" y="56"/>
                  </a:lnTo>
                  <a:lnTo>
                    <a:pt x="22" y="58"/>
                  </a:lnTo>
                  <a:lnTo>
                    <a:pt x="20" y="60"/>
                  </a:lnTo>
                  <a:lnTo>
                    <a:pt x="20" y="62"/>
                  </a:lnTo>
                  <a:lnTo>
                    <a:pt x="22" y="64"/>
                  </a:lnTo>
                  <a:lnTo>
                    <a:pt x="22" y="64"/>
                  </a:lnTo>
                  <a:lnTo>
                    <a:pt x="24" y="64"/>
                  </a:lnTo>
                  <a:lnTo>
                    <a:pt x="24" y="6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5" name="Freeform 136"/>
            <p:cNvSpPr>
              <a:spLocks noChangeAspect="1"/>
            </p:cNvSpPr>
            <p:nvPr/>
          </p:nvSpPr>
          <p:spPr bwMode="gray">
            <a:xfrm>
              <a:off x="1625027" y="3503138"/>
              <a:ext cx="686847" cy="506650"/>
            </a:xfrm>
            <a:custGeom>
              <a:avLst/>
              <a:gdLst/>
              <a:ahLst/>
              <a:cxnLst>
                <a:cxn ang="0">
                  <a:pos x="6" y="18"/>
                </a:cxn>
                <a:cxn ang="0">
                  <a:pos x="16" y="36"/>
                </a:cxn>
                <a:cxn ang="0">
                  <a:pos x="26" y="46"/>
                </a:cxn>
                <a:cxn ang="0">
                  <a:pos x="38" y="68"/>
                </a:cxn>
                <a:cxn ang="0">
                  <a:pos x="34" y="92"/>
                </a:cxn>
                <a:cxn ang="0">
                  <a:pos x="48" y="102"/>
                </a:cxn>
                <a:cxn ang="0">
                  <a:pos x="64" y="126"/>
                </a:cxn>
                <a:cxn ang="0">
                  <a:pos x="78" y="148"/>
                </a:cxn>
                <a:cxn ang="0">
                  <a:pos x="94" y="168"/>
                </a:cxn>
                <a:cxn ang="0">
                  <a:pos x="90" y="152"/>
                </a:cxn>
                <a:cxn ang="0">
                  <a:pos x="82" y="142"/>
                </a:cxn>
                <a:cxn ang="0">
                  <a:pos x="74" y="118"/>
                </a:cxn>
                <a:cxn ang="0">
                  <a:pos x="60" y="90"/>
                </a:cxn>
                <a:cxn ang="0">
                  <a:pos x="52" y="70"/>
                </a:cxn>
                <a:cxn ang="0">
                  <a:pos x="46" y="64"/>
                </a:cxn>
                <a:cxn ang="0">
                  <a:pos x="38" y="48"/>
                </a:cxn>
                <a:cxn ang="0">
                  <a:pos x="26" y="26"/>
                </a:cxn>
                <a:cxn ang="0">
                  <a:pos x="32" y="14"/>
                </a:cxn>
                <a:cxn ang="0">
                  <a:pos x="48" y="16"/>
                </a:cxn>
                <a:cxn ang="0">
                  <a:pos x="60" y="52"/>
                </a:cxn>
                <a:cxn ang="0">
                  <a:pos x="72" y="70"/>
                </a:cxn>
                <a:cxn ang="0">
                  <a:pos x="90" y="86"/>
                </a:cxn>
                <a:cxn ang="0">
                  <a:pos x="100" y="102"/>
                </a:cxn>
                <a:cxn ang="0">
                  <a:pos x="102" y="112"/>
                </a:cxn>
                <a:cxn ang="0">
                  <a:pos x="114" y="128"/>
                </a:cxn>
                <a:cxn ang="0">
                  <a:pos x="132" y="150"/>
                </a:cxn>
                <a:cxn ang="0">
                  <a:pos x="142" y="164"/>
                </a:cxn>
                <a:cxn ang="0">
                  <a:pos x="156" y="196"/>
                </a:cxn>
                <a:cxn ang="0">
                  <a:pos x="156" y="214"/>
                </a:cxn>
                <a:cxn ang="0">
                  <a:pos x="158" y="232"/>
                </a:cxn>
                <a:cxn ang="0">
                  <a:pos x="180" y="248"/>
                </a:cxn>
                <a:cxn ang="0">
                  <a:pos x="202" y="262"/>
                </a:cxn>
                <a:cxn ang="0">
                  <a:pos x="222" y="278"/>
                </a:cxn>
                <a:cxn ang="0">
                  <a:pos x="246" y="284"/>
                </a:cxn>
                <a:cxn ang="0">
                  <a:pos x="260" y="290"/>
                </a:cxn>
                <a:cxn ang="0">
                  <a:pos x="274" y="296"/>
                </a:cxn>
                <a:cxn ang="0">
                  <a:pos x="298" y="288"/>
                </a:cxn>
                <a:cxn ang="0">
                  <a:pos x="322" y="296"/>
                </a:cxn>
                <a:cxn ang="0">
                  <a:pos x="330" y="300"/>
                </a:cxn>
                <a:cxn ang="0">
                  <a:pos x="350" y="278"/>
                </a:cxn>
                <a:cxn ang="0">
                  <a:pos x="380" y="254"/>
                </a:cxn>
                <a:cxn ang="0">
                  <a:pos x="394" y="256"/>
                </a:cxn>
                <a:cxn ang="0">
                  <a:pos x="398" y="218"/>
                </a:cxn>
                <a:cxn ang="0">
                  <a:pos x="388" y="194"/>
                </a:cxn>
                <a:cxn ang="0">
                  <a:pos x="364" y="206"/>
                </a:cxn>
                <a:cxn ang="0">
                  <a:pos x="354" y="236"/>
                </a:cxn>
                <a:cxn ang="0">
                  <a:pos x="338" y="250"/>
                </a:cxn>
                <a:cxn ang="0">
                  <a:pos x="314" y="254"/>
                </a:cxn>
                <a:cxn ang="0">
                  <a:pos x="284" y="248"/>
                </a:cxn>
                <a:cxn ang="0">
                  <a:pos x="274" y="228"/>
                </a:cxn>
                <a:cxn ang="0">
                  <a:pos x="260" y="206"/>
                </a:cxn>
                <a:cxn ang="0">
                  <a:pos x="260" y="182"/>
                </a:cxn>
                <a:cxn ang="0">
                  <a:pos x="258" y="152"/>
                </a:cxn>
                <a:cxn ang="0">
                  <a:pos x="260" y="136"/>
                </a:cxn>
                <a:cxn ang="0">
                  <a:pos x="266" y="122"/>
                </a:cxn>
                <a:cxn ang="0">
                  <a:pos x="230" y="90"/>
                </a:cxn>
                <a:cxn ang="0">
                  <a:pos x="202" y="54"/>
                </a:cxn>
                <a:cxn ang="0">
                  <a:pos x="168" y="48"/>
                </a:cxn>
                <a:cxn ang="0">
                  <a:pos x="72" y="24"/>
                </a:cxn>
              </a:cxnLst>
              <a:rect l="0" t="0" r="r" b="b"/>
              <a:pathLst>
                <a:path w="404" h="308">
                  <a:moveTo>
                    <a:pt x="0" y="4"/>
                  </a:moveTo>
                  <a:lnTo>
                    <a:pt x="0" y="4"/>
                  </a:lnTo>
                  <a:lnTo>
                    <a:pt x="0" y="6"/>
                  </a:lnTo>
                  <a:lnTo>
                    <a:pt x="2" y="10"/>
                  </a:lnTo>
                  <a:lnTo>
                    <a:pt x="2" y="10"/>
                  </a:lnTo>
                  <a:lnTo>
                    <a:pt x="6" y="14"/>
                  </a:lnTo>
                  <a:lnTo>
                    <a:pt x="6" y="14"/>
                  </a:lnTo>
                  <a:lnTo>
                    <a:pt x="6" y="18"/>
                  </a:lnTo>
                  <a:lnTo>
                    <a:pt x="6" y="18"/>
                  </a:lnTo>
                  <a:lnTo>
                    <a:pt x="8" y="20"/>
                  </a:lnTo>
                  <a:lnTo>
                    <a:pt x="10" y="24"/>
                  </a:lnTo>
                  <a:lnTo>
                    <a:pt x="10" y="24"/>
                  </a:lnTo>
                  <a:lnTo>
                    <a:pt x="10" y="28"/>
                  </a:lnTo>
                  <a:lnTo>
                    <a:pt x="10" y="32"/>
                  </a:lnTo>
                  <a:lnTo>
                    <a:pt x="12" y="36"/>
                  </a:lnTo>
                  <a:lnTo>
                    <a:pt x="12" y="36"/>
                  </a:lnTo>
                  <a:lnTo>
                    <a:pt x="16" y="36"/>
                  </a:lnTo>
                  <a:lnTo>
                    <a:pt x="16" y="36"/>
                  </a:lnTo>
                  <a:lnTo>
                    <a:pt x="16" y="40"/>
                  </a:lnTo>
                  <a:lnTo>
                    <a:pt x="16" y="40"/>
                  </a:lnTo>
                  <a:lnTo>
                    <a:pt x="20" y="42"/>
                  </a:lnTo>
                  <a:lnTo>
                    <a:pt x="20" y="42"/>
                  </a:lnTo>
                  <a:lnTo>
                    <a:pt x="22" y="46"/>
                  </a:lnTo>
                  <a:lnTo>
                    <a:pt x="22" y="46"/>
                  </a:lnTo>
                  <a:lnTo>
                    <a:pt x="24" y="46"/>
                  </a:lnTo>
                  <a:lnTo>
                    <a:pt x="26" y="46"/>
                  </a:lnTo>
                  <a:lnTo>
                    <a:pt x="26" y="46"/>
                  </a:lnTo>
                  <a:lnTo>
                    <a:pt x="28" y="50"/>
                  </a:lnTo>
                  <a:lnTo>
                    <a:pt x="28" y="50"/>
                  </a:lnTo>
                  <a:lnTo>
                    <a:pt x="32" y="52"/>
                  </a:lnTo>
                  <a:lnTo>
                    <a:pt x="32" y="52"/>
                  </a:lnTo>
                  <a:lnTo>
                    <a:pt x="34" y="56"/>
                  </a:lnTo>
                  <a:lnTo>
                    <a:pt x="34" y="58"/>
                  </a:lnTo>
                  <a:lnTo>
                    <a:pt x="36" y="64"/>
                  </a:lnTo>
                  <a:lnTo>
                    <a:pt x="36" y="64"/>
                  </a:lnTo>
                  <a:lnTo>
                    <a:pt x="38" y="68"/>
                  </a:lnTo>
                  <a:lnTo>
                    <a:pt x="38" y="68"/>
                  </a:lnTo>
                  <a:lnTo>
                    <a:pt x="38" y="76"/>
                  </a:lnTo>
                  <a:lnTo>
                    <a:pt x="36" y="84"/>
                  </a:lnTo>
                  <a:lnTo>
                    <a:pt x="36" y="84"/>
                  </a:lnTo>
                  <a:lnTo>
                    <a:pt x="26" y="84"/>
                  </a:lnTo>
                  <a:lnTo>
                    <a:pt x="26" y="86"/>
                  </a:lnTo>
                  <a:lnTo>
                    <a:pt x="26" y="86"/>
                  </a:lnTo>
                  <a:lnTo>
                    <a:pt x="34" y="92"/>
                  </a:lnTo>
                  <a:lnTo>
                    <a:pt x="34" y="92"/>
                  </a:lnTo>
                  <a:lnTo>
                    <a:pt x="36" y="94"/>
                  </a:lnTo>
                  <a:lnTo>
                    <a:pt x="38" y="98"/>
                  </a:lnTo>
                  <a:lnTo>
                    <a:pt x="38" y="98"/>
                  </a:lnTo>
                  <a:lnTo>
                    <a:pt x="42" y="98"/>
                  </a:lnTo>
                  <a:lnTo>
                    <a:pt x="42" y="98"/>
                  </a:lnTo>
                  <a:lnTo>
                    <a:pt x="42" y="100"/>
                  </a:lnTo>
                  <a:lnTo>
                    <a:pt x="42" y="102"/>
                  </a:lnTo>
                  <a:lnTo>
                    <a:pt x="42" y="102"/>
                  </a:lnTo>
                  <a:lnTo>
                    <a:pt x="48" y="102"/>
                  </a:lnTo>
                  <a:lnTo>
                    <a:pt x="48" y="102"/>
                  </a:lnTo>
                  <a:lnTo>
                    <a:pt x="56" y="108"/>
                  </a:lnTo>
                  <a:lnTo>
                    <a:pt x="62" y="114"/>
                  </a:lnTo>
                  <a:lnTo>
                    <a:pt x="62" y="114"/>
                  </a:lnTo>
                  <a:lnTo>
                    <a:pt x="62" y="116"/>
                  </a:lnTo>
                  <a:lnTo>
                    <a:pt x="62" y="118"/>
                  </a:lnTo>
                  <a:lnTo>
                    <a:pt x="62" y="118"/>
                  </a:lnTo>
                  <a:lnTo>
                    <a:pt x="64" y="126"/>
                  </a:lnTo>
                  <a:lnTo>
                    <a:pt x="64" y="126"/>
                  </a:lnTo>
                  <a:lnTo>
                    <a:pt x="64" y="132"/>
                  </a:lnTo>
                  <a:lnTo>
                    <a:pt x="64" y="138"/>
                  </a:lnTo>
                  <a:lnTo>
                    <a:pt x="64" y="138"/>
                  </a:lnTo>
                  <a:lnTo>
                    <a:pt x="68" y="140"/>
                  </a:lnTo>
                  <a:lnTo>
                    <a:pt x="72" y="140"/>
                  </a:lnTo>
                  <a:lnTo>
                    <a:pt x="72" y="140"/>
                  </a:lnTo>
                  <a:lnTo>
                    <a:pt x="72" y="144"/>
                  </a:lnTo>
                  <a:lnTo>
                    <a:pt x="72" y="144"/>
                  </a:lnTo>
                  <a:lnTo>
                    <a:pt x="78" y="148"/>
                  </a:lnTo>
                  <a:lnTo>
                    <a:pt x="78" y="148"/>
                  </a:lnTo>
                  <a:lnTo>
                    <a:pt x="90" y="164"/>
                  </a:lnTo>
                  <a:lnTo>
                    <a:pt x="90" y="164"/>
                  </a:lnTo>
                  <a:lnTo>
                    <a:pt x="90" y="170"/>
                  </a:lnTo>
                  <a:lnTo>
                    <a:pt x="94" y="170"/>
                  </a:lnTo>
                  <a:lnTo>
                    <a:pt x="94" y="170"/>
                  </a:lnTo>
                  <a:lnTo>
                    <a:pt x="94" y="168"/>
                  </a:lnTo>
                  <a:lnTo>
                    <a:pt x="94" y="168"/>
                  </a:lnTo>
                  <a:lnTo>
                    <a:pt x="94" y="168"/>
                  </a:lnTo>
                  <a:lnTo>
                    <a:pt x="94" y="168"/>
                  </a:lnTo>
                  <a:lnTo>
                    <a:pt x="96" y="166"/>
                  </a:lnTo>
                  <a:lnTo>
                    <a:pt x="98" y="164"/>
                  </a:lnTo>
                  <a:lnTo>
                    <a:pt x="98" y="164"/>
                  </a:lnTo>
                  <a:lnTo>
                    <a:pt x="98" y="162"/>
                  </a:lnTo>
                  <a:lnTo>
                    <a:pt x="96" y="158"/>
                  </a:lnTo>
                  <a:lnTo>
                    <a:pt x="96" y="158"/>
                  </a:lnTo>
                  <a:lnTo>
                    <a:pt x="90" y="152"/>
                  </a:lnTo>
                  <a:lnTo>
                    <a:pt x="90" y="152"/>
                  </a:lnTo>
                  <a:lnTo>
                    <a:pt x="90" y="148"/>
                  </a:lnTo>
                  <a:lnTo>
                    <a:pt x="90" y="148"/>
                  </a:lnTo>
                  <a:lnTo>
                    <a:pt x="88" y="146"/>
                  </a:lnTo>
                  <a:lnTo>
                    <a:pt x="88" y="146"/>
                  </a:lnTo>
                  <a:lnTo>
                    <a:pt x="84" y="146"/>
                  </a:lnTo>
                  <a:lnTo>
                    <a:pt x="84" y="146"/>
                  </a:lnTo>
                  <a:lnTo>
                    <a:pt x="82" y="144"/>
                  </a:lnTo>
                  <a:lnTo>
                    <a:pt x="82" y="144"/>
                  </a:lnTo>
                  <a:lnTo>
                    <a:pt x="82" y="142"/>
                  </a:lnTo>
                  <a:lnTo>
                    <a:pt x="84" y="138"/>
                  </a:lnTo>
                  <a:lnTo>
                    <a:pt x="84" y="138"/>
                  </a:lnTo>
                  <a:lnTo>
                    <a:pt x="80" y="134"/>
                  </a:lnTo>
                  <a:lnTo>
                    <a:pt x="80" y="134"/>
                  </a:lnTo>
                  <a:lnTo>
                    <a:pt x="80" y="130"/>
                  </a:lnTo>
                  <a:lnTo>
                    <a:pt x="80" y="128"/>
                  </a:lnTo>
                  <a:lnTo>
                    <a:pt x="80" y="128"/>
                  </a:lnTo>
                  <a:lnTo>
                    <a:pt x="74" y="118"/>
                  </a:lnTo>
                  <a:lnTo>
                    <a:pt x="74" y="118"/>
                  </a:lnTo>
                  <a:lnTo>
                    <a:pt x="74" y="114"/>
                  </a:lnTo>
                  <a:lnTo>
                    <a:pt x="74" y="114"/>
                  </a:lnTo>
                  <a:lnTo>
                    <a:pt x="70" y="106"/>
                  </a:lnTo>
                  <a:lnTo>
                    <a:pt x="64" y="100"/>
                  </a:lnTo>
                  <a:lnTo>
                    <a:pt x="64" y="100"/>
                  </a:lnTo>
                  <a:lnTo>
                    <a:pt x="64" y="96"/>
                  </a:lnTo>
                  <a:lnTo>
                    <a:pt x="64" y="92"/>
                  </a:lnTo>
                  <a:lnTo>
                    <a:pt x="64" y="92"/>
                  </a:lnTo>
                  <a:lnTo>
                    <a:pt x="60" y="90"/>
                  </a:lnTo>
                  <a:lnTo>
                    <a:pt x="60" y="90"/>
                  </a:lnTo>
                  <a:lnTo>
                    <a:pt x="60" y="86"/>
                  </a:lnTo>
                  <a:lnTo>
                    <a:pt x="60" y="86"/>
                  </a:lnTo>
                  <a:lnTo>
                    <a:pt x="58" y="84"/>
                  </a:lnTo>
                  <a:lnTo>
                    <a:pt x="56" y="82"/>
                  </a:lnTo>
                  <a:lnTo>
                    <a:pt x="56" y="82"/>
                  </a:lnTo>
                  <a:lnTo>
                    <a:pt x="56" y="76"/>
                  </a:lnTo>
                  <a:lnTo>
                    <a:pt x="54" y="70"/>
                  </a:lnTo>
                  <a:lnTo>
                    <a:pt x="52" y="70"/>
                  </a:lnTo>
                  <a:lnTo>
                    <a:pt x="52" y="70"/>
                  </a:lnTo>
                  <a:lnTo>
                    <a:pt x="52" y="66"/>
                  </a:lnTo>
                  <a:lnTo>
                    <a:pt x="52" y="66"/>
                  </a:lnTo>
                  <a:lnTo>
                    <a:pt x="50" y="66"/>
                  </a:lnTo>
                  <a:lnTo>
                    <a:pt x="50" y="66"/>
                  </a:lnTo>
                  <a:lnTo>
                    <a:pt x="50" y="66"/>
                  </a:lnTo>
                  <a:lnTo>
                    <a:pt x="50" y="66"/>
                  </a:lnTo>
                  <a:lnTo>
                    <a:pt x="48" y="66"/>
                  </a:lnTo>
                  <a:lnTo>
                    <a:pt x="46" y="64"/>
                  </a:lnTo>
                  <a:lnTo>
                    <a:pt x="46" y="64"/>
                  </a:lnTo>
                  <a:lnTo>
                    <a:pt x="46" y="62"/>
                  </a:lnTo>
                  <a:lnTo>
                    <a:pt x="46" y="60"/>
                  </a:lnTo>
                  <a:lnTo>
                    <a:pt x="48" y="60"/>
                  </a:lnTo>
                  <a:lnTo>
                    <a:pt x="48" y="58"/>
                  </a:lnTo>
                  <a:lnTo>
                    <a:pt x="44" y="50"/>
                  </a:lnTo>
                  <a:lnTo>
                    <a:pt x="44" y="50"/>
                  </a:lnTo>
                  <a:lnTo>
                    <a:pt x="40" y="50"/>
                  </a:lnTo>
                  <a:lnTo>
                    <a:pt x="38" y="48"/>
                  </a:lnTo>
                  <a:lnTo>
                    <a:pt x="38" y="48"/>
                  </a:lnTo>
                  <a:lnTo>
                    <a:pt x="38" y="46"/>
                  </a:lnTo>
                  <a:lnTo>
                    <a:pt x="38" y="46"/>
                  </a:lnTo>
                  <a:lnTo>
                    <a:pt x="34" y="40"/>
                  </a:lnTo>
                  <a:lnTo>
                    <a:pt x="34" y="40"/>
                  </a:lnTo>
                  <a:lnTo>
                    <a:pt x="32" y="36"/>
                  </a:lnTo>
                  <a:lnTo>
                    <a:pt x="30" y="30"/>
                  </a:lnTo>
                  <a:lnTo>
                    <a:pt x="30" y="30"/>
                  </a:lnTo>
                  <a:lnTo>
                    <a:pt x="26" y="26"/>
                  </a:lnTo>
                  <a:lnTo>
                    <a:pt x="26" y="26"/>
                  </a:lnTo>
                  <a:lnTo>
                    <a:pt x="26" y="20"/>
                  </a:lnTo>
                  <a:lnTo>
                    <a:pt x="28" y="16"/>
                  </a:lnTo>
                  <a:lnTo>
                    <a:pt x="28" y="16"/>
                  </a:lnTo>
                  <a:lnTo>
                    <a:pt x="26" y="16"/>
                  </a:lnTo>
                  <a:lnTo>
                    <a:pt x="26" y="14"/>
                  </a:lnTo>
                  <a:lnTo>
                    <a:pt x="26" y="14"/>
                  </a:lnTo>
                  <a:lnTo>
                    <a:pt x="32" y="14"/>
                  </a:lnTo>
                  <a:lnTo>
                    <a:pt x="32" y="14"/>
                  </a:lnTo>
                  <a:lnTo>
                    <a:pt x="36" y="18"/>
                  </a:lnTo>
                  <a:lnTo>
                    <a:pt x="36" y="18"/>
                  </a:lnTo>
                  <a:lnTo>
                    <a:pt x="40" y="20"/>
                  </a:lnTo>
                  <a:lnTo>
                    <a:pt x="40" y="20"/>
                  </a:lnTo>
                  <a:lnTo>
                    <a:pt x="42" y="18"/>
                  </a:lnTo>
                  <a:lnTo>
                    <a:pt x="42" y="18"/>
                  </a:lnTo>
                  <a:lnTo>
                    <a:pt x="44" y="16"/>
                  </a:lnTo>
                  <a:lnTo>
                    <a:pt x="48" y="16"/>
                  </a:lnTo>
                  <a:lnTo>
                    <a:pt x="48" y="16"/>
                  </a:lnTo>
                  <a:lnTo>
                    <a:pt x="48" y="20"/>
                  </a:lnTo>
                  <a:lnTo>
                    <a:pt x="52" y="24"/>
                  </a:lnTo>
                  <a:lnTo>
                    <a:pt x="52" y="24"/>
                  </a:lnTo>
                  <a:lnTo>
                    <a:pt x="52" y="34"/>
                  </a:lnTo>
                  <a:lnTo>
                    <a:pt x="56" y="40"/>
                  </a:lnTo>
                  <a:lnTo>
                    <a:pt x="58" y="40"/>
                  </a:lnTo>
                  <a:lnTo>
                    <a:pt x="58" y="40"/>
                  </a:lnTo>
                  <a:lnTo>
                    <a:pt x="60" y="46"/>
                  </a:lnTo>
                  <a:lnTo>
                    <a:pt x="60" y="52"/>
                  </a:lnTo>
                  <a:lnTo>
                    <a:pt x="60" y="52"/>
                  </a:lnTo>
                  <a:lnTo>
                    <a:pt x="68" y="62"/>
                  </a:lnTo>
                  <a:lnTo>
                    <a:pt x="68" y="62"/>
                  </a:lnTo>
                  <a:lnTo>
                    <a:pt x="72" y="62"/>
                  </a:lnTo>
                  <a:lnTo>
                    <a:pt x="72" y="62"/>
                  </a:lnTo>
                  <a:lnTo>
                    <a:pt x="72" y="66"/>
                  </a:lnTo>
                  <a:lnTo>
                    <a:pt x="72" y="68"/>
                  </a:lnTo>
                  <a:lnTo>
                    <a:pt x="72" y="70"/>
                  </a:lnTo>
                  <a:lnTo>
                    <a:pt x="72" y="70"/>
                  </a:lnTo>
                  <a:lnTo>
                    <a:pt x="78" y="72"/>
                  </a:lnTo>
                  <a:lnTo>
                    <a:pt x="78" y="72"/>
                  </a:lnTo>
                  <a:lnTo>
                    <a:pt x="80" y="78"/>
                  </a:lnTo>
                  <a:lnTo>
                    <a:pt x="82" y="82"/>
                  </a:lnTo>
                  <a:lnTo>
                    <a:pt x="84" y="84"/>
                  </a:lnTo>
                  <a:lnTo>
                    <a:pt x="84" y="84"/>
                  </a:lnTo>
                  <a:lnTo>
                    <a:pt x="88" y="84"/>
                  </a:lnTo>
                  <a:lnTo>
                    <a:pt x="88" y="84"/>
                  </a:lnTo>
                  <a:lnTo>
                    <a:pt x="90" y="86"/>
                  </a:lnTo>
                  <a:lnTo>
                    <a:pt x="90" y="88"/>
                  </a:lnTo>
                  <a:lnTo>
                    <a:pt x="88" y="92"/>
                  </a:lnTo>
                  <a:lnTo>
                    <a:pt x="88" y="92"/>
                  </a:lnTo>
                  <a:lnTo>
                    <a:pt x="92" y="94"/>
                  </a:lnTo>
                  <a:lnTo>
                    <a:pt x="96" y="96"/>
                  </a:lnTo>
                  <a:lnTo>
                    <a:pt x="96" y="96"/>
                  </a:lnTo>
                  <a:lnTo>
                    <a:pt x="96" y="102"/>
                  </a:lnTo>
                  <a:lnTo>
                    <a:pt x="96" y="102"/>
                  </a:lnTo>
                  <a:lnTo>
                    <a:pt x="100" y="102"/>
                  </a:lnTo>
                  <a:lnTo>
                    <a:pt x="102" y="102"/>
                  </a:lnTo>
                  <a:lnTo>
                    <a:pt x="102" y="102"/>
                  </a:lnTo>
                  <a:lnTo>
                    <a:pt x="104" y="104"/>
                  </a:lnTo>
                  <a:lnTo>
                    <a:pt x="106" y="106"/>
                  </a:lnTo>
                  <a:lnTo>
                    <a:pt x="108" y="106"/>
                  </a:lnTo>
                  <a:lnTo>
                    <a:pt x="108" y="106"/>
                  </a:lnTo>
                  <a:lnTo>
                    <a:pt x="106" y="110"/>
                  </a:lnTo>
                  <a:lnTo>
                    <a:pt x="106" y="110"/>
                  </a:lnTo>
                  <a:lnTo>
                    <a:pt x="102" y="112"/>
                  </a:lnTo>
                  <a:lnTo>
                    <a:pt x="102" y="112"/>
                  </a:lnTo>
                  <a:lnTo>
                    <a:pt x="102" y="118"/>
                  </a:lnTo>
                  <a:lnTo>
                    <a:pt x="102" y="118"/>
                  </a:lnTo>
                  <a:lnTo>
                    <a:pt x="108" y="120"/>
                  </a:lnTo>
                  <a:lnTo>
                    <a:pt x="108" y="120"/>
                  </a:lnTo>
                  <a:lnTo>
                    <a:pt x="108" y="124"/>
                  </a:lnTo>
                  <a:lnTo>
                    <a:pt x="108" y="124"/>
                  </a:lnTo>
                  <a:lnTo>
                    <a:pt x="112" y="126"/>
                  </a:lnTo>
                  <a:lnTo>
                    <a:pt x="114" y="128"/>
                  </a:lnTo>
                  <a:lnTo>
                    <a:pt x="114" y="128"/>
                  </a:lnTo>
                  <a:lnTo>
                    <a:pt x="122" y="138"/>
                  </a:lnTo>
                  <a:lnTo>
                    <a:pt x="122" y="138"/>
                  </a:lnTo>
                  <a:lnTo>
                    <a:pt x="124" y="142"/>
                  </a:lnTo>
                  <a:lnTo>
                    <a:pt x="124" y="142"/>
                  </a:lnTo>
                  <a:lnTo>
                    <a:pt x="126" y="144"/>
                  </a:lnTo>
                  <a:lnTo>
                    <a:pt x="128" y="146"/>
                  </a:lnTo>
                  <a:lnTo>
                    <a:pt x="128" y="146"/>
                  </a:lnTo>
                  <a:lnTo>
                    <a:pt x="132" y="150"/>
                  </a:lnTo>
                  <a:lnTo>
                    <a:pt x="132" y="150"/>
                  </a:lnTo>
                  <a:lnTo>
                    <a:pt x="132" y="154"/>
                  </a:lnTo>
                  <a:lnTo>
                    <a:pt x="132" y="154"/>
                  </a:lnTo>
                  <a:lnTo>
                    <a:pt x="140" y="160"/>
                  </a:lnTo>
                  <a:lnTo>
                    <a:pt x="140" y="160"/>
                  </a:lnTo>
                  <a:lnTo>
                    <a:pt x="140" y="162"/>
                  </a:lnTo>
                  <a:lnTo>
                    <a:pt x="140" y="162"/>
                  </a:lnTo>
                  <a:lnTo>
                    <a:pt x="142" y="164"/>
                  </a:lnTo>
                  <a:lnTo>
                    <a:pt x="142" y="164"/>
                  </a:lnTo>
                  <a:lnTo>
                    <a:pt x="144" y="172"/>
                  </a:lnTo>
                  <a:lnTo>
                    <a:pt x="144" y="172"/>
                  </a:lnTo>
                  <a:lnTo>
                    <a:pt x="148" y="178"/>
                  </a:lnTo>
                  <a:lnTo>
                    <a:pt x="152" y="184"/>
                  </a:lnTo>
                  <a:lnTo>
                    <a:pt x="154" y="186"/>
                  </a:lnTo>
                  <a:lnTo>
                    <a:pt x="154" y="186"/>
                  </a:lnTo>
                  <a:lnTo>
                    <a:pt x="154" y="194"/>
                  </a:lnTo>
                  <a:lnTo>
                    <a:pt x="154" y="194"/>
                  </a:lnTo>
                  <a:lnTo>
                    <a:pt x="156" y="196"/>
                  </a:lnTo>
                  <a:lnTo>
                    <a:pt x="158" y="200"/>
                  </a:lnTo>
                  <a:lnTo>
                    <a:pt x="158" y="204"/>
                  </a:lnTo>
                  <a:lnTo>
                    <a:pt x="158" y="204"/>
                  </a:lnTo>
                  <a:lnTo>
                    <a:pt x="154" y="210"/>
                  </a:lnTo>
                  <a:lnTo>
                    <a:pt x="154" y="210"/>
                  </a:lnTo>
                  <a:lnTo>
                    <a:pt x="152" y="212"/>
                  </a:lnTo>
                  <a:lnTo>
                    <a:pt x="154" y="212"/>
                  </a:lnTo>
                  <a:lnTo>
                    <a:pt x="156" y="214"/>
                  </a:lnTo>
                  <a:lnTo>
                    <a:pt x="156" y="214"/>
                  </a:lnTo>
                  <a:lnTo>
                    <a:pt x="154" y="216"/>
                  </a:lnTo>
                  <a:lnTo>
                    <a:pt x="152" y="218"/>
                  </a:lnTo>
                  <a:lnTo>
                    <a:pt x="152" y="220"/>
                  </a:lnTo>
                  <a:lnTo>
                    <a:pt x="152" y="220"/>
                  </a:lnTo>
                  <a:lnTo>
                    <a:pt x="156" y="228"/>
                  </a:lnTo>
                  <a:lnTo>
                    <a:pt x="158" y="228"/>
                  </a:lnTo>
                  <a:lnTo>
                    <a:pt x="158" y="228"/>
                  </a:lnTo>
                  <a:lnTo>
                    <a:pt x="158" y="232"/>
                  </a:lnTo>
                  <a:lnTo>
                    <a:pt x="158" y="232"/>
                  </a:lnTo>
                  <a:lnTo>
                    <a:pt x="166" y="240"/>
                  </a:lnTo>
                  <a:lnTo>
                    <a:pt x="166" y="240"/>
                  </a:lnTo>
                  <a:lnTo>
                    <a:pt x="172" y="240"/>
                  </a:lnTo>
                  <a:lnTo>
                    <a:pt x="172" y="240"/>
                  </a:lnTo>
                  <a:lnTo>
                    <a:pt x="172" y="242"/>
                  </a:lnTo>
                  <a:lnTo>
                    <a:pt x="174" y="244"/>
                  </a:lnTo>
                  <a:lnTo>
                    <a:pt x="174" y="244"/>
                  </a:lnTo>
                  <a:lnTo>
                    <a:pt x="176" y="246"/>
                  </a:lnTo>
                  <a:lnTo>
                    <a:pt x="180" y="248"/>
                  </a:lnTo>
                  <a:lnTo>
                    <a:pt x="180" y="248"/>
                  </a:lnTo>
                  <a:lnTo>
                    <a:pt x="184" y="254"/>
                  </a:lnTo>
                  <a:lnTo>
                    <a:pt x="184" y="254"/>
                  </a:lnTo>
                  <a:lnTo>
                    <a:pt x="188" y="260"/>
                  </a:lnTo>
                  <a:lnTo>
                    <a:pt x="188" y="260"/>
                  </a:lnTo>
                  <a:lnTo>
                    <a:pt x="192" y="262"/>
                  </a:lnTo>
                  <a:lnTo>
                    <a:pt x="194" y="262"/>
                  </a:lnTo>
                  <a:lnTo>
                    <a:pt x="198" y="262"/>
                  </a:lnTo>
                  <a:lnTo>
                    <a:pt x="202" y="262"/>
                  </a:lnTo>
                  <a:lnTo>
                    <a:pt x="202" y="262"/>
                  </a:lnTo>
                  <a:lnTo>
                    <a:pt x="204" y="266"/>
                  </a:lnTo>
                  <a:lnTo>
                    <a:pt x="208" y="268"/>
                  </a:lnTo>
                  <a:lnTo>
                    <a:pt x="208" y="268"/>
                  </a:lnTo>
                  <a:lnTo>
                    <a:pt x="214" y="272"/>
                  </a:lnTo>
                  <a:lnTo>
                    <a:pt x="220" y="274"/>
                  </a:lnTo>
                  <a:lnTo>
                    <a:pt x="220" y="274"/>
                  </a:lnTo>
                  <a:lnTo>
                    <a:pt x="222" y="278"/>
                  </a:lnTo>
                  <a:lnTo>
                    <a:pt x="222" y="278"/>
                  </a:lnTo>
                  <a:lnTo>
                    <a:pt x="230" y="280"/>
                  </a:lnTo>
                  <a:lnTo>
                    <a:pt x="236" y="280"/>
                  </a:lnTo>
                  <a:lnTo>
                    <a:pt x="238" y="282"/>
                  </a:lnTo>
                  <a:lnTo>
                    <a:pt x="238" y="282"/>
                  </a:lnTo>
                  <a:lnTo>
                    <a:pt x="242" y="282"/>
                  </a:lnTo>
                  <a:lnTo>
                    <a:pt x="244" y="282"/>
                  </a:lnTo>
                  <a:lnTo>
                    <a:pt x="244" y="282"/>
                  </a:lnTo>
                  <a:lnTo>
                    <a:pt x="246" y="284"/>
                  </a:lnTo>
                  <a:lnTo>
                    <a:pt x="246" y="284"/>
                  </a:lnTo>
                  <a:lnTo>
                    <a:pt x="250" y="284"/>
                  </a:lnTo>
                  <a:lnTo>
                    <a:pt x="250" y="284"/>
                  </a:lnTo>
                  <a:lnTo>
                    <a:pt x="254" y="288"/>
                  </a:lnTo>
                  <a:lnTo>
                    <a:pt x="254" y="292"/>
                  </a:lnTo>
                  <a:lnTo>
                    <a:pt x="254" y="292"/>
                  </a:lnTo>
                  <a:lnTo>
                    <a:pt x="256" y="290"/>
                  </a:lnTo>
                  <a:lnTo>
                    <a:pt x="258" y="290"/>
                  </a:lnTo>
                  <a:lnTo>
                    <a:pt x="258" y="290"/>
                  </a:lnTo>
                  <a:lnTo>
                    <a:pt x="260" y="290"/>
                  </a:lnTo>
                  <a:lnTo>
                    <a:pt x="262" y="292"/>
                  </a:lnTo>
                  <a:lnTo>
                    <a:pt x="262" y="292"/>
                  </a:lnTo>
                  <a:lnTo>
                    <a:pt x="266" y="292"/>
                  </a:lnTo>
                  <a:lnTo>
                    <a:pt x="270" y="292"/>
                  </a:lnTo>
                  <a:lnTo>
                    <a:pt x="270" y="292"/>
                  </a:lnTo>
                  <a:lnTo>
                    <a:pt x="270" y="294"/>
                  </a:lnTo>
                  <a:lnTo>
                    <a:pt x="270" y="294"/>
                  </a:lnTo>
                  <a:lnTo>
                    <a:pt x="274" y="296"/>
                  </a:lnTo>
                  <a:lnTo>
                    <a:pt x="274" y="296"/>
                  </a:lnTo>
                  <a:lnTo>
                    <a:pt x="278" y="296"/>
                  </a:lnTo>
                  <a:lnTo>
                    <a:pt x="280" y="294"/>
                  </a:lnTo>
                  <a:lnTo>
                    <a:pt x="284" y="292"/>
                  </a:lnTo>
                  <a:lnTo>
                    <a:pt x="284" y="292"/>
                  </a:lnTo>
                  <a:lnTo>
                    <a:pt x="290" y="290"/>
                  </a:lnTo>
                  <a:lnTo>
                    <a:pt x="294" y="292"/>
                  </a:lnTo>
                  <a:lnTo>
                    <a:pt x="294" y="292"/>
                  </a:lnTo>
                  <a:lnTo>
                    <a:pt x="298" y="288"/>
                  </a:lnTo>
                  <a:lnTo>
                    <a:pt x="298" y="288"/>
                  </a:lnTo>
                  <a:lnTo>
                    <a:pt x="300" y="288"/>
                  </a:lnTo>
                  <a:lnTo>
                    <a:pt x="302" y="290"/>
                  </a:lnTo>
                  <a:lnTo>
                    <a:pt x="302" y="290"/>
                  </a:lnTo>
                  <a:lnTo>
                    <a:pt x="308" y="290"/>
                  </a:lnTo>
                  <a:lnTo>
                    <a:pt x="314" y="292"/>
                  </a:lnTo>
                  <a:lnTo>
                    <a:pt x="314" y="292"/>
                  </a:lnTo>
                  <a:lnTo>
                    <a:pt x="318" y="296"/>
                  </a:lnTo>
                  <a:lnTo>
                    <a:pt x="318" y="296"/>
                  </a:lnTo>
                  <a:lnTo>
                    <a:pt x="322" y="296"/>
                  </a:lnTo>
                  <a:lnTo>
                    <a:pt x="322" y="296"/>
                  </a:lnTo>
                  <a:lnTo>
                    <a:pt x="326" y="300"/>
                  </a:lnTo>
                  <a:lnTo>
                    <a:pt x="328" y="306"/>
                  </a:lnTo>
                  <a:lnTo>
                    <a:pt x="328" y="308"/>
                  </a:lnTo>
                  <a:lnTo>
                    <a:pt x="328" y="308"/>
                  </a:lnTo>
                  <a:lnTo>
                    <a:pt x="330" y="304"/>
                  </a:lnTo>
                  <a:lnTo>
                    <a:pt x="330" y="302"/>
                  </a:lnTo>
                  <a:lnTo>
                    <a:pt x="330" y="300"/>
                  </a:lnTo>
                  <a:lnTo>
                    <a:pt x="330" y="300"/>
                  </a:lnTo>
                  <a:lnTo>
                    <a:pt x="330" y="296"/>
                  </a:lnTo>
                  <a:lnTo>
                    <a:pt x="332" y="292"/>
                  </a:lnTo>
                  <a:lnTo>
                    <a:pt x="338" y="286"/>
                  </a:lnTo>
                  <a:lnTo>
                    <a:pt x="354" y="288"/>
                  </a:lnTo>
                  <a:lnTo>
                    <a:pt x="354" y="288"/>
                  </a:lnTo>
                  <a:lnTo>
                    <a:pt x="354" y="284"/>
                  </a:lnTo>
                  <a:lnTo>
                    <a:pt x="352" y="282"/>
                  </a:lnTo>
                  <a:lnTo>
                    <a:pt x="350" y="278"/>
                  </a:lnTo>
                  <a:lnTo>
                    <a:pt x="350" y="278"/>
                  </a:lnTo>
                  <a:lnTo>
                    <a:pt x="346" y="274"/>
                  </a:lnTo>
                  <a:lnTo>
                    <a:pt x="344" y="270"/>
                  </a:lnTo>
                  <a:lnTo>
                    <a:pt x="344" y="266"/>
                  </a:lnTo>
                  <a:lnTo>
                    <a:pt x="348" y="266"/>
                  </a:lnTo>
                  <a:lnTo>
                    <a:pt x="350" y="258"/>
                  </a:lnTo>
                  <a:lnTo>
                    <a:pt x="372" y="258"/>
                  </a:lnTo>
                  <a:lnTo>
                    <a:pt x="378" y="256"/>
                  </a:lnTo>
                  <a:lnTo>
                    <a:pt x="378" y="256"/>
                  </a:lnTo>
                  <a:lnTo>
                    <a:pt x="380" y="254"/>
                  </a:lnTo>
                  <a:lnTo>
                    <a:pt x="382" y="252"/>
                  </a:lnTo>
                  <a:lnTo>
                    <a:pt x="384" y="254"/>
                  </a:lnTo>
                  <a:lnTo>
                    <a:pt x="384" y="254"/>
                  </a:lnTo>
                  <a:lnTo>
                    <a:pt x="388" y="246"/>
                  </a:lnTo>
                  <a:lnTo>
                    <a:pt x="388" y="246"/>
                  </a:lnTo>
                  <a:lnTo>
                    <a:pt x="388" y="250"/>
                  </a:lnTo>
                  <a:lnTo>
                    <a:pt x="388" y="252"/>
                  </a:lnTo>
                  <a:lnTo>
                    <a:pt x="388" y="252"/>
                  </a:lnTo>
                  <a:lnTo>
                    <a:pt x="394" y="256"/>
                  </a:lnTo>
                  <a:lnTo>
                    <a:pt x="394" y="256"/>
                  </a:lnTo>
                  <a:lnTo>
                    <a:pt x="394" y="244"/>
                  </a:lnTo>
                  <a:lnTo>
                    <a:pt x="396" y="230"/>
                  </a:lnTo>
                  <a:lnTo>
                    <a:pt x="398" y="230"/>
                  </a:lnTo>
                  <a:lnTo>
                    <a:pt x="398" y="230"/>
                  </a:lnTo>
                  <a:lnTo>
                    <a:pt x="398" y="228"/>
                  </a:lnTo>
                  <a:lnTo>
                    <a:pt x="396" y="224"/>
                  </a:lnTo>
                  <a:lnTo>
                    <a:pt x="396" y="224"/>
                  </a:lnTo>
                  <a:lnTo>
                    <a:pt x="398" y="218"/>
                  </a:lnTo>
                  <a:lnTo>
                    <a:pt x="402" y="210"/>
                  </a:lnTo>
                  <a:lnTo>
                    <a:pt x="404" y="202"/>
                  </a:lnTo>
                  <a:lnTo>
                    <a:pt x="402" y="198"/>
                  </a:lnTo>
                  <a:lnTo>
                    <a:pt x="400" y="196"/>
                  </a:lnTo>
                  <a:lnTo>
                    <a:pt x="400" y="196"/>
                  </a:lnTo>
                  <a:lnTo>
                    <a:pt x="398" y="196"/>
                  </a:lnTo>
                  <a:lnTo>
                    <a:pt x="396" y="194"/>
                  </a:lnTo>
                  <a:lnTo>
                    <a:pt x="396" y="194"/>
                  </a:lnTo>
                  <a:lnTo>
                    <a:pt x="388" y="194"/>
                  </a:lnTo>
                  <a:lnTo>
                    <a:pt x="384" y="196"/>
                  </a:lnTo>
                  <a:lnTo>
                    <a:pt x="384" y="196"/>
                  </a:lnTo>
                  <a:lnTo>
                    <a:pt x="380" y="200"/>
                  </a:lnTo>
                  <a:lnTo>
                    <a:pt x="380" y="200"/>
                  </a:lnTo>
                  <a:lnTo>
                    <a:pt x="374" y="202"/>
                  </a:lnTo>
                  <a:lnTo>
                    <a:pt x="374" y="202"/>
                  </a:lnTo>
                  <a:lnTo>
                    <a:pt x="370" y="204"/>
                  </a:lnTo>
                  <a:lnTo>
                    <a:pt x="370" y="204"/>
                  </a:lnTo>
                  <a:lnTo>
                    <a:pt x="364" y="206"/>
                  </a:lnTo>
                  <a:lnTo>
                    <a:pt x="364" y="206"/>
                  </a:lnTo>
                  <a:lnTo>
                    <a:pt x="362" y="208"/>
                  </a:lnTo>
                  <a:lnTo>
                    <a:pt x="362" y="208"/>
                  </a:lnTo>
                  <a:lnTo>
                    <a:pt x="360" y="218"/>
                  </a:lnTo>
                  <a:lnTo>
                    <a:pt x="358" y="228"/>
                  </a:lnTo>
                  <a:lnTo>
                    <a:pt x="358" y="228"/>
                  </a:lnTo>
                  <a:lnTo>
                    <a:pt x="354" y="232"/>
                  </a:lnTo>
                  <a:lnTo>
                    <a:pt x="354" y="232"/>
                  </a:lnTo>
                  <a:lnTo>
                    <a:pt x="354" y="236"/>
                  </a:lnTo>
                  <a:lnTo>
                    <a:pt x="354" y="240"/>
                  </a:lnTo>
                  <a:lnTo>
                    <a:pt x="354" y="240"/>
                  </a:lnTo>
                  <a:lnTo>
                    <a:pt x="352" y="240"/>
                  </a:lnTo>
                  <a:lnTo>
                    <a:pt x="352" y="240"/>
                  </a:lnTo>
                  <a:lnTo>
                    <a:pt x="348" y="244"/>
                  </a:lnTo>
                  <a:lnTo>
                    <a:pt x="344" y="250"/>
                  </a:lnTo>
                  <a:lnTo>
                    <a:pt x="344" y="250"/>
                  </a:lnTo>
                  <a:lnTo>
                    <a:pt x="340" y="250"/>
                  </a:lnTo>
                  <a:lnTo>
                    <a:pt x="338" y="250"/>
                  </a:lnTo>
                  <a:lnTo>
                    <a:pt x="338" y="250"/>
                  </a:lnTo>
                  <a:lnTo>
                    <a:pt x="336" y="246"/>
                  </a:lnTo>
                  <a:lnTo>
                    <a:pt x="336" y="246"/>
                  </a:lnTo>
                  <a:lnTo>
                    <a:pt x="330" y="248"/>
                  </a:lnTo>
                  <a:lnTo>
                    <a:pt x="324" y="252"/>
                  </a:lnTo>
                  <a:lnTo>
                    <a:pt x="324" y="252"/>
                  </a:lnTo>
                  <a:lnTo>
                    <a:pt x="322" y="254"/>
                  </a:lnTo>
                  <a:lnTo>
                    <a:pt x="322" y="254"/>
                  </a:lnTo>
                  <a:lnTo>
                    <a:pt x="314" y="254"/>
                  </a:lnTo>
                  <a:lnTo>
                    <a:pt x="314" y="258"/>
                  </a:lnTo>
                  <a:lnTo>
                    <a:pt x="314" y="258"/>
                  </a:lnTo>
                  <a:lnTo>
                    <a:pt x="302" y="258"/>
                  </a:lnTo>
                  <a:lnTo>
                    <a:pt x="302" y="258"/>
                  </a:lnTo>
                  <a:lnTo>
                    <a:pt x="298" y="252"/>
                  </a:lnTo>
                  <a:lnTo>
                    <a:pt x="296" y="248"/>
                  </a:lnTo>
                  <a:lnTo>
                    <a:pt x="292" y="248"/>
                  </a:lnTo>
                  <a:lnTo>
                    <a:pt x="284" y="248"/>
                  </a:lnTo>
                  <a:lnTo>
                    <a:pt x="284" y="248"/>
                  </a:lnTo>
                  <a:lnTo>
                    <a:pt x="284" y="244"/>
                  </a:lnTo>
                  <a:lnTo>
                    <a:pt x="284" y="244"/>
                  </a:lnTo>
                  <a:lnTo>
                    <a:pt x="282" y="238"/>
                  </a:lnTo>
                  <a:lnTo>
                    <a:pt x="278" y="234"/>
                  </a:lnTo>
                  <a:lnTo>
                    <a:pt x="278" y="234"/>
                  </a:lnTo>
                  <a:lnTo>
                    <a:pt x="278" y="228"/>
                  </a:lnTo>
                  <a:lnTo>
                    <a:pt x="278" y="228"/>
                  </a:lnTo>
                  <a:lnTo>
                    <a:pt x="274" y="228"/>
                  </a:lnTo>
                  <a:lnTo>
                    <a:pt x="274" y="228"/>
                  </a:lnTo>
                  <a:lnTo>
                    <a:pt x="272" y="224"/>
                  </a:lnTo>
                  <a:lnTo>
                    <a:pt x="270" y="220"/>
                  </a:lnTo>
                  <a:lnTo>
                    <a:pt x="270" y="220"/>
                  </a:lnTo>
                  <a:lnTo>
                    <a:pt x="266" y="218"/>
                  </a:lnTo>
                  <a:lnTo>
                    <a:pt x="266" y="218"/>
                  </a:lnTo>
                  <a:lnTo>
                    <a:pt x="264" y="214"/>
                  </a:lnTo>
                  <a:lnTo>
                    <a:pt x="264" y="210"/>
                  </a:lnTo>
                  <a:lnTo>
                    <a:pt x="264" y="210"/>
                  </a:lnTo>
                  <a:lnTo>
                    <a:pt x="260" y="206"/>
                  </a:lnTo>
                  <a:lnTo>
                    <a:pt x="260" y="206"/>
                  </a:lnTo>
                  <a:lnTo>
                    <a:pt x="260" y="200"/>
                  </a:lnTo>
                  <a:lnTo>
                    <a:pt x="260" y="200"/>
                  </a:lnTo>
                  <a:lnTo>
                    <a:pt x="256" y="202"/>
                  </a:lnTo>
                  <a:lnTo>
                    <a:pt x="256" y="202"/>
                  </a:lnTo>
                  <a:lnTo>
                    <a:pt x="258" y="194"/>
                  </a:lnTo>
                  <a:lnTo>
                    <a:pt x="258" y="186"/>
                  </a:lnTo>
                  <a:lnTo>
                    <a:pt x="258" y="186"/>
                  </a:lnTo>
                  <a:lnTo>
                    <a:pt x="260" y="182"/>
                  </a:lnTo>
                  <a:lnTo>
                    <a:pt x="260" y="176"/>
                  </a:lnTo>
                  <a:lnTo>
                    <a:pt x="258" y="172"/>
                  </a:lnTo>
                  <a:lnTo>
                    <a:pt x="258" y="172"/>
                  </a:lnTo>
                  <a:lnTo>
                    <a:pt x="258" y="168"/>
                  </a:lnTo>
                  <a:lnTo>
                    <a:pt x="258" y="166"/>
                  </a:lnTo>
                  <a:lnTo>
                    <a:pt x="256" y="164"/>
                  </a:lnTo>
                  <a:lnTo>
                    <a:pt x="256" y="164"/>
                  </a:lnTo>
                  <a:lnTo>
                    <a:pt x="256" y="158"/>
                  </a:lnTo>
                  <a:lnTo>
                    <a:pt x="258" y="152"/>
                  </a:lnTo>
                  <a:lnTo>
                    <a:pt x="256" y="148"/>
                  </a:lnTo>
                  <a:lnTo>
                    <a:pt x="256" y="148"/>
                  </a:lnTo>
                  <a:lnTo>
                    <a:pt x="256" y="144"/>
                  </a:lnTo>
                  <a:lnTo>
                    <a:pt x="256" y="142"/>
                  </a:lnTo>
                  <a:lnTo>
                    <a:pt x="256" y="140"/>
                  </a:lnTo>
                  <a:lnTo>
                    <a:pt x="256" y="140"/>
                  </a:lnTo>
                  <a:lnTo>
                    <a:pt x="258" y="138"/>
                  </a:lnTo>
                  <a:lnTo>
                    <a:pt x="260" y="136"/>
                  </a:lnTo>
                  <a:lnTo>
                    <a:pt x="260" y="136"/>
                  </a:lnTo>
                  <a:lnTo>
                    <a:pt x="260" y="132"/>
                  </a:lnTo>
                  <a:lnTo>
                    <a:pt x="260" y="132"/>
                  </a:lnTo>
                  <a:lnTo>
                    <a:pt x="264" y="132"/>
                  </a:lnTo>
                  <a:lnTo>
                    <a:pt x="264" y="132"/>
                  </a:lnTo>
                  <a:lnTo>
                    <a:pt x="266" y="130"/>
                  </a:lnTo>
                  <a:lnTo>
                    <a:pt x="266" y="126"/>
                  </a:lnTo>
                  <a:lnTo>
                    <a:pt x="266" y="126"/>
                  </a:lnTo>
                  <a:lnTo>
                    <a:pt x="268" y="124"/>
                  </a:lnTo>
                  <a:lnTo>
                    <a:pt x="266" y="122"/>
                  </a:lnTo>
                  <a:lnTo>
                    <a:pt x="260" y="122"/>
                  </a:lnTo>
                  <a:lnTo>
                    <a:pt x="256" y="120"/>
                  </a:lnTo>
                  <a:lnTo>
                    <a:pt x="250" y="118"/>
                  </a:lnTo>
                  <a:lnTo>
                    <a:pt x="246" y="116"/>
                  </a:lnTo>
                  <a:lnTo>
                    <a:pt x="240" y="114"/>
                  </a:lnTo>
                  <a:lnTo>
                    <a:pt x="240" y="108"/>
                  </a:lnTo>
                  <a:lnTo>
                    <a:pt x="238" y="98"/>
                  </a:lnTo>
                  <a:lnTo>
                    <a:pt x="234" y="94"/>
                  </a:lnTo>
                  <a:lnTo>
                    <a:pt x="230" y="90"/>
                  </a:lnTo>
                  <a:lnTo>
                    <a:pt x="228" y="86"/>
                  </a:lnTo>
                  <a:lnTo>
                    <a:pt x="224" y="78"/>
                  </a:lnTo>
                  <a:lnTo>
                    <a:pt x="222" y="72"/>
                  </a:lnTo>
                  <a:lnTo>
                    <a:pt x="220" y="70"/>
                  </a:lnTo>
                  <a:lnTo>
                    <a:pt x="218" y="64"/>
                  </a:lnTo>
                  <a:lnTo>
                    <a:pt x="214" y="60"/>
                  </a:lnTo>
                  <a:lnTo>
                    <a:pt x="210" y="56"/>
                  </a:lnTo>
                  <a:lnTo>
                    <a:pt x="206" y="54"/>
                  </a:lnTo>
                  <a:lnTo>
                    <a:pt x="202" y="54"/>
                  </a:lnTo>
                  <a:lnTo>
                    <a:pt x="196" y="56"/>
                  </a:lnTo>
                  <a:lnTo>
                    <a:pt x="192" y="62"/>
                  </a:lnTo>
                  <a:lnTo>
                    <a:pt x="188" y="64"/>
                  </a:lnTo>
                  <a:lnTo>
                    <a:pt x="184" y="64"/>
                  </a:lnTo>
                  <a:lnTo>
                    <a:pt x="180" y="64"/>
                  </a:lnTo>
                  <a:lnTo>
                    <a:pt x="176" y="62"/>
                  </a:lnTo>
                  <a:lnTo>
                    <a:pt x="172" y="56"/>
                  </a:lnTo>
                  <a:lnTo>
                    <a:pt x="168" y="52"/>
                  </a:lnTo>
                  <a:lnTo>
                    <a:pt x="168" y="48"/>
                  </a:lnTo>
                  <a:lnTo>
                    <a:pt x="164" y="42"/>
                  </a:lnTo>
                  <a:lnTo>
                    <a:pt x="160" y="36"/>
                  </a:lnTo>
                  <a:lnTo>
                    <a:pt x="156" y="32"/>
                  </a:lnTo>
                  <a:lnTo>
                    <a:pt x="154" y="30"/>
                  </a:lnTo>
                  <a:lnTo>
                    <a:pt x="150" y="26"/>
                  </a:lnTo>
                  <a:lnTo>
                    <a:pt x="144" y="18"/>
                  </a:lnTo>
                  <a:lnTo>
                    <a:pt x="116" y="18"/>
                  </a:lnTo>
                  <a:lnTo>
                    <a:pt x="116" y="26"/>
                  </a:lnTo>
                  <a:lnTo>
                    <a:pt x="72" y="24"/>
                  </a:lnTo>
                  <a:lnTo>
                    <a:pt x="36" y="6"/>
                  </a:lnTo>
                  <a:lnTo>
                    <a:pt x="36" y="0"/>
                  </a:lnTo>
                  <a:lnTo>
                    <a:pt x="0"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6" name="Freeform 139"/>
            <p:cNvSpPr>
              <a:spLocks noChangeAspect="1" noEditPoints="1"/>
            </p:cNvSpPr>
            <p:nvPr/>
          </p:nvSpPr>
          <p:spPr bwMode="gray">
            <a:xfrm>
              <a:off x="6570663" y="4240084"/>
              <a:ext cx="421629" cy="167787"/>
            </a:xfrm>
            <a:custGeom>
              <a:avLst/>
              <a:gdLst/>
              <a:ahLst/>
              <a:cxnLst>
                <a:cxn ang="0">
                  <a:pos x="126" y="96"/>
                </a:cxn>
                <a:cxn ang="0">
                  <a:pos x="142" y="102"/>
                </a:cxn>
                <a:cxn ang="0">
                  <a:pos x="158" y="96"/>
                </a:cxn>
                <a:cxn ang="0">
                  <a:pos x="178" y="96"/>
                </a:cxn>
                <a:cxn ang="0">
                  <a:pos x="188" y="82"/>
                </a:cxn>
                <a:cxn ang="0">
                  <a:pos x="196" y="72"/>
                </a:cxn>
                <a:cxn ang="0">
                  <a:pos x="204" y="54"/>
                </a:cxn>
                <a:cxn ang="0">
                  <a:pos x="224" y="50"/>
                </a:cxn>
                <a:cxn ang="0">
                  <a:pos x="226" y="46"/>
                </a:cxn>
                <a:cxn ang="0">
                  <a:pos x="236" y="44"/>
                </a:cxn>
                <a:cxn ang="0">
                  <a:pos x="238" y="44"/>
                </a:cxn>
                <a:cxn ang="0">
                  <a:pos x="238" y="40"/>
                </a:cxn>
                <a:cxn ang="0">
                  <a:pos x="236" y="36"/>
                </a:cxn>
                <a:cxn ang="0">
                  <a:pos x="244" y="34"/>
                </a:cxn>
                <a:cxn ang="0">
                  <a:pos x="248" y="28"/>
                </a:cxn>
                <a:cxn ang="0">
                  <a:pos x="242" y="20"/>
                </a:cxn>
                <a:cxn ang="0">
                  <a:pos x="236" y="22"/>
                </a:cxn>
                <a:cxn ang="0">
                  <a:pos x="232" y="16"/>
                </a:cxn>
                <a:cxn ang="0">
                  <a:pos x="234" y="10"/>
                </a:cxn>
                <a:cxn ang="0">
                  <a:pos x="228" y="6"/>
                </a:cxn>
                <a:cxn ang="0">
                  <a:pos x="228" y="2"/>
                </a:cxn>
                <a:cxn ang="0">
                  <a:pos x="226" y="4"/>
                </a:cxn>
                <a:cxn ang="0">
                  <a:pos x="222" y="4"/>
                </a:cxn>
                <a:cxn ang="0">
                  <a:pos x="218" y="0"/>
                </a:cxn>
                <a:cxn ang="0">
                  <a:pos x="212" y="14"/>
                </a:cxn>
                <a:cxn ang="0">
                  <a:pos x="202" y="26"/>
                </a:cxn>
                <a:cxn ang="0">
                  <a:pos x="204" y="30"/>
                </a:cxn>
                <a:cxn ang="0">
                  <a:pos x="202" y="36"/>
                </a:cxn>
                <a:cxn ang="0">
                  <a:pos x="200" y="46"/>
                </a:cxn>
                <a:cxn ang="0">
                  <a:pos x="192" y="50"/>
                </a:cxn>
                <a:cxn ang="0">
                  <a:pos x="182" y="44"/>
                </a:cxn>
                <a:cxn ang="0">
                  <a:pos x="170" y="66"/>
                </a:cxn>
                <a:cxn ang="0">
                  <a:pos x="162" y="66"/>
                </a:cxn>
                <a:cxn ang="0">
                  <a:pos x="146" y="72"/>
                </a:cxn>
                <a:cxn ang="0">
                  <a:pos x="146" y="78"/>
                </a:cxn>
                <a:cxn ang="0">
                  <a:pos x="144" y="86"/>
                </a:cxn>
                <a:cxn ang="0">
                  <a:pos x="142" y="90"/>
                </a:cxn>
                <a:cxn ang="0">
                  <a:pos x="136" y="88"/>
                </a:cxn>
                <a:cxn ang="0">
                  <a:pos x="132" y="84"/>
                </a:cxn>
                <a:cxn ang="0">
                  <a:pos x="128" y="86"/>
                </a:cxn>
                <a:cxn ang="0">
                  <a:pos x="124" y="82"/>
                </a:cxn>
                <a:cxn ang="0">
                  <a:pos x="2" y="24"/>
                </a:cxn>
                <a:cxn ang="0">
                  <a:pos x="4" y="32"/>
                </a:cxn>
                <a:cxn ang="0">
                  <a:pos x="8" y="50"/>
                </a:cxn>
                <a:cxn ang="0">
                  <a:pos x="8" y="56"/>
                </a:cxn>
                <a:cxn ang="0">
                  <a:pos x="14" y="62"/>
                </a:cxn>
                <a:cxn ang="0">
                  <a:pos x="16" y="72"/>
                </a:cxn>
                <a:cxn ang="0">
                  <a:pos x="26" y="80"/>
                </a:cxn>
                <a:cxn ang="0">
                  <a:pos x="28" y="84"/>
                </a:cxn>
                <a:cxn ang="0">
                  <a:pos x="42" y="90"/>
                </a:cxn>
                <a:cxn ang="0">
                  <a:pos x="52" y="88"/>
                </a:cxn>
                <a:cxn ang="0">
                  <a:pos x="52" y="82"/>
                </a:cxn>
                <a:cxn ang="0">
                  <a:pos x="48" y="74"/>
                </a:cxn>
                <a:cxn ang="0">
                  <a:pos x="44" y="68"/>
                </a:cxn>
                <a:cxn ang="0">
                  <a:pos x="42" y="58"/>
                </a:cxn>
                <a:cxn ang="0">
                  <a:pos x="44" y="42"/>
                </a:cxn>
                <a:cxn ang="0">
                  <a:pos x="38" y="32"/>
                </a:cxn>
                <a:cxn ang="0">
                  <a:pos x="32" y="20"/>
                </a:cxn>
                <a:cxn ang="0">
                  <a:pos x="24" y="14"/>
                </a:cxn>
                <a:cxn ang="0">
                  <a:pos x="16" y="22"/>
                </a:cxn>
                <a:cxn ang="0">
                  <a:pos x="12" y="20"/>
                </a:cxn>
                <a:cxn ang="0">
                  <a:pos x="0" y="18"/>
                </a:cxn>
              </a:cxnLst>
              <a:rect l="0" t="0" r="r" b="b"/>
              <a:pathLst>
                <a:path w="248" h="102">
                  <a:moveTo>
                    <a:pt x="124" y="82"/>
                  </a:moveTo>
                  <a:lnTo>
                    <a:pt x="124" y="90"/>
                  </a:lnTo>
                  <a:lnTo>
                    <a:pt x="126" y="96"/>
                  </a:lnTo>
                  <a:lnTo>
                    <a:pt x="132" y="98"/>
                  </a:lnTo>
                  <a:lnTo>
                    <a:pt x="136" y="100"/>
                  </a:lnTo>
                  <a:lnTo>
                    <a:pt x="142" y="102"/>
                  </a:lnTo>
                  <a:lnTo>
                    <a:pt x="148" y="100"/>
                  </a:lnTo>
                  <a:lnTo>
                    <a:pt x="156" y="98"/>
                  </a:lnTo>
                  <a:lnTo>
                    <a:pt x="158" y="96"/>
                  </a:lnTo>
                  <a:lnTo>
                    <a:pt x="166" y="94"/>
                  </a:lnTo>
                  <a:lnTo>
                    <a:pt x="170" y="96"/>
                  </a:lnTo>
                  <a:lnTo>
                    <a:pt x="178" y="96"/>
                  </a:lnTo>
                  <a:lnTo>
                    <a:pt x="184" y="92"/>
                  </a:lnTo>
                  <a:lnTo>
                    <a:pt x="186" y="90"/>
                  </a:lnTo>
                  <a:lnTo>
                    <a:pt x="188" y="82"/>
                  </a:lnTo>
                  <a:lnTo>
                    <a:pt x="188" y="78"/>
                  </a:lnTo>
                  <a:lnTo>
                    <a:pt x="192" y="76"/>
                  </a:lnTo>
                  <a:lnTo>
                    <a:pt x="196" y="72"/>
                  </a:lnTo>
                  <a:lnTo>
                    <a:pt x="198" y="68"/>
                  </a:lnTo>
                  <a:lnTo>
                    <a:pt x="202" y="64"/>
                  </a:lnTo>
                  <a:lnTo>
                    <a:pt x="204" y="54"/>
                  </a:lnTo>
                  <a:lnTo>
                    <a:pt x="206" y="50"/>
                  </a:lnTo>
                  <a:lnTo>
                    <a:pt x="214" y="52"/>
                  </a:lnTo>
                  <a:lnTo>
                    <a:pt x="224" y="50"/>
                  </a:lnTo>
                  <a:lnTo>
                    <a:pt x="224" y="50"/>
                  </a:lnTo>
                  <a:lnTo>
                    <a:pt x="226" y="46"/>
                  </a:lnTo>
                  <a:lnTo>
                    <a:pt x="226" y="46"/>
                  </a:lnTo>
                  <a:lnTo>
                    <a:pt x="234" y="48"/>
                  </a:lnTo>
                  <a:lnTo>
                    <a:pt x="234" y="48"/>
                  </a:lnTo>
                  <a:lnTo>
                    <a:pt x="236" y="44"/>
                  </a:lnTo>
                  <a:lnTo>
                    <a:pt x="236" y="44"/>
                  </a:lnTo>
                  <a:lnTo>
                    <a:pt x="238" y="44"/>
                  </a:lnTo>
                  <a:lnTo>
                    <a:pt x="238" y="44"/>
                  </a:lnTo>
                  <a:lnTo>
                    <a:pt x="238" y="44"/>
                  </a:lnTo>
                  <a:lnTo>
                    <a:pt x="238" y="40"/>
                  </a:lnTo>
                  <a:lnTo>
                    <a:pt x="238" y="40"/>
                  </a:lnTo>
                  <a:lnTo>
                    <a:pt x="236" y="38"/>
                  </a:lnTo>
                  <a:lnTo>
                    <a:pt x="236" y="38"/>
                  </a:lnTo>
                  <a:lnTo>
                    <a:pt x="236" y="36"/>
                  </a:lnTo>
                  <a:lnTo>
                    <a:pt x="236" y="34"/>
                  </a:lnTo>
                  <a:lnTo>
                    <a:pt x="236" y="34"/>
                  </a:lnTo>
                  <a:lnTo>
                    <a:pt x="244" y="34"/>
                  </a:lnTo>
                  <a:lnTo>
                    <a:pt x="246" y="32"/>
                  </a:lnTo>
                  <a:lnTo>
                    <a:pt x="248" y="30"/>
                  </a:lnTo>
                  <a:lnTo>
                    <a:pt x="248" y="28"/>
                  </a:lnTo>
                  <a:lnTo>
                    <a:pt x="248" y="28"/>
                  </a:lnTo>
                  <a:lnTo>
                    <a:pt x="244" y="24"/>
                  </a:lnTo>
                  <a:lnTo>
                    <a:pt x="242" y="20"/>
                  </a:lnTo>
                  <a:lnTo>
                    <a:pt x="242" y="20"/>
                  </a:lnTo>
                  <a:lnTo>
                    <a:pt x="236" y="22"/>
                  </a:lnTo>
                  <a:lnTo>
                    <a:pt x="236" y="22"/>
                  </a:lnTo>
                  <a:lnTo>
                    <a:pt x="236" y="18"/>
                  </a:lnTo>
                  <a:lnTo>
                    <a:pt x="236" y="18"/>
                  </a:lnTo>
                  <a:lnTo>
                    <a:pt x="232" y="16"/>
                  </a:lnTo>
                  <a:lnTo>
                    <a:pt x="232" y="16"/>
                  </a:lnTo>
                  <a:lnTo>
                    <a:pt x="234" y="10"/>
                  </a:lnTo>
                  <a:lnTo>
                    <a:pt x="234" y="10"/>
                  </a:lnTo>
                  <a:lnTo>
                    <a:pt x="230" y="6"/>
                  </a:lnTo>
                  <a:lnTo>
                    <a:pt x="230" y="6"/>
                  </a:lnTo>
                  <a:lnTo>
                    <a:pt x="228" y="6"/>
                  </a:lnTo>
                  <a:lnTo>
                    <a:pt x="228" y="6"/>
                  </a:lnTo>
                  <a:lnTo>
                    <a:pt x="228" y="2"/>
                  </a:lnTo>
                  <a:lnTo>
                    <a:pt x="228" y="2"/>
                  </a:lnTo>
                  <a:lnTo>
                    <a:pt x="226" y="4"/>
                  </a:lnTo>
                  <a:lnTo>
                    <a:pt x="226" y="4"/>
                  </a:lnTo>
                  <a:lnTo>
                    <a:pt x="226" y="4"/>
                  </a:lnTo>
                  <a:lnTo>
                    <a:pt x="226" y="4"/>
                  </a:lnTo>
                  <a:lnTo>
                    <a:pt x="222" y="4"/>
                  </a:lnTo>
                  <a:lnTo>
                    <a:pt x="222" y="4"/>
                  </a:lnTo>
                  <a:lnTo>
                    <a:pt x="220" y="2"/>
                  </a:lnTo>
                  <a:lnTo>
                    <a:pt x="220" y="0"/>
                  </a:lnTo>
                  <a:lnTo>
                    <a:pt x="218" y="0"/>
                  </a:lnTo>
                  <a:lnTo>
                    <a:pt x="218" y="0"/>
                  </a:lnTo>
                  <a:lnTo>
                    <a:pt x="214" y="8"/>
                  </a:lnTo>
                  <a:lnTo>
                    <a:pt x="212" y="14"/>
                  </a:lnTo>
                  <a:lnTo>
                    <a:pt x="200" y="24"/>
                  </a:lnTo>
                  <a:lnTo>
                    <a:pt x="200" y="24"/>
                  </a:lnTo>
                  <a:lnTo>
                    <a:pt x="202" y="26"/>
                  </a:lnTo>
                  <a:lnTo>
                    <a:pt x="204" y="26"/>
                  </a:lnTo>
                  <a:lnTo>
                    <a:pt x="204" y="26"/>
                  </a:lnTo>
                  <a:lnTo>
                    <a:pt x="204" y="30"/>
                  </a:lnTo>
                  <a:lnTo>
                    <a:pt x="204" y="30"/>
                  </a:lnTo>
                  <a:lnTo>
                    <a:pt x="202" y="32"/>
                  </a:lnTo>
                  <a:lnTo>
                    <a:pt x="202" y="36"/>
                  </a:lnTo>
                  <a:lnTo>
                    <a:pt x="198" y="36"/>
                  </a:lnTo>
                  <a:lnTo>
                    <a:pt x="202" y="46"/>
                  </a:lnTo>
                  <a:lnTo>
                    <a:pt x="200" y="46"/>
                  </a:lnTo>
                  <a:lnTo>
                    <a:pt x="196" y="44"/>
                  </a:lnTo>
                  <a:lnTo>
                    <a:pt x="194" y="48"/>
                  </a:lnTo>
                  <a:lnTo>
                    <a:pt x="192" y="50"/>
                  </a:lnTo>
                  <a:lnTo>
                    <a:pt x="188" y="50"/>
                  </a:lnTo>
                  <a:lnTo>
                    <a:pt x="182" y="44"/>
                  </a:lnTo>
                  <a:lnTo>
                    <a:pt x="182" y="44"/>
                  </a:lnTo>
                  <a:lnTo>
                    <a:pt x="182" y="46"/>
                  </a:lnTo>
                  <a:lnTo>
                    <a:pt x="170" y="66"/>
                  </a:lnTo>
                  <a:lnTo>
                    <a:pt x="170" y="66"/>
                  </a:lnTo>
                  <a:lnTo>
                    <a:pt x="166" y="66"/>
                  </a:lnTo>
                  <a:lnTo>
                    <a:pt x="162" y="66"/>
                  </a:lnTo>
                  <a:lnTo>
                    <a:pt x="162" y="66"/>
                  </a:lnTo>
                  <a:lnTo>
                    <a:pt x="154" y="68"/>
                  </a:lnTo>
                  <a:lnTo>
                    <a:pt x="146" y="72"/>
                  </a:lnTo>
                  <a:lnTo>
                    <a:pt x="146" y="72"/>
                  </a:lnTo>
                  <a:lnTo>
                    <a:pt x="146" y="76"/>
                  </a:lnTo>
                  <a:lnTo>
                    <a:pt x="146" y="78"/>
                  </a:lnTo>
                  <a:lnTo>
                    <a:pt x="146" y="78"/>
                  </a:lnTo>
                  <a:lnTo>
                    <a:pt x="146" y="78"/>
                  </a:lnTo>
                  <a:lnTo>
                    <a:pt x="144" y="86"/>
                  </a:lnTo>
                  <a:lnTo>
                    <a:pt x="144" y="86"/>
                  </a:lnTo>
                  <a:lnTo>
                    <a:pt x="142" y="86"/>
                  </a:lnTo>
                  <a:lnTo>
                    <a:pt x="142" y="86"/>
                  </a:lnTo>
                  <a:lnTo>
                    <a:pt x="142" y="90"/>
                  </a:lnTo>
                  <a:lnTo>
                    <a:pt x="142" y="90"/>
                  </a:lnTo>
                  <a:lnTo>
                    <a:pt x="138" y="90"/>
                  </a:lnTo>
                  <a:lnTo>
                    <a:pt x="136" y="88"/>
                  </a:lnTo>
                  <a:lnTo>
                    <a:pt x="134" y="86"/>
                  </a:lnTo>
                  <a:lnTo>
                    <a:pt x="134" y="86"/>
                  </a:lnTo>
                  <a:lnTo>
                    <a:pt x="132" y="84"/>
                  </a:lnTo>
                  <a:lnTo>
                    <a:pt x="130" y="86"/>
                  </a:lnTo>
                  <a:lnTo>
                    <a:pt x="130" y="86"/>
                  </a:lnTo>
                  <a:lnTo>
                    <a:pt x="128" y="86"/>
                  </a:lnTo>
                  <a:lnTo>
                    <a:pt x="128" y="86"/>
                  </a:lnTo>
                  <a:lnTo>
                    <a:pt x="124" y="82"/>
                  </a:lnTo>
                  <a:lnTo>
                    <a:pt x="124" y="82"/>
                  </a:lnTo>
                  <a:close/>
                  <a:moveTo>
                    <a:pt x="0" y="18"/>
                  </a:moveTo>
                  <a:lnTo>
                    <a:pt x="0" y="18"/>
                  </a:lnTo>
                  <a:lnTo>
                    <a:pt x="2" y="24"/>
                  </a:lnTo>
                  <a:lnTo>
                    <a:pt x="4" y="28"/>
                  </a:lnTo>
                  <a:lnTo>
                    <a:pt x="4" y="28"/>
                  </a:lnTo>
                  <a:lnTo>
                    <a:pt x="4" y="32"/>
                  </a:lnTo>
                  <a:lnTo>
                    <a:pt x="2" y="36"/>
                  </a:lnTo>
                  <a:lnTo>
                    <a:pt x="2" y="36"/>
                  </a:lnTo>
                  <a:lnTo>
                    <a:pt x="8" y="50"/>
                  </a:lnTo>
                  <a:lnTo>
                    <a:pt x="8" y="50"/>
                  </a:lnTo>
                  <a:lnTo>
                    <a:pt x="8" y="54"/>
                  </a:lnTo>
                  <a:lnTo>
                    <a:pt x="8" y="56"/>
                  </a:lnTo>
                  <a:lnTo>
                    <a:pt x="8" y="56"/>
                  </a:lnTo>
                  <a:lnTo>
                    <a:pt x="10" y="58"/>
                  </a:lnTo>
                  <a:lnTo>
                    <a:pt x="14" y="62"/>
                  </a:lnTo>
                  <a:lnTo>
                    <a:pt x="14" y="62"/>
                  </a:lnTo>
                  <a:lnTo>
                    <a:pt x="14" y="68"/>
                  </a:lnTo>
                  <a:lnTo>
                    <a:pt x="16" y="72"/>
                  </a:lnTo>
                  <a:lnTo>
                    <a:pt x="16" y="72"/>
                  </a:lnTo>
                  <a:lnTo>
                    <a:pt x="20" y="76"/>
                  </a:lnTo>
                  <a:lnTo>
                    <a:pt x="26" y="80"/>
                  </a:lnTo>
                  <a:lnTo>
                    <a:pt x="26" y="80"/>
                  </a:lnTo>
                  <a:lnTo>
                    <a:pt x="28" y="84"/>
                  </a:lnTo>
                  <a:lnTo>
                    <a:pt x="28" y="84"/>
                  </a:lnTo>
                  <a:lnTo>
                    <a:pt x="42" y="92"/>
                  </a:lnTo>
                  <a:lnTo>
                    <a:pt x="42" y="90"/>
                  </a:lnTo>
                  <a:lnTo>
                    <a:pt x="42" y="90"/>
                  </a:lnTo>
                  <a:lnTo>
                    <a:pt x="46" y="88"/>
                  </a:lnTo>
                  <a:lnTo>
                    <a:pt x="46" y="88"/>
                  </a:lnTo>
                  <a:lnTo>
                    <a:pt x="52" y="88"/>
                  </a:lnTo>
                  <a:lnTo>
                    <a:pt x="52" y="88"/>
                  </a:lnTo>
                  <a:lnTo>
                    <a:pt x="52" y="82"/>
                  </a:lnTo>
                  <a:lnTo>
                    <a:pt x="52" y="82"/>
                  </a:lnTo>
                  <a:lnTo>
                    <a:pt x="50" y="78"/>
                  </a:lnTo>
                  <a:lnTo>
                    <a:pt x="48" y="74"/>
                  </a:lnTo>
                  <a:lnTo>
                    <a:pt x="48" y="74"/>
                  </a:lnTo>
                  <a:lnTo>
                    <a:pt x="48" y="70"/>
                  </a:lnTo>
                  <a:lnTo>
                    <a:pt x="48" y="70"/>
                  </a:lnTo>
                  <a:lnTo>
                    <a:pt x="44" y="68"/>
                  </a:lnTo>
                  <a:lnTo>
                    <a:pt x="42" y="66"/>
                  </a:lnTo>
                  <a:lnTo>
                    <a:pt x="42" y="66"/>
                  </a:lnTo>
                  <a:lnTo>
                    <a:pt x="42" y="58"/>
                  </a:lnTo>
                  <a:lnTo>
                    <a:pt x="42" y="54"/>
                  </a:lnTo>
                  <a:lnTo>
                    <a:pt x="42" y="54"/>
                  </a:lnTo>
                  <a:lnTo>
                    <a:pt x="44" y="42"/>
                  </a:lnTo>
                  <a:lnTo>
                    <a:pt x="40" y="34"/>
                  </a:lnTo>
                  <a:lnTo>
                    <a:pt x="40" y="34"/>
                  </a:lnTo>
                  <a:lnTo>
                    <a:pt x="38" y="32"/>
                  </a:lnTo>
                  <a:lnTo>
                    <a:pt x="38" y="32"/>
                  </a:lnTo>
                  <a:lnTo>
                    <a:pt x="36" y="24"/>
                  </a:lnTo>
                  <a:lnTo>
                    <a:pt x="32" y="20"/>
                  </a:lnTo>
                  <a:lnTo>
                    <a:pt x="32" y="20"/>
                  </a:lnTo>
                  <a:lnTo>
                    <a:pt x="28" y="16"/>
                  </a:lnTo>
                  <a:lnTo>
                    <a:pt x="24" y="14"/>
                  </a:lnTo>
                  <a:lnTo>
                    <a:pt x="22" y="16"/>
                  </a:lnTo>
                  <a:lnTo>
                    <a:pt x="22" y="24"/>
                  </a:lnTo>
                  <a:lnTo>
                    <a:pt x="16" y="22"/>
                  </a:lnTo>
                  <a:lnTo>
                    <a:pt x="16" y="26"/>
                  </a:lnTo>
                  <a:lnTo>
                    <a:pt x="12" y="26"/>
                  </a:lnTo>
                  <a:lnTo>
                    <a:pt x="12" y="20"/>
                  </a:lnTo>
                  <a:lnTo>
                    <a:pt x="6" y="16"/>
                  </a:lnTo>
                  <a:lnTo>
                    <a:pt x="0" y="18"/>
                  </a:lnTo>
                  <a:lnTo>
                    <a:pt x="0" y="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7" name="Freeform 142"/>
            <p:cNvSpPr>
              <a:spLocks noChangeAspect="1"/>
            </p:cNvSpPr>
            <p:nvPr/>
          </p:nvSpPr>
          <p:spPr bwMode="gray">
            <a:xfrm>
              <a:off x="4761739" y="3220203"/>
              <a:ext cx="68005" cy="55929"/>
            </a:xfrm>
            <a:custGeom>
              <a:avLst/>
              <a:gdLst/>
              <a:ahLst/>
              <a:cxnLst>
                <a:cxn ang="0">
                  <a:pos x="4" y="12"/>
                </a:cxn>
                <a:cxn ang="0">
                  <a:pos x="8" y="8"/>
                </a:cxn>
                <a:cxn ang="0">
                  <a:pos x="12" y="6"/>
                </a:cxn>
                <a:cxn ang="0">
                  <a:pos x="14" y="10"/>
                </a:cxn>
                <a:cxn ang="0">
                  <a:pos x="16" y="4"/>
                </a:cxn>
                <a:cxn ang="0">
                  <a:pos x="20" y="4"/>
                </a:cxn>
                <a:cxn ang="0">
                  <a:pos x="24" y="4"/>
                </a:cxn>
                <a:cxn ang="0">
                  <a:pos x="30" y="2"/>
                </a:cxn>
                <a:cxn ang="0">
                  <a:pos x="32" y="0"/>
                </a:cxn>
                <a:cxn ang="0">
                  <a:pos x="32" y="0"/>
                </a:cxn>
                <a:cxn ang="0">
                  <a:pos x="36" y="4"/>
                </a:cxn>
                <a:cxn ang="0">
                  <a:pos x="36" y="4"/>
                </a:cxn>
                <a:cxn ang="0">
                  <a:pos x="36" y="6"/>
                </a:cxn>
                <a:cxn ang="0">
                  <a:pos x="36" y="8"/>
                </a:cxn>
                <a:cxn ang="0">
                  <a:pos x="36" y="8"/>
                </a:cxn>
                <a:cxn ang="0">
                  <a:pos x="36" y="10"/>
                </a:cxn>
                <a:cxn ang="0">
                  <a:pos x="36" y="10"/>
                </a:cxn>
                <a:cxn ang="0">
                  <a:pos x="40" y="14"/>
                </a:cxn>
                <a:cxn ang="0">
                  <a:pos x="38" y="14"/>
                </a:cxn>
                <a:cxn ang="0">
                  <a:pos x="38" y="20"/>
                </a:cxn>
                <a:cxn ang="0">
                  <a:pos x="38" y="20"/>
                </a:cxn>
                <a:cxn ang="0">
                  <a:pos x="38" y="20"/>
                </a:cxn>
                <a:cxn ang="0">
                  <a:pos x="36" y="24"/>
                </a:cxn>
                <a:cxn ang="0">
                  <a:pos x="36" y="24"/>
                </a:cxn>
                <a:cxn ang="0">
                  <a:pos x="36" y="26"/>
                </a:cxn>
                <a:cxn ang="0">
                  <a:pos x="36" y="26"/>
                </a:cxn>
                <a:cxn ang="0">
                  <a:pos x="34" y="26"/>
                </a:cxn>
                <a:cxn ang="0">
                  <a:pos x="34" y="26"/>
                </a:cxn>
                <a:cxn ang="0">
                  <a:pos x="30" y="26"/>
                </a:cxn>
                <a:cxn ang="0">
                  <a:pos x="28" y="28"/>
                </a:cxn>
                <a:cxn ang="0">
                  <a:pos x="26" y="28"/>
                </a:cxn>
                <a:cxn ang="0">
                  <a:pos x="26" y="28"/>
                </a:cxn>
                <a:cxn ang="0">
                  <a:pos x="26" y="30"/>
                </a:cxn>
                <a:cxn ang="0">
                  <a:pos x="24" y="30"/>
                </a:cxn>
                <a:cxn ang="0">
                  <a:pos x="24" y="30"/>
                </a:cxn>
                <a:cxn ang="0">
                  <a:pos x="22" y="32"/>
                </a:cxn>
                <a:cxn ang="0">
                  <a:pos x="22" y="32"/>
                </a:cxn>
                <a:cxn ang="0">
                  <a:pos x="20" y="34"/>
                </a:cxn>
                <a:cxn ang="0">
                  <a:pos x="18" y="34"/>
                </a:cxn>
                <a:cxn ang="0">
                  <a:pos x="18" y="34"/>
                </a:cxn>
                <a:cxn ang="0">
                  <a:pos x="6" y="34"/>
                </a:cxn>
                <a:cxn ang="0">
                  <a:pos x="6" y="34"/>
                </a:cxn>
                <a:cxn ang="0">
                  <a:pos x="4" y="32"/>
                </a:cxn>
                <a:cxn ang="0">
                  <a:pos x="2" y="28"/>
                </a:cxn>
                <a:cxn ang="0">
                  <a:pos x="2" y="28"/>
                </a:cxn>
                <a:cxn ang="0">
                  <a:pos x="0" y="24"/>
                </a:cxn>
                <a:cxn ang="0">
                  <a:pos x="2" y="22"/>
                </a:cxn>
                <a:cxn ang="0">
                  <a:pos x="2" y="22"/>
                </a:cxn>
                <a:cxn ang="0">
                  <a:pos x="2" y="16"/>
                </a:cxn>
                <a:cxn ang="0">
                  <a:pos x="2" y="14"/>
                </a:cxn>
                <a:cxn ang="0">
                  <a:pos x="4" y="12"/>
                </a:cxn>
              </a:cxnLst>
              <a:rect l="0" t="0" r="r" b="b"/>
              <a:pathLst>
                <a:path w="40" h="34">
                  <a:moveTo>
                    <a:pt x="4" y="12"/>
                  </a:moveTo>
                  <a:lnTo>
                    <a:pt x="8" y="8"/>
                  </a:lnTo>
                  <a:lnTo>
                    <a:pt x="12" y="6"/>
                  </a:lnTo>
                  <a:lnTo>
                    <a:pt x="14" y="10"/>
                  </a:lnTo>
                  <a:lnTo>
                    <a:pt x="16" y="4"/>
                  </a:lnTo>
                  <a:lnTo>
                    <a:pt x="20" y="4"/>
                  </a:lnTo>
                  <a:lnTo>
                    <a:pt x="24" y="4"/>
                  </a:lnTo>
                  <a:lnTo>
                    <a:pt x="30" y="2"/>
                  </a:lnTo>
                  <a:lnTo>
                    <a:pt x="32" y="0"/>
                  </a:lnTo>
                  <a:lnTo>
                    <a:pt x="32" y="0"/>
                  </a:lnTo>
                  <a:lnTo>
                    <a:pt x="36" y="4"/>
                  </a:lnTo>
                  <a:lnTo>
                    <a:pt x="36" y="4"/>
                  </a:lnTo>
                  <a:lnTo>
                    <a:pt x="36" y="6"/>
                  </a:lnTo>
                  <a:lnTo>
                    <a:pt x="36" y="8"/>
                  </a:lnTo>
                  <a:lnTo>
                    <a:pt x="36" y="8"/>
                  </a:lnTo>
                  <a:lnTo>
                    <a:pt x="36" y="10"/>
                  </a:lnTo>
                  <a:lnTo>
                    <a:pt x="36" y="10"/>
                  </a:lnTo>
                  <a:lnTo>
                    <a:pt x="40" y="14"/>
                  </a:lnTo>
                  <a:lnTo>
                    <a:pt x="38" y="14"/>
                  </a:lnTo>
                  <a:lnTo>
                    <a:pt x="38" y="20"/>
                  </a:lnTo>
                  <a:lnTo>
                    <a:pt x="38" y="20"/>
                  </a:lnTo>
                  <a:lnTo>
                    <a:pt x="38" y="20"/>
                  </a:lnTo>
                  <a:lnTo>
                    <a:pt x="36" y="24"/>
                  </a:lnTo>
                  <a:lnTo>
                    <a:pt x="36" y="24"/>
                  </a:lnTo>
                  <a:lnTo>
                    <a:pt x="36" y="26"/>
                  </a:lnTo>
                  <a:lnTo>
                    <a:pt x="36" y="26"/>
                  </a:lnTo>
                  <a:lnTo>
                    <a:pt x="34" y="26"/>
                  </a:lnTo>
                  <a:lnTo>
                    <a:pt x="34" y="26"/>
                  </a:lnTo>
                  <a:lnTo>
                    <a:pt x="30" y="26"/>
                  </a:lnTo>
                  <a:lnTo>
                    <a:pt x="28" y="28"/>
                  </a:lnTo>
                  <a:lnTo>
                    <a:pt x="26" y="28"/>
                  </a:lnTo>
                  <a:lnTo>
                    <a:pt x="26" y="28"/>
                  </a:lnTo>
                  <a:lnTo>
                    <a:pt x="26" y="30"/>
                  </a:lnTo>
                  <a:lnTo>
                    <a:pt x="24" y="30"/>
                  </a:lnTo>
                  <a:lnTo>
                    <a:pt x="24" y="30"/>
                  </a:lnTo>
                  <a:lnTo>
                    <a:pt x="22" y="32"/>
                  </a:lnTo>
                  <a:lnTo>
                    <a:pt x="22" y="32"/>
                  </a:lnTo>
                  <a:lnTo>
                    <a:pt x="20" y="34"/>
                  </a:lnTo>
                  <a:lnTo>
                    <a:pt x="18" y="34"/>
                  </a:lnTo>
                  <a:lnTo>
                    <a:pt x="18" y="34"/>
                  </a:lnTo>
                  <a:lnTo>
                    <a:pt x="6" y="34"/>
                  </a:lnTo>
                  <a:lnTo>
                    <a:pt x="6" y="34"/>
                  </a:lnTo>
                  <a:lnTo>
                    <a:pt x="4" y="32"/>
                  </a:lnTo>
                  <a:lnTo>
                    <a:pt x="2" y="28"/>
                  </a:lnTo>
                  <a:lnTo>
                    <a:pt x="2" y="28"/>
                  </a:lnTo>
                  <a:lnTo>
                    <a:pt x="0" y="24"/>
                  </a:lnTo>
                  <a:lnTo>
                    <a:pt x="2" y="22"/>
                  </a:lnTo>
                  <a:lnTo>
                    <a:pt x="2" y="22"/>
                  </a:lnTo>
                  <a:lnTo>
                    <a:pt x="2" y="16"/>
                  </a:lnTo>
                  <a:lnTo>
                    <a:pt x="2" y="14"/>
                  </a:lnTo>
                  <a:lnTo>
                    <a:pt x="4"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8" name="Freeform 143"/>
            <p:cNvSpPr>
              <a:spLocks noChangeAspect="1"/>
            </p:cNvSpPr>
            <p:nvPr/>
          </p:nvSpPr>
          <p:spPr bwMode="gray">
            <a:xfrm>
              <a:off x="4420016" y="2970167"/>
              <a:ext cx="13601" cy="29609"/>
            </a:xfrm>
            <a:custGeom>
              <a:avLst/>
              <a:gdLst/>
              <a:ahLst/>
              <a:cxnLst>
                <a:cxn ang="0">
                  <a:pos x="0" y="10"/>
                </a:cxn>
                <a:cxn ang="0">
                  <a:pos x="0" y="10"/>
                </a:cxn>
                <a:cxn ang="0">
                  <a:pos x="0" y="10"/>
                </a:cxn>
                <a:cxn ang="0">
                  <a:pos x="0" y="6"/>
                </a:cxn>
                <a:cxn ang="0">
                  <a:pos x="0" y="6"/>
                </a:cxn>
                <a:cxn ang="0">
                  <a:pos x="0" y="2"/>
                </a:cxn>
                <a:cxn ang="0">
                  <a:pos x="2" y="2"/>
                </a:cxn>
                <a:cxn ang="0">
                  <a:pos x="4" y="0"/>
                </a:cxn>
                <a:cxn ang="0">
                  <a:pos x="4" y="0"/>
                </a:cxn>
                <a:cxn ang="0">
                  <a:pos x="4" y="2"/>
                </a:cxn>
                <a:cxn ang="0">
                  <a:pos x="6" y="4"/>
                </a:cxn>
                <a:cxn ang="0">
                  <a:pos x="6" y="4"/>
                </a:cxn>
                <a:cxn ang="0">
                  <a:pos x="8" y="6"/>
                </a:cxn>
                <a:cxn ang="0">
                  <a:pos x="8" y="6"/>
                </a:cxn>
                <a:cxn ang="0">
                  <a:pos x="8" y="10"/>
                </a:cxn>
                <a:cxn ang="0">
                  <a:pos x="8" y="10"/>
                </a:cxn>
                <a:cxn ang="0">
                  <a:pos x="6" y="12"/>
                </a:cxn>
                <a:cxn ang="0">
                  <a:pos x="6" y="16"/>
                </a:cxn>
                <a:cxn ang="0">
                  <a:pos x="8" y="18"/>
                </a:cxn>
                <a:cxn ang="0">
                  <a:pos x="8" y="18"/>
                </a:cxn>
                <a:cxn ang="0">
                  <a:pos x="2" y="16"/>
                </a:cxn>
                <a:cxn ang="0">
                  <a:pos x="2" y="16"/>
                </a:cxn>
                <a:cxn ang="0">
                  <a:pos x="0" y="14"/>
                </a:cxn>
                <a:cxn ang="0">
                  <a:pos x="0" y="12"/>
                </a:cxn>
                <a:cxn ang="0">
                  <a:pos x="0" y="10"/>
                </a:cxn>
                <a:cxn ang="0">
                  <a:pos x="0" y="10"/>
                </a:cxn>
              </a:cxnLst>
              <a:rect l="0" t="0" r="r" b="b"/>
              <a:pathLst>
                <a:path w="8" h="18">
                  <a:moveTo>
                    <a:pt x="0" y="10"/>
                  </a:moveTo>
                  <a:lnTo>
                    <a:pt x="0" y="10"/>
                  </a:lnTo>
                  <a:lnTo>
                    <a:pt x="0" y="10"/>
                  </a:lnTo>
                  <a:lnTo>
                    <a:pt x="0" y="6"/>
                  </a:lnTo>
                  <a:lnTo>
                    <a:pt x="0" y="6"/>
                  </a:lnTo>
                  <a:lnTo>
                    <a:pt x="0" y="2"/>
                  </a:lnTo>
                  <a:lnTo>
                    <a:pt x="2" y="2"/>
                  </a:lnTo>
                  <a:lnTo>
                    <a:pt x="4" y="0"/>
                  </a:lnTo>
                  <a:lnTo>
                    <a:pt x="4" y="0"/>
                  </a:lnTo>
                  <a:lnTo>
                    <a:pt x="4" y="2"/>
                  </a:lnTo>
                  <a:lnTo>
                    <a:pt x="6" y="4"/>
                  </a:lnTo>
                  <a:lnTo>
                    <a:pt x="6" y="4"/>
                  </a:lnTo>
                  <a:lnTo>
                    <a:pt x="8" y="6"/>
                  </a:lnTo>
                  <a:lnTo>
                    <a:pt x="8" y="6"/>
                  </a:lnTo>
                  <a:lnTo>
                    <a:pt x="8" y="10"/>
                  </a:lnTo>
                  <a:lnTo>
                    <a:pt x="8" y="10"/>
                  </a:lnTo>
                  <a:lnTo>
                    <a:pt x="6" y="12"/>
                  </a:lnTo>
                  <a:lnTo>
                    <a:pt x="6" y="16"/>
                  </a:lnTo>
                  <a:lnTo>
                    <a:pt x="8" y="18"/>
                  </a:lnTo>
                  <a:lnTo>
                    <a:pt x="8" y="18"/>
                  </a:lnTo>
                  <a:lnTo>
                    <a:pt x="2" y="16"/>
                  </a:lnTo>
                  <a:lnTo>
                    <a:pt x="2" y="16"/>
                  </a:lnTo>
                  <a:lnTo>
                    <a:pt x="0" y="14"/>
                  </a:lnTo>
                  <a:lnTo>
                    <a:pt x="0" y="12"/>
                  </a:lnTo>
                  <a:lnTo>
                    <a:pt x="0" y="10"/>
                  </a:lnTo>
                  <a:lnTo>
                    <a:pt x="0"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09" name="Freeform 144"/>
            <p:cNvSpPr>
              <a:spLocks noChangeAspect="1" noEditPoints="1"/>
            </p:cNvSpPr>
            <p:nvPr/>
          </p:nvSpPr>
          <p:spPr bwMode="gray">
            <a:xfrm>
              <a:off x="4761739" y="2753031"/>
              <a:ext cx="139410" cy="98698"/>
            </a:xfrm>
            <a:custGeom>
              <a:avLst/>
              <a:gdLst/>
              <a:ahLst/>
              <a:cxnLst>
                <a:cxn ang="0">
                  <a:pos x="4" y="6"/>
                </a:cxn>
                <a:cxn ang="0">
                  <a:pos x="6" y="24"/>
                </a:cxn>
                <a:cxn ang="0">
                  <a:pos x="2" y="28"/>
                </a:cxn>
                <a:cxn ang="0">
                  <a:pos x="12" y="38"/>
                </a:cxn>
                <a:cxn ang="0">
                  <a:pos x="22" y="42"/>
                </a:cxn>
                <a:cxn ang="0">
                  <a:pos x="32" y="54"/>
                </a:cxn>
                <a:cxn ang="0">
                  <a:pos x="40" y="54"/>
                </a:cxn>
                <a:cxn ang="0">
                  <a:pos x="50" y="56"/>
                </a:cxn>
                <a:cxn ang="0">
                  <a:pos x="52" y="60"/>
                </a:cxn>
                <a:cxn ang="0">
                  <a:pos x="58" y="58"/>
                </a:cxn>
                <a:cxn ang="0">
                  <a:pos x="66" y="58"/>
                </a:cxn>
                <a:cxn ang="0">
                  <a:pos x="68" y="56"/>
                </a:cxn>
                <a:cxn ang="0">
                  <a:pos x="74" y="52"/>
                </a:cxn>
                <a:cxn ang="0">
                  <a:pos x="74" y="44"/>
                </a:cxn>
                <a:cxn ang="0">
                  <a:pos x="74" y="38"/>
                </a:cxn>
                <a:cxn ang="0">
                  <a:pos x="78" y="32"/>
                </a:cxn>
                <a:cxn ang="0">
                  <a:pos x="82" y="28"/>
                </a:cxn>
                <a:cxn ang="0">
                  <a:pos x="80" y="24"/>
                </a:cxn>
                <a:cxn ang="0">
                  <a:pos x="74" y="22"/>
                </a:cxn>
                <a:cxn ang="0">
                  <a:pos x="68" y="18"/>
                </a:cxn>
                <a:cxn ang="0">
                  <a:pos x="60" y="16"/>
                </a:cxn>
                <a:cxn ang="0">
                  <a:pos x="58" y="12"/>
                </a:cxn>
                <a:cxn ang="0">
                  <a:pos x="56" y="10"/>
                </a:cxn>
                <a:cxn ang="0">
                  <a:pos x="50" y="10"/>
                </a:cxn>
                <a:cxn ang="0">
                  <a:pos x="42" y="8"/>
                </a:cxn>
                <a:cxn ang="0">
                  <a:pos x="30" y="4"/>
                </a:cxn>
                <a:cxn ang="0">
                  <a:pos x="22" y="2"/>
                </a:cxn>
                <a:cxn ang="0">
                  <a:pos x="16" y="0"/>
                </a:cxn>
                <a:cxn ang="0">
                  <a:pos x="4" y="6"/>
                </a:cxn>
                <a:cxn ang="0">
                  <a:pos x="0" y="20"/>
                </a:cxn>
                <a:cxn ang="0">
                  <a:pos x="2" y="22"/>
                </a:cxn>
                <a:cxn ang="0">
                  <a:pos x="2" y="20"/>
                </a:cxn>
                <a:cxn ang="0">
                  <a:pos x="0" y="20"/>
                </a:cxn>
              </a:cxnLst>
              <a:rect l="0" t="0" r="r" b="b"/>
              <a:pathLst>
                <a:path w="82" h="60">
                  <a:moveTo>
                    <a:pt x="4" y="6"/>
                  </a:moveTo>
                  <a:lnTo>
                    <a:pt x="4" y="6"/>
                  </a:lnTo>
                  <a:lnTo>
                    <a:pt x="6" y="24"/>
                  </a:lnTo>
                  <a:lnTo>
                    <a:pt x="6" y="24"/>
                  </a:lnTo>
                  <a:lnTo>
                    <a:pt x="2" y="28"/>
                  </a:lnTo>
                  <a:lnTo>
                    <a:pt x="2" y="28"/>
                  </a:lnTo>
                  <a:lnTo>
                    <a:pt x="12" y="38"/>
                  </a:lnTo>
                  <a:lnTo>
                    <a:pt x="12" y="38"/>
                  </a:lnTo>
                  <a:lnTo>
                    <a:pt x="16" y="40"/>
                  </a:lnTo>
                  <a:lnTo>
                    <a:pt x="22" y="42"/>
                  </a:lnTo>
                  <a:lnTo>
                    <a:pt x="30" y="42"/>
                  </a:lnTo>
                  <a:lnTo>
                    <a:pt x="32" y="54"/>
                  </a:lnTo>
                  <a:lnTo>
                    <a:pt x="32" y="54"/>
                  </a:lnTo>
                  <a:lnTo>
                    <a:pt x="40" y="54"/>
                  </a:lnTo>
                  <a:lnTo>
                    <a:pt x="50" y="56"/>
                  </a:lnTo>
                  <a:lnTo>
                    <a:pt x="50" y="56"/>
                  </a:lnTo>
                  <a:lnTo>
                    <a:pt x="52" y="58"/>
                  </a:lnTo>
                  <a:lnTo>
                    <a:pt x="52" y="60"/>
                  </a:lnTo>
                  <a:lnTo>
                    <a:pt x="52" y="60"/>
                  </a:lnTo>
                  <a:lnTo>
                    <a:pt x="58" y="58"/>
                  </a:lnTo>
                  <a:lnTo>
                    <a:pt x="66" y="58"/>
                  </a:lnTo>
                  <a:lnTo>
                    <a:pt x="66" y="58"/>
                  </a:lnTo>
                  <a:lnTo>
                    <a:pt x="66" y="58"/>
                  </a:lnTo>
                  <a:lnTo>
                    <a:pt x="68" y="56"/>
                  </a:lnTo>
                  <a:lnTo>
                    <a:pt x="68" y="54"/>
                  </a:lnTo>
                  <a:lnTo>
                    <a:pt x="74" y="52"/>
                  </a:lnTo>
                  <a:lnTo>
                    <a:pt x="74" y="52"/>
                  </a:lnTo>
                  <a:lnTo>
                    <a:pt x="74" y="44"/>
                  </a:lnTo>
                  <a:lnTo>
                    <a:pt x="74" y="44"/>
                  </a:lnTo>
                  <a:lnTo>
                    <a:pt x="74" y="38"/>
                  </a:lnTo>
                  <a:lnTo>
                    <a:pt x="78" y="32"/>
                  </a:lnTo>
                  <a:lnTo>
                    <a:pt x="78" y="32"/>
                  </a:lnTo>
                  <a:lnTo>
                    <a:pt x="80" y="30"/>
                  </a:lnTo>
                  <a:lnTo>
                    <a:pt x="82" y="28"/>
                  </a:lnTo>
                  <a:lnTo>
                    <a:pt x="80" y="24"/>
                  </a:lnTo>
                  <a:lnTo>
                    <a:pt x="80" y="24"/>
                  </a:lnTo>
                  <a:lnTo>
                    <a:pt x="74" y="22"/>
                  </a:lnTo>
                  <a:lnTo>
                    <a:pt x="74" y="22"/>
                  </a:lnTo>
                  <a:lnTo>
                    <a:pt x="68" y="18"/>
                  </a:lnTo>
                  <a:lnTo>
                    <a:pt x="68" y="18"/>
                  </a:lnTo>
                  <a:lnTo>
                    <a:pt x="64" y="16"/>
                  </a:lnTo>
                  <a:lnTo>
                    <a:pt x="60" y="16"/>
                  </a:lnTo>
                  <a:lnTo>
                    <a:pt x="60" y="16"/>
                  </a:lnTo>
                  <a:lnTo>
                    <a:pt x="58" y="12"/>
                  </a:lnTo>
                  <a:lnTo>
                    <a:pt x="56" y="10"/>
                  </a:lnTo>
                  <a:lnTo>
                    <a:pt x="56" y="10"/>
                  </a:lnTo>
                  <a:lnTo>
                    <a:pt x="50" y="10"/>
                  </a:lnTo>
                  <a:lnTo>
                    <a:pt x="50" y="10"/>
                  </a:lnTo>
                  <a:lnTo>
                    <a:pt x="46" y="10"/>
                  </a:lnTo>
                  <a:lnTo>
                    <a:pt x="42" y="8"/>
                  </a:lnTo>
                  <a:lnTo>
                    <a:pt x="42" y="8"/>
                  </a:lnTo>
                  <a:lnTo>
                    <a:pt x="30" y="4"/>
                  </a:lnTo>
                  <a:lnTo>
                    <a:pt x="30" y="4"/>
                  </a:lnTo>
                  <a:lnTo>
                    <a:pt x="22" y="2"/>
                  </a:lnTo>
                  <a:lnTo>
                    <a:pt x="16" y="0"/>
                  </a:lnTo>
                  <a:lnTo>
                    <a:pt x="16" y="0"/>
                  </a:lnTo>
                  <a:lnTo>
                    <a:pt x="10" y="4"/>
                  </a:lnTo>
                  <a:lnTo>
                    <a:pt x="4" y="6"/>
                  </a:lnTo>
                  <a:lnTo>
                    <a:pt x="4" y="6"/>
                  </a:lnTo>
                  <a:close/>
                  <a:moveTo>
                    <a:pt x="0" y="20"/>
                  </a:moveTo>
                  <a:lnTo>
                    <a:pt x="0" y="22"/>
                  </a:lnTo>
                  <a:lnTo>
                    <a:pt x="2" y="22"/>
                  </a:lnTo>
                  <a:lnTo>
                    <a:pt x="2" y="22"/>
                  </a:lnTo>
                  <a:lnTo>
                    <a:pt x="2" y="20"/>
                  </a:lnTo>
                  <a:lnTo>
                    <a:pt x="0" y="20"/>
                  </a:lnTo>
                  <a:lnTo>
                    <a:pt x="0" y="2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0" name="Freeform 145"/>
            <p:cNvSpPr>
              <a:spLocks noChangeAspect="1"/>
            </p:cNvSpPr>
            <p:nvPr/>
          </p:nvSpPr>
          <p:spPr bwMode="gray">
            <a:xfrm>
              <a:off x="4518623" y="3062286"/>
              <a:ext cx="6801" cy="13160"/>
            </a:xfrm>
            <a:custGeom>
              <a:avLst/>
              <a:gdLst/>
              <a:ahLst/>
              <a:cxnLst>
                <a:cxn ang="0">
                  <a:pos x="4" y="8"/>
                </a:cxn>
                <a:cxn ang="0">
                  <a:pos x="4" y="8"/>
                </a:cxn>
                <a:cxn ang="0">
                  <a:pos x="2" y="6"/>
                </a:cxn>
                <a:cxn ang="0">
                  <a:pos x="0" y="4"/>
                </a:cxn>
                <a:cxn ang="0">
                  <a:pos x="0" y="0"/>
                </a:cxn>
                <a:cxn ang="0">
                  <a:pos x="0" y="0"/>
                </a:cxn>
                <a:cxn ang="0">
                  <a:pos x="4" y="0"/>
                </a:cxn>
                <a:cxn ang="0">
                  <a:pos x="4" y="2"/>
                </a:cxn>
                <a:cxn ang="0">
                  <a:pos x="4" y="8"/>
                </a:cxn>
                <a:cxn ang="0">
                  <a:pos x="4" y="8"/>
                </a:cxn>
              </a:cxnLst>
              <a:rect l="0" t="0" r="r" b="b"/>
              <a:pathLst>
                <a:path w="4" h="8">
                  <a:moveTo>
                    <a:pt x="4" y="8"/>
                  </a:moveTo>
                  <a:lnTo>
                    <a:pt x="4" y="8"/>
                  </a:lnTo>
                  <a:lnTo>
                    <a:pt x="2" y="6"/>
                  </a:lnTo>
                  <a:lnTo>
                    <a:pt x="0" y="4"/>
                  </a:lnTo>
                  <a:lnTo>
                    <a:pt x="0" y="0"/>
                  </a:lnTo>
                  <a:lnTo>
                    <a:pt x="0" y="0"/>
                  </a:lnTo>
                  <a:lnTo>
                    <a:pt x="4" y="0"/>
                  </a:lnTo>
                  <a:lnTo>
                    <a:pt x="4" y="2"/>
                  </a:lnTo>
                  <a:lnTo>
                    <a:pt x="4" y="8"/>
                  </a:lnTo>
                  <a:lnTo>
                    <a:pt x="4" y="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1" name="Freeform 148"/>
            <p:cNvSpPr>
              <a:spLocks noChangeAspect="1"/>
            </p:cNvSpPr>
            <p:nvPr/>
          </p:nvSpPr>
          <p:spPr bwMode="gray">
            <a:xfrm>
              <a:off x="5091562" y="3457078"/>
              <a:ext cx="44203" cy="62509"/>
            </a:xfrm>
            <a:custGeom>
              <a:avLst/>
              <a:gdLst/>
              <a:ahLst/>
              <a:cxnLst>
                <a:cxn ang="0">
                  <a:pos x="14" y="4"/>
                </a:cxn>
                <a:cxn ang="0">
                  <a:pos x="14" y="4"/>
                </a:cxn>
                <a:cxn ang="0">
                  <a:pos x="12" y="6"/>
                </a:cxn>
                <a:cxn ang="0">
                  <a:pos x="10" y="12"/>
                </a:cxn>
                <a:cxn ang="0">
                  <a:pos x="10" y="12"/>
                </a:cxn>
                <a:cxn ang="0">
                  <a:pos x="8" y="12"/>
                </a:cxn>
                <a:cxn ang="0">
                  <a:pos x="6" y="14"/>
                </a:cxn>
                <a:cxn ang="0">
                  <a:pos x="6" y="14"/>
                </a:cxn>
                <a:cxn ang="0">
                  <a:pos x="6" y="20"/>
                </a:cxn>
                <a:cxn ang="0">
                  <a:pos x="6" y="28"/>
                </a:cxn>
                <a:cxn ang="0">
                  <a:pos x="6" y="28"/>
                </a:cxn>
                <a:cxn ang="0">
                  <a:pos x="2" y="30"/>
                </a:cxn>
                <a:cxn ang="0">
                  <a:pos x="0" y="34"/>
                </a:cxn>
                <a:cxn ang="0">
                  <a:pos x="0" y="34"/>
                </a:cxn>
                <a:cxn ang="0">
                  <a:pos x="0" y="38"/>
                </a:cxn>
                <a:cxn ang="0">
                  <a:pos x="0" y="38"/>
                </a:cxn>
                <a:cxn ang="0">
                  <a:pos x="4" y="38"/>
                </a:cxn>
                <a:cxn ang="0">
                  <a:pos x="6" y="38"/>
                </a:cxn>
                <a:cxn ang="0">
                  <a:pos x="6" y="38"/>
                </a:cxn>
                <a:cxn ang="0">
                  <a:pos x="6" y="38"/>
                </a:cxn>
                <a:cxn ang="0">
                  <a:pos x="8" y="36"/>
                </a:cxn>
                <a:cxn ang="0">
                  <a:pos x="8" y="36"/>
                </a:cxn>
                <a:cxn ang="0">
                  <a:pos x="10" y="36"/>
                </a:cxn>
                <a:cxn ang="0">
                  <a:pos x="10" y="36"/>
                </a:cxn>
                <a:cxn ang="0">
                  <a:pos x="14" y="30"/>
                </a:cxn>
                <a:cxn ang="0">
                  <a:pos x="14" y="30"/>
                </a:cxn>
                <a:cxn ang="0">
                  <a:pos x="16" y="28"/>
                </a:cxn>
                <a:cxn ang="0">
                  <a:pos x="18" y="26"/>
                </a:cxn>
                <a:cxn ang="0">
                  <a:pos x="18" y="26"/>
                </a:cxn>
                <a:cxn ang="0">
                  <a:pos x="18" y="22"/>
                </a:cxn>
                <a:cxn ang="0">
                  <a:pos x="20" y="18"/>
                </a:cxn>
                <a:cxn ang="0">
                  <a:pos x="20" y="18"/>
                </a:cxn>
                <a:cxn ang="0">
                  <a:pos x="24" y="12"/>
                </a:cxn>
                <a:cxn ang="0">
                  <a:pos x="26" y="4"/>
                </a:cxn>
                <a:cxn ang="0">
                  <a:pos x="26" y="4"/>
                </a:cxn>
                <a:cxn ang="0">
                  <a:pos x="26" y="2"/>
                </a:cxn>
                <a:cxn ang="0">
                  <a:pos x="24" y="2"/>
                </a:cxn>
                <a:cxn ang="0">
                  <a:pos x="20" y="0"/>
                </a:cxn>
                <a:cxn ang="0">
                  <a:pos x="20" y="0"/>
                </a:cxn>
                <a:cxn ang="0">
                  <a:pos x="18" y="0"/>
                </a:cxn>
                <a:cxn ang="0">
                  <a:pos x="16" y="0"/>
                </a:cxn>
                <a:cxn ang="0">
                  <a:pos x="14" y="4"/>
                </a:cxn>
                <a:cxn ang="0">
                  <a:pos x="14" y="4"/>
                </a:cxn>
              </a:cxnLst>
              <a:rect l="0" t="0" r="r" b="b"/>
              <a:pathLst>
                <a:path w="26" h="38">
                  <a:moveTo>
                    <a:pt x="14" y="4"/>
                  </a:moveTo>
                  <a:lnTo>
                    <a:pt x="14" y="4"/>
                  </a:lnTo>
                  <a:lnTo>
                    <a:pt x="12" y="6"/>
                  </a:lnTo>
                  <a:lnTo>
                    <a:pt x="10" y="12"/>
                  </a:lnTo>
                  <a:lnTo>
                    <a:pt x="10" y="12"/>
                  </a:lnTo>
                  <a:lnTo>
                    <a:pt x="8" y="12"/>
                  </a:lnTo>
                  <a:lnTo>
                    <a:pt x="6" y="14"/>
                  </a:lnTo>
                  <a:lnTo>
                    <a:pt x="6" y="14"/>
                  </a:lnTo>
                  <a:lnTo>
                    <a:pt x="6" y="20"/>
                  </a:lnTo>
                  <a:lnTo>
                    <a:pt x="6" y="28"/>
                  </a:lnTo>
                  <a:lnTo>
                    <a:pt x="6" y="28"/>
                  </a:lnTo>
                  <a:lnTo>
                    <a:pt x="2" y="30"/>
                  </a:lnTo>
                  <a:lnTo>
                    <a:pt x="0" y="34"/>
                  </a:lnTo>
                  <a:lnTo>
                    <a:pt x="0" y="34"/>
                  </a:lnTo>
                  <a:lnTo>
                    <a:pt x="0" y="38"/>
                  </a:lnTo>
                  <a:lnTo>
                    <a:pt x="0" y="38"/>
                  </a:lnTo>
                  <a:lnTo>
                    <a:pt x="4" y="38"/>
                  </a:lnTo>
                  <a:lnTo>
                    <a:pt x="6" y="38"/>
                  </a:lnTo>
                  <a:lnTo>
                    <a:pt x="6" y="38"/>
                  </a:lnTo>
                  <a:lnTo>
                    <a:pt x="6" y="38"/>
                  </a:lnTo>
                  <a:lnTo>
                    <a:pt x="8" y="36"/>
                  </a:lnTo>
                  <a:lnTo>
                    <a:pt x="8" y="36"/>
                  </a:lnTo>
                  <a:lnTo>
                    <a:pt x="10" y="36"/>
                  </a:lnTo>
                  <a:lnTo>
                    <a:pt x="10" y="36"/>
                  </a:lnTo>
                  <a:lnTo>
                    <a:pt x="14" y="30"/>
                  </a:lnTo>
                  <a:lnTo>
                    <a:pt x="14" y="30"/>
                  </a:lnTo>
                  <a:lnTo>
                    <a:pt x="16" y="28"/>
                  </a:lnTo>
                  <a:lnTo>
                    <a:pt x="18" y="26"/>
                  </a:lnTo>
                  <a:lnTo>
                    <a:pt x="18" y="26"/>
                  </a:lnTo>
                  <a:lnTo>
                    <a:pt x="18" y="22"/>
                  </a:lnTo>
                  <a:lnTo>
                    <a:pt x="20" y="18"/>
                  </a:lnTo>
                  <a:lnTo>
                    <a:pt x="20" y="18"/>
                  </a:lnTo>
                  <a:lnTo>
                    <a:pt x="24" y="12"/>
                  </a:lnTo>
                  <a:lnTo>
                    <a:pt x="26" y="4"/>
                  </a:lnTo>
                  <a:lnTo>
                    <a:pt x="26" y="4"/>
                  </a:lnTo>
                  <a:lnTo>
                    <a:pt x="26" y="2"/>
                  </a:lnTo>
                  <a:lnTo>
                    <a:pt x="24" y="2"/>
                  </a:lnTo>
                  <a:lnTo>
                    <a:pt x="20" y="0"/>
                  </a:lnTo>
                  <a:lnTo>
                    <a:pt x="20" y="0"/>
                  </a:lnTo>
                  <a:lnTo>
                    <a:pt x="18" y="0"/>
                  </a:lnTo>
                  <a:lnTo>
                    <a:pt x="16" y="0"/>
                  </a:lnTo>
                  <a:lnTo>
                    <a:pt x="14" y="4"/>
                  </a:lnTo>
                  <a:lnTo>
                    <a:pt x="14"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2" name="Freeform 149"/>
            <p:cNvSpPr>
              <a:spLocks noChangeAspect="1"/>
            </p:cNvSpPr>
            <p:nvPr/>
          </p:nvSpPr>
          <p:spPr bwMode="gray">
            <a:xfrm>
              <a:off x="4768540" y="2693812"/>
              <a:ext cx="176812" cy="98698"/>
            </a:xfrm>
            <a:custGeom>
              <a:avLst/>
              <a:gdLst/>
              <a:ahLst/>
              <a:cxnLst>
                <a:cxn ang="0">
                  <a:pos x="0" y="42"/>
                </a:cxn>
                <a:cxn ang="0">
                  <a:pos x="12" y="36"/>
                </a:cxn>
                <a:cxn ang="0">
                  <a:pos x="18" y="38"/>
                </a:cxn>
                <a:cxn ang="0">
                  <a:pos x="26" y="40"/>
                </a:cxn>
                <a:cxn ang="0">
                  <a:pos x="38" y="44"/>
                </a:cxn>
                <a:cxn ang="0">
                  <a:pos x="46" y="46"/>
                </a:cxn>
                <a:cxn ang="0">
                  <a:pos x="52" y="46"/>
                </a:cxn>
                <a:cxn ang="0">
                  <a:pos x="54" y="48"/>
                </a:cxn>
                <a:cxn ang="0">
                  <a:pos x="56" y="52"/>
                </a:cxn>
                <a:cxn ang="0">
                  <a:pos x="64" y="54"/>
                </a:cxn>
                <a:cxn ang="0">
                  <a:pos x="70" y="58"/>
                </a:cxn>
                <a:cxn ang="0">
                  <a:pos x="76" y="60"/>
                </a:cxn>
                <a:cxn ang="0">
                  <a:pos x="80" y="56"/>
                </a:cxn>
                <a:cxn ang="0">
                  <a:pos x="86" y="54"/>
                </a:cxn>
                <a:cxn ang="0">
                  <a:pos x="90" y="56"/>
                </a:cxn>
                <a:cxn ang="0">
                  <a:pos x="92" y="50"/>
                </a:cxn>
                <a:cxn ang="0">
                  <a:pos x="94" y="42"/>
                </a:cxn>
                <a:cxn ang="0">
                  <a:pos x="98" y="44"/>
                </a:cxn>
                <a:cxn ang="0">
                  <a:pos x="104" y="42"/>
                </a:cxn>
                <a:cxn ang="0">
                  <a:pos x="102" y="36"/>
                </a:cxn>
                <a:cxn ang="0">
                  <a:pos x="98" y="30"/>
                </a:cxn>
                <a:cxn ang="0">
                  <a:pos x="94" y="28"/>
                </a:cxn>
                <a:cxn ang="0">
                  <a:pos x="92" y="26"/>
                </a:cxn>
                <a:cxn ang="0">
                  <a:pos x="92" y="16"/>
                </a:cxn>
                <a:cxn ang="0">
                  <a:pos x="88" y="18"/>
                </a:cxn>
                <a:cxn ang="0">
                  <a:pos x="84" y="16"/>
                </a:cxn>
                <a:cxn ang="0">
                  <a:pos x="84" y="12"/>
                </a:cxn>
                <a:cxn ang="0">
                  <a:pos x="76" y="14"/>
                </a:cxn>
                <a:cxn ang="0">
                  <a:pos x="68" y="6"/>
                </a:cxn>
                <a:cxn ang="0">
                  <a:pos x="68" y="4"/>
                </a:cxn>
                <a:cxn ang="0">
                  <a:pos x="64" y="2"/>
                </a:cxn>
                <a:cxn ang="0">
                  <a:pos x="54" y="0"/>
                </a:cxn>
                <a:cxn ang="0">
                  <a:pos x="54" y="2"/>
                </a:cxn>
                <a:cxn ang="0">
                  <a:pos x="50" y="2"/>
                </a:cxn>
                <a:cxn ang="0">
                  <a:pos x="42" y="2"/>
                </a:cxn>
                <a:cxn ang="0">
                  <a:pos x="44" y="20"/>
                </a:cxn>
                <a:cxn ang="0">
                  <a:pos x="36" y="24"/>
                </a:cxn>
                <a:cxn ang="0">
                  <a:pos x="28" y="22"/>
                </a:cxn>
                <a:cxn ang="0">
                  <a:pos x="28" y="22"/>
                </a:cxn>
                <a:cxn ang="0">
                  <a:pos x="20" y="14"/>
                </a:cxn>
                <a:cxn ang="0">
                  <a:pos x="20" y="12"/>
                </a:cxn>
                <a:cxn ang="0">
                  <a:pos x="22" y="12"/>
                </a:cxn>
                <a:cxn ang="0">
                  <a:pos x="22" y="8"/>
                </a:cxn>
                <a:cxn ang="0">
                  <a:pos x="18" y="10"/>
                </a:cxn>
                <a:cxn ang="0">
                  <a:pos x="12" y="12"/>
                </a:cxn>
                <a:cxn ang="0">
                  <a:pos x="10" y="18"/>
                </a:cxn>
                <a:cxn ang="0">
                  <a:pos x="0" y="42"/>
                </a:cxn>
              </a:cxnLst>
              <a:rect l="0" t="0" r="r" b="b"/>
              <a:pathLst>
                <a:path w="104" h="60">
                  <a:moveTo>
                    <a:pt x="0" y="42"/>
                  </a:moveTo>
                  <a:lnTo>
                    <a:pt x="0" y="42"/>
                  </a:lnTo>
                  <a:lnTo>
                    <a:pt x="6" y="40"/>
                  </a:lnTo>
                  <a:lnTo>
                    <a:pt x="12" y="36"/>
                  </a:lnTo>
                  <a:lnTo>
                    <a:pt x="12" y="36"/>
                  </a:lnTo>
                  <a:lnTo>
                    <a:pt x="18" y="38"/>
                  </a:lnTo>
                  <a:lnTo>
                    <a:pt x="26" y="40"/>
                  </a:lnTo>
                  <a:lnTo>
                    <a:pt x="26" y="40"/>
                  </a:lnTo>
                  <a:lnTo>
                    <a:pt x="38" y="44"/>
                  </a:lnTo>
                  <a:lnTo>
                    <a:pt x="38" y="44"/>
                  </a:lnTo>
                  <a:lnTo>
                    <a:pt x="42" y="46"/>
                  </a:lnTo>
                  <a:lnTo>
                    <a:pt x="46" y="46"/>
                  </a:lnTo>
                  <a:lnTo>
                    <a:pt x="46" y="46"/>
                  </a:lnTo>
                  <a:lnTo>
                    <a:pt x="52" y="46"/>
                  </a:lnTo>
                  <a:lnTo>
                    <a:pt x="52" y="46"/>
                  </a:lnTo>
                  <a:lnTo>
                    <a:pt x="54" y="48"/>
                  </a:lnTo>
                  <a:lnTo>
                    <a:pt x="56" y="52"/>
                  </a:lnTo>
                  <a:lnTo>
                    <a:pt x="56" y="52"/>
                  </a:lnTo>
                  <a:lnTo>
                    <a:pt x="60" y="52"/>
                  </a:lnTo>
                  <a:lnTo>
                    <a:pt x="64" y="54"/>
                  </a:lnTo>
                  <a:lnTo>
                    <a:pt x="64" y="54"/>
                  </a:lnTo>
                  <a:lnTo>
                    <a:pt x="70" y="58"/>
                  </a:lnTo>
                  <a:lnTo>
                    <a:pt x="70" y="58"/>
                  </a:lnTo>
                  <a:lnTo>
                    <a:pt x="76" y="60"/>
                  </a:lnTo>
                  <a:lnTo>
                    <a:pt x="76" y="60"/>
                  </a:lnTo>
                  <a:lnTo>
                    <a:pt x="80" y="56"/>
                  </a:lnTo>
                  <a:lnTo>
                    <a:pt x="82" y="54"/>
                  </a:lnTo>
                  <a:lnTo>
                    <a:pt x="86" y="54"/>
                  </a:lnTo>
                  <a:lnTo>
                    <a:pt x="86" y="54"/>
                  </a:lnTo>
                  <a:lnTo>
                    <a:pt x="90" y="56"/>
                  </a:lnTo>
                  <a:lnTo>
                    <a:pt x="92" y="50"/>
                  </a:lnTo>
                  <a:lnTo>
                    <a:pt x="92" y="50"/>
                  </a:lnTo>
                  <a:lnTo>
                    <a:pt x="92" y="44"/>
                  </a:lnTo>
                  <a:lnTo>
                    <a:pt x="94" y="42"/>
                  </a:lnTo>
                  <a:lnTo>
                    <a:pt x="94" y="42"/>
                  </a:lnTo>
                  <a:lnTo>
                    <a:pt x="98" y="44"/>
                  </a:lnTo>
                  <a:lnTo>
                    <a:pt x="102" y="44"/>
                  </a:lnTo>
                  <a:lnTo>
                    <a:pt x="104" y="42"/>
                  </a:lnTo>
                  <a:lnTo>
                    <a:pt x="102" y="36"/>
                  </a:lnTo>
                  <a:lnTo>
                    <a:pt x="102" y="36"/>
                  </a:lnTo>
                  <a:lnTo>
                    <a:pt x="98" y="30"/>
                  </a:lnTo>
                  <a:lnTo>
                    <a:pt x="98" y="30"/>
                  </a:lnTo>
                  <a:lnTo>
                    <a:pt x="96" y="28"/>
                  </a:lnTo>
                  <a:lnTo>
                    <a:pt x="94" y="28"/>
                  </a:lnTo>
                  <a:lnTo>
                    <a:pt x="94" y="28"/>
                  </a:lnTo>
                  <a:lnTo>
                    <a:pt x="92" y="26"/>
                  </a:lnTo>
                  <a:lnTo>
                    <a:pt x="92" y="26"/>
                  </a:lnTo>
                  <a:lnTo>
                    <a:pt x="92" y="16"/>
                  </a:lnTo>
                  <a:lnTo>
                    <a:pt x="92" y="16"/>
                  </a:lnTo>
                  <a:lnTo>
                    <a:pt x="88" y="18"/>
                  </a:lnTo>
                  <a:lnTo>
                    <a:pt x="86" y="18"/>
                  </a:lnTo>
                  <a:lnTo>
                    <a:pt x="84" y="16"/>
                  </a:lnTo>
                  <a:lnTo>
                    <a:pt x="84" y="16"/>
                  </a:lnTo>
                  <a:lnTo>
                    <a:pt x="84" y="12"/>
                  </a:lnTo>
                  <a:lnTo>
                    <a:pt x="82" y="12"/>
                  </a:lnTo>
                  <a:lnTo>
                    <a:pt x="76" y="14"/>
                  </a:lnTo>
                  <a:lnTo>
                    <a:pt x="72" y="6"/>
                  </a:lnTo>
                  <a:lnTo>
                    <a:pt x="68" y="6"/>
                  </a:lnTo>
                  <a:lnTo>
                    <a:pt x="68" y="6"/>
                  </a:lnTo>
                  <a:lnTo>
                    <a:pt x="68" y="4"/>
                  </a:lnTo>
                  <a:lnTo>
                    <a:pt x="64" y="2"/>
                  </a:lnTo>
                  <a:lnTo>
                    <a:pt x="64" y="2"/>
                  </a:lnTo>
                  <a:lnTo>
                    <a:pt x="58" y="0"/>
                  </a:lnTo>
                  <a:lnTo>
                    <a:pt x="54" y="0"/>
                  </a:lnTo>
                  <a:lnTo>
                    <a:pt x="54" y="0"/>
                  </a:lnTo>
                  <a:lnTo>
                    <a:pt x="54" y="2"/>
                  </a:lnTo>
                  <a:lnTo>
                    <a:pt x="50" y="2"/>
                  </a:lnTo>
                  <a:lnTo>
                    <a:pt x="50" y="2"/>
                  </a:lnTo>
                  <a:lnTo>
                    <a:pt x="42" y="2"/>
                  </a:lnTo>
                  <a:lnTo>
                    <a:pt x="42" y="2"/>
                  </a:lnTo>
                  <a:lnTo>
                    <a:pt x="42" y="10"/>
                  </a:lnTo>
                  <a:lnTo>
                    <a:pt x="44" y="20"/>
                  </a:lnTo>
                  <a:lnTo>
                    <a:pt x="44" y="20"/>
                  </a:lnTo>
                  <a:lnTo>
                    <a:pt x="36" y="24"/>
                  </a:lnTo>
                  <a:lnTo>
                    <a:pt x="32" y="24"/>
                  </a:lnTo>
                  <a:lnTo>
                    <a:pt x="28" y="22"/>
                  </a:lnTo>
                  <a:lnTo>
                    <a:pt x="28" y="22"/>
                  </a:lnTo>
                  <a:lnTo>
                    <a:pt x="28" y="22"/>
                  </a:lnTo>
                  <a:lnTo>
                    <a:pt x="28" y="22"/>
                  </a:lnTo>
                  <a:lnTo>
                    <a:pt x="20" y="14"/>
                  </a:lnTo>
                  <a:lnTo>
                    <a:pt x="20" y="14"/>
                  </a:lnTo>
                  <a:lnTo>
                    <a:pt x="20" y="12"/>
                  </a:lnTo>
                  <a:lnTo>
                    <a:pt x="20" y="12"/>
                  </a:lnTo>
                  <a:lnTo>
                    <a:pt x="22" y="12"/>
                  </a:lnTo>
                  <a:lnTo>
                    <a:pt x="22" y="12"/>
                  </a:lnTo>
                  <a:lnTo>
                    <a:pt x="22" y="8"/>
                  </a:lnTo>
                  <a:lnTo>
                    <a:pt x="20" y="8"/>
                  </a:lnTo>
                  <a:lnTo>
                    <a:pt x="18" y="10"/>
                  </a:lnTo>
                  <a:lnTo>
                    <a:pt x="18" y="10"/>
                  </a:lnTo>
                  <a:lnTo>
                    <a:pt x="12" y="12"/>
                  </a:lnTo>
                  <a:lnTo>
                    <a:pt x="10" y="18"/>
                  </a:lnTo>
                  <a:lnTo>
                    <a:pt x="10" y="18"/>
                  </a:lnTo>
                  <a:lnTo>
                    <a:pt x="2" y="30"/>
                  </a:lnTo>
                  <a:lnTo>
                    <a:pt x="0" y="42"/>
                  </a:lnTo>
                  <a:lnTo>
                    <a:pt x="0" y="4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3" name="Freeform 150"/>
            <p:cNvSpPr>
              <a:spLocks noChangeAspect="1"/>
            </p:cNvSpPr>
            <p:nvPr/>
          </p:nvSpPr>
          <p:spPr bwMode="gray">
            <a:xfrm>
              <a:off x="6574063" y="3809102"/>
              <a:ext cx="156411" cy="233586"/>
            </a:xfrm>
            <a:custGeom>
              <a:avLst/>
              <a:gdLst/>
              <a:ahLst/>
              <a:cxnLst>
                <a:cxn ang="0">
                  <a:pos x="2" y="36"/>
                </a:cxn>
                <a:cxn ang="0">
                  <a:pos x="0" y="44"/>
                </a:cxn>
                <a:cxn ang="0">
                  <a:pos x="4" y="48"/>
                </a:cxn>
                <a:cxn ang="0">
                  <a:pos x="10" y="52"/>
                </a:cxn>
                <a:cxn ang="0">
                  <a:pos x="8" y="62"/>
                </a:cxn>
                <a:cxn ang="0">
                  <a:pos x="10" y="68"/>
                </a:cxn>
                <a:cxn ang="0">
                  <a:pos x="10" y="78"/>
                </a:cxn>
                <a:cxn ang="0">
                  <a:pos x="18" y="78"/>
                </a:cxn>
                <a:cxn ang="0">
                  <a:pos x="28" y="68"/>
                </a:cxn>
                <a:cxn ang="0">
                  <a:pos x="32" y="72"/>
                </a:cxn>
                <a:cxn ang="0">
                  <a:pos x="40" y="78"/>
                </a:cxn>
                <a:cxn ang="0">
                  <a:pos x="52" y="86"/>
                </a:cxn>
                <a:cxn ang="0">
                  <a:pos x="52" y="100"/>
                </a:cxn>
                <a:cxn ang="0">
                  <a:pos x="60" y="108"/>
                </a:cxn>
                <a:cxn ang="0">
                  <a:pos x="62" y="118"/>
                </a:cxn>
                <a:cxn ang="0">
                  <a:pos x="62" y="126"/>
                </a:cxn>
                <a:cxn ang="0">
                  <a:pos x="56" y="134"/>
                </a:cxn>
                <a:cxn ang="0">
                  <a:pos x="66" y="138"/>
                </a:cxn>
                <a:cxn ang="0">
                  <a:pos x="74" y="140"/>
                </a:cxn>
                <a:cxn ang="0">
                  <a:pos x="78" y="128"/>
                </a:cxn>
                <a:cxn ang="0">
                  <a:pos x="86" y="134"/>
                </a:cxn>
                <a:cxn ang="0">
                  <a:pos x="92" y="128"/>
                </a:cxn>
                <a:cxn ang="0">
                  <a:pos x="90" y="112"/>
                </a:cxn>
                <a:cxn ang="0">
                  <a:pos x="82" y="102"/>
                </a:cxn>
                <a:cxn ang="0">
                  <a:pos x="74" y="92"/>
                </a:cxn>
                <a:cxn ang="0">
                  <a:pos x="68" y="82"/>
                </a:cxn>
                <a:cxn ang="0">
                  <a:pos x="58" y="70"/>
                </a:cxn>
                <a:cxn ang="0">
                  <a:pos x="48" y="56"/>
                </a:cxn>
                <a:cxn ang="0">
                  <a:pos x="52" y="46"/>
                </a:cxn>
                <a:cxn ang="0">
                  <a:pos x="62" y="40"/>
                </a:cxn>
                <a:cxn ang="0">
                  <a:pos x="56" y="28"/>
                </a:cxn>
                <a:cxn ang="0">
                  <a:pos x="46" y="30"/>
                </a:cxn>
                <a:cxn ang="0">
                  <a:pos x="40" y="24"/>
                </a:cxn>
                <a:cxn ang="0">
                  <a:pos x="30" y="16"/>
                </a:cxn>
                <a:cxn ang="0">
                  <a:pos x="24" y="2"/>
                </a:cxn>
                <a:cxn ang="0">
                  <a:pos x="16" y="6"/>
                </a:cxn>
                <a:cxn ang="0">
                  <a:pos x="20" y="24"/>
                </a:cxn>
                <a:cxn ang="0">
                  <a:pos x="16" y="30"/>
                </a:cxn>
                <a:cxn ang="0">
                  <a:pos x="8" y="30"/>
                </a:cxn>
              </a:cxnLst>
              <a:rect l="0" t="0" r="r" b="b"/>
              <a:pathLst>
                <a:path w="92" h="142">
                  <a:moveTo>
                    <a:pt x="8" y="30"/>
                  </a:moveTo>
                  <a:lnTo>
                    <a:pt x="2" y="36"/>
                  </a:lnTo>
                  <a:lnTo>
                    <a:pt x="2" y="42"/>
                  </a:lnTo>
                  <a:lnTo>
                    <a:pt x="0" y="44"/>
                  </a:lnTo>
                  <a:lnTo>
                    <a:pt x="0" y="48"/>
                  </a:lnTo>
                  <a:lnTo>
                    <a:pt x="4" y="48"/>
                  </a:lnTo>
                  <a:lnTo>
                    <a:pt x="8" y="48"/>
                  </a:lnTo>
                  <a:lnTo>
                    <a:pt x="10" y="52"/>
                  </a:lnTo>
                  <a:lnTo>
                    <a:pt x="6" y="60"/>
                  </a:lnTo>
                  <a:lnTo>
                    <a:pt x="8" y="62"/>
                  </a:lnTo>
                  <a:lnTo>
                    <a:pt x="8" y="66"/>
                  </a:lnTo>
                  <a:lnTo>
                    <a:pt x="10" y="68"/>
                  </a:lnTo>
                  <a:lnTo>
                    <a:pt x="12" y="74"/>
                  </a:lnTo>
                  <a:lnTo>
                    <a:pt x="10" y="78"/>
                  </a:lnTo>
                  <a:lnTo>
                    <a:pt x="14" y="80"/>
                  </a:lnTo>
                  <a:lnTo>
                    <a:pt x="18" y="78"/>
                  </a:lnTo>
                  <a:lnTo>
                    <a:pt x="20" y="74"/>
                  </a:lnTo>
                  <a:lnTo>
                    <a:pt x="28" y="68"/>
                  </a:lnTo>
                  <a:lnTo>
                    <a:pt x="32" y="70"/>
                  </a:lnTo>
                  <a:lnTo>
                    <a:pt x="32" y="72"/>
                  </a:lnTo>
                  <a:lnTo>
                    <a:pt x="34" y="74"/>
                  </a:lnTo>
                  <a:lnTo>
                    <a:pt x="40" y="78"/>
                  </a:lnTo>
                  <a:lnTo>
                    <a:pt x="46" y="78"/>
                  </a:lnTo>
                  <a:lnTo>
                    <a:pt x="52" y="86"/>
                  </a:lnTo>
                  <a:lnTo>
                    <a:pt x="52" y="92"/>
                  </a:lnTo>
                  <a:lnTo>
                    <a:pt x="52" y="100"/>
                  </a:lnTo>
                  <a:lnTo>
                    <a:pt x="56" y="104"/>
                  </a:lnTo>
                  <a:lnTo>
                    <a:pt x="60" y="108"/>
                  </a:lnTo>
                  <a:lnTo>
                    <a:pt x="62" y="112"/>
                  </a:lnTo>
                  <a:lnTo>
                    <a:pt x="62" y="118"/>
                  </a:lnTo>
                  <a:lnTo>
                    <a:pt x="64" y="120"/>
                  </a:lnTo>
                  <a:lnTo>
                    <a:pt x="62" y="126"/>
                  </a:lnTo>
                  <a:lnTo>
                    <a:pt x="60" y="130"/>
                  </a:lnTo>
                  <a:lnTo>
                    <a:pt x="56" y="134"/>
                  </a:lnTo>
                  <a:lnTo>
                    <a:pt x="64" y="136"/>
                  </a:lnTo>
                  <a:lnTo>
                    <a:pt x="66" y="138"/>
                  </a:lnTo>
                  <a:lnTo>
                    <a:pt x="70" y="142"/>
                  </a:lnTo>
                  <a:lnTo>
                    <a:pt x="74" y="140"/>
                  </a:lnTo>
                  <a:lnTo>
                    <a:pt x="74" y="134"/>
                  </a:lnTo>
                  <a:lnTo>
                    <a:pt x="78" y="128"/>
                  </a:lnTo>
                  <a:lnTo>
                    <a:pt x="82" y="130"/>
                  </a:lnTo>
                  <a:lnTo>
                    <a:pt x="86" y="134"/>
                  </a:lnTo>
                  <a:lnTo>
                    <a:pt x="92" y="132"/>
                  </a:lnTo>
                  <a:lnTo>
                    <a:pt x="92" y="128"/>
                  </a:lnTo>
                  <a:lnTo>
                    <a:pt x="92" y="118"/>
                  </a:lnTo>
                  <a:lnTo>
                    <a:pt x="90" y="112"/>
                  </a:lnTo>
                  <a:lnTo>
                    <a:pt x="86" y="110"/>
                  </a:lnTo>
                  <a:lnTo>
                    <a:pt x="82" y="102"/>
                  </a:lnTo>
                  <a:lnTo>
                    <a:pt x="80" y="96"/>
                  </a:lnTo>
                  <a:lnTo>
                    <a:pt x="74" y="92"/>
                  </a:lnTo>
                  <a:lnTo>
                    <a:pt x="70" y="88"/>
                  </a:lnTo>
                  <a:lnTo>
                    <a:pt x="68" y="82"/>
                  </a:lnTo>
                  <a:lnTo>
                    <a:pt x="64" y="78"/>
                  </a:lnTo>
                  <a:lnTo>
                    <a:pt x="58" y="70"/>
                  </a:lnTo>
                  <a:lnTo>
                    <a:pt x="56" y="60"/>
                  </a:lnTo>
                  <a:lnTo>
                    <a:pt x="48" y="56"/>
                  </a:lnTo>
                  <a:lnTo>
                    <a:pt x="48" y="48"/>
                  </a:lnTo>
                  <a:lnTo>
                    <a:pt x="52" y="46"/>
                  </a:lnTo>
                  <a:lnTo>
                    <a:pt x="58" y="42"/>
                  </a:lnTo>
                  <a:lnTo>
                    <a:pt x="62" y="40"/>
                  </a:lnTo>
                  <a:lnTo>
                    <a:pt x="62" y="32"/>
                  </a:lnTo>
                  <a:lnTo>
                    <a:pt x="56"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16" y="30"/>
                  </a:lnTo>
                  <a:lnTo>
                    <a:pt x="8" y="30"/>
                  </a:lnTo>
                  <a:lnTo>
                    <a:pt x="8" y="3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4" name="Freeform 151"/>
            <p:cNvSpPr>
              <a:spLocks noChangeAspect="1"/>
            </p:cNvSpPr>
            <p:nvPr/>
          </p:nvSpPr>
          <p:spPr bwMode="gray">
            <a:xfrm>
              <a:off x="5863415" y="3197173"/>
              <a:ext cx="251617" cy="115148"/>
            </a:xfrm>
            <a:custGeom>
              <a:avLst/>
              <a:gdLst/>
              <a:ahLst/>
              <a:cxnLst>
                <a:cxn ang="0">
                  <a:pos x="54" y="64"/>
                </a:cxn>
                <a:cxn ang="0">
                  <a:pos x="60" y="62"/>
                </a:cxn>
                <a:cxn ang="0">
                  <a:pos x="68" y="52"/>
                </a:cxn>
                <a:cxn ang="0">
                  <a:pos x="74" y="54"/>
                </a:cxn>
                <a:cxn ang="0">
                  <a:pos x="78" y="58"/>
                </a:cxn>
                <a:cxn ang="0">
                  <a:pos x="84" y="56"/>
                </a:cxn>
                <a:cxn ang="0">
                  <a:pos x="92" y="54"/>
                </a:cxn>
                <a:cxn ang="0">
                  <a:pos x="96" y="50"/>
                </a:cxn>
                <a:cxn ang="0">
                  <a:pos x="98" y="40"/>
                </a:cxn>
                <a:cxn ang="0">
                  <a:pos x="104" y="36"/>
                </a:cxn>
                <a:cxn ang="0">
                  <a:pos x="120" y="34"/>
                </a:cxn>
                <a:cxn ang="0">
                  <a:pos x="120" y="30"/>
                </a:cxn>
                <a:cxn ang="0">
                  <a:pos x="126" y="24"/>
                </a:cxn>
                <a:cxn ang="0">
                  <a:pos x="136" y="18"/>
                </a:cxn>
                <a:cxn ang="0">
                  <a:pos x="148" y="12"/>
                </a:cxn>
                <a:cxn ang="0">
                  <a:pos x="136" y="8"/>
                </a:cxn>
                <a:cxn ang="0">
                  <a:pos x="130" y="2"/>
                </a:cxn>
                <a:cxn ang="0">
                  <a:pos x="118" y="0"/>
                </a:cxn>
                <a:cxn ang="0">
                  <a:pos x="96" y="0"/>
                </a:cxn>
                <a:cxn ang="0">
                  <a:pos x="82" y="8"/>
                </a:cxn>
                <a:cxn ang="0">
                  <a:pos x="78" y="6"/>
                </a:cxn>
                <a:cxn ang="0">
                  <a:pos x="76" y="4"/>
                </a:cxn>
                <a:cxn ang="0">
                  <a:pos x="70" y="0"/>
                </a:cxn>
                <a:cxn ang="0">
                  <a:pos x="64" y="4"/>
                </a:cxn>
                <a:cxn ang="0">
                  <a:pos x="58" y="6"/>
                </a:cxn>
                <a:cxn ang="0">
                  <a:pos x="54" y="10"/>
                </a:cxn>
                <a:cxn ang="0">
                  <a:pos x="50" y="14"/>
                </a:cxn>
                <a:cxn ang="0">
                  <a:pos x="38" y="6"/>
                </a:cxn>
                <a:cxn ang="0">
                  <a:pos x="24" y="6"/>
                </a:cxn>
                <a:cxn ang="0">
                  <a:pos x="18" y="14"/>
                </a:cxn>
                <a:cxn ang="0">
                  <a:pos x="22" y="12"/>
                </a:cxn>
                <a:cxn ang="0">
                  <a:pos x="24" y="18"/>
                </a:cxn>
                <a:cxn ang="0">
                  <a:pos x="18" y="24"/>
                </a:cxn>
                <a:cxn ang="0">
                  <a:pos x="14" y="26"/>
                </a:cxn>
                <a:cxn ang="0">
                  <a:pos x="18" y="30"/>
                </a:cxn>
                <a:cxn ang="0">
                  <a:pos x="22" y="30"/>
                </a:cxn>
                <a:cxn ang="0">
                  <a:pos x="28" y="32"/>
                </a:cxn>
                <a:cxn ang="0">
                  <a:pos x="30" y="36"/>
                </a:cxn>
                <a:cxn ang="0">
                  <a:pos x="40" y="38"/>
                </a:cxn>
                <a:cxn ang="0">
                  <a:pos x="46" y="40"/>
                </a:cxn>
                <a:cxn ang="0">
                  <a:pos x="44" y="42"/>
                </a:cxn>
                <a:cxn ang="0">
                  <a:pos x="32" y="54"/>
                </a:cxn>
                <a:cxn ang="0">
                  <a:pos x="26" y="54"/>
                </a:cxn>
                <a:cxn ang="0">
                  <a:pos x="18" y="58"/>
                </a:cxn>
                <a:cxn ang="0">
                  <a:pos x="16" y="56"/>
                </a:cxn>
                <a:cxn ang="0">
                  <a:pos x="8" y="56"/>
                </a:cxn>
                <a:cxn ang="0">
                  <a:pos x="14" y="64"/>
                </a:cxn>
                <a:cxn ang="0">
                  <a:pos x="16" y="68"/>
                </a:cxn>
                <a:cxn ang="0">
                  <a:pos x="22" y="66"/>
                </a:cxn>
                <a:cxn ang="0">
                  <a:pos x="26" y="68"/>
                </a:cxn>
                <a:cxn ang="0">
                  <a:pos x="32" y="70"/>
                </a:cxn>
                <a:cxn ang="0">
                  <a:pos x="40" y="70"/>
                </a:cxn>
                <a:cxn ang="0">
                  <a:pos x="50" y="68"/>
                </a:cxn>
              </a:cxnLst>
              <a:rect l="0" t="0" r="r" b="b"/>
              <a:pathLst>
                <a:path w="148" h="70">
                  <a:moveTo>
                    <a:pt x="50" y="68"/>
                  </a:moveTo>
                  <a:lnTo>
                    <a:pt x="50" y="68"/>
                  </a:lnTo>
                  <a:lnTo>
                    <a:pt x="54" y="64"/>
                  </a:lnTo>
                  <a:lnTo>
                    <a:pt x="54" y="64"/>
                  </a:lnTo>
                  <a:lnTo>
                    <a:pt x="60" y="62"/>
                  </a:lnTo>
                  <a:lnTo>
                    <a:pt x="60" y="62"/>
                  </a:lnTo>
                  <a:lnTo>
                    <a:pt x="64" y="56"/>
                  </a:lnTo>
                  <a:lnTo>
                    <a:pt x="64" y="56"/>
                  </a:lnTo>
                  <a:lnTo>
                    <a:pt x="68" y="52"/>
                  </a:lnTo>
                  <a:lnTo>
                    <a:pt x="72" y="52"/>
                  </a:lnTo>
                  <a:lnTo>
                    <a:pt x="72" y="52"/>
                  </a:lnTo>
                  <a:lnTo>
                    <a:pt x="74" y="54"/>
                  </a:lnTo>
                  <a:lnTo>
                    <a:pt x="74" y="56"/>
                  </a:lnTo>
                  <a:lnTo>
                    <a:pt x="76" y="58"/>
                  </a:lnTo>
                  <a:lnTo>
                    <a:pt x="78" y="58"/>
                  </a:lnTo>
                  <a:lnTo>
                    <a:pt x="78" y="58"/>
                  </a:lnTo>
                  <a:lnTo>
                    <a:pt x="80" y="58"/>
                  </a:lnTo>
                  <a:lnTo>
                    <a:pt x="84" y="56"/>
                  </a:lnTo>
                  <a:lnTo>
                    <a:pt x="84" y="56"/>
                  </a:lnTo>
                  <a:lnTo>
                    <a:pt x="90" y="54"/>
                  </a:lnTo>
                  <a:lnTo>
                    <a:pt x="92" y="54"/>
                  </a:lnTo>
                  <a:lnTo>
                    <a:pt x="96" y="52"/>
                  </a:lnTo>
                  <a:lnTo>
                    <a:pt x="96" y="52"/>
                  </a:lnTo>
                  <a:lnTo>
                    <a:pt x="96" y="50"/>
                  </a:lnTo>
                  <a:lnTo>
                    <a:pt x="98" y="46"/>
                  </a:lnTo>
                  <a:lnTo>
                    <a:pt x="98" y="44"/>
                  </a:lnTo>
                  <a:lnTo>
                    <a:pt x="98" y="40"/>
                  </a:lnTo>
                  <a:lnTo>
                    <a:pt x="98" y="40"/>
                  </a:lnTo>
                  <a:lnTo>
                    <a:pt x="100" y="38"/>
                  </a:lnTo>
                  <a:lnTo>
                    <a:pt x="104" y="36"/>
                  </a:lnTo>
                  <a:lnTo>
                    <a:pt x="112" y="34"/>
                  </a:lnTo>
                  <a:lnTo>
                    <a:pt x="118" y="34"/>
                  </a:lnTo>
                  <a:lnTo>
                    <a:pt x="120" y="34"/>
                  </a:lnTo>
                  <a:lnTo>
                    <a:pt x="120" y="32"/>
                  </a:lnTo>
                  <a:lnTo>
                    <a:pt x="120" y="32"/>
                  </a:lnTo>
                  <a:lnTo>
                    <a:pt x="120" y="30"/>
                  </a:lnTo>
                  <a:lnTo>
                    <a:pt x="122" y="26"/>
                  </a:lnTo>
                  <a:lnTo>
                    <a:pt x="122" y="26"/>
                  </a:lnTo>
                  <a:lnTo>
                    <a:pt x="126" y="24"/>
                  </a:lnTo>
                  <a:lnTo>
                    <a:pt x="130" y="24"/>
                  </a:lnTo>
                  <a:lnTo>
                    <a:pt x="130" y="24"/>
                  </a:lnTo>
                  <a:lnTo>
                    <a:pt x="136" y="18"/>
                  </a:lnTo>
                  <a:lnTo>
                    <a:pt x="136" y="18"/>
                  </a:lnTo>
                  <a:lnTo>
                    <a:pt x="142" y="14"/>
                  </a:lnTo>
                  <a:lnTo>
                    <a:pt x="148" y="12"/>
                  </a:lnTo>
                  <a:lnTo>
                    <a:pt x="140" y="8"/>
                  </a:lnTo>
                  <a:lnTo>
                    <a:pt x="140" y="8"/>
                  </a:lnTo>
                  <a:lnTo>
                    <a:pt x="136" y="8"/>
                  </a:lnTo>
                  <a:lnTo>
                    <a:pt x="132" y="6"/>
                  </a:lnTo>
                  <a:lnTo>
                    <a:pt x="132" y="6"/>
                  </a:lnTo>
                  <a:lnTo>
                    <a:pt x="130" y="2"/>
                  </a:lnTo>
                  <a:lnTo>
                    <a:pt x="124" y="0"/>
                  </a:lnTo>
                  <a:lnTo>
                    <a:pt x="124" y="0"/>
                  </a:lnTo>
                  <a:lnTo>
                    <a:pt x="118" y="0"/>
                  </a:lnTo>
                  <a:lnTo>
                    <a:pt x="112" y="0"/>
                  </a:lnTo>
                  <a:lnTo>
                    <a:pt x="112" y="0"/>
                  </a:lnTo>
                  <a:lnTo>
                    <a:pt x="96" y="0"/>
                  </a:lnTo>
                  <a:lnTo>
                    <a:pt x="96" y="0"/>
                  </a:lnTo>
                  <a:lnTo>
                    <a:pt x="90" y="4"/>
                  </a:lnTo>
                  <a:lnTo>
                    <a:pt x="82" y="8"/>
                  </a:lnTo>
                  <a:lnTo>
                    <a:pt x="82" y="8"/>
                  </a:lnTo>
                  <a:lnTo>
                    <a:pt x="80" y="8"/>
                  </a:lnTo>
                  <a:lnTo>
                    <a:pt x="78" y="6"/>
                  </a:lnTo>
                  <a:lnTo>
                    <a:pt x="78" y="6"/>
                  </a:lnTo>
                  <a:lnTo>
                    <a:pt x="76" y="4"/>
                  </a:lnTo>
                  <a:lnTo>
                    <a:pt x="76" y="4"/>
                  </a:lnTo>
                  <a:lnTo>
                    <a:pt x="72" y="4"/>
                  </a:lnTo>
                  <a:lnTo>
                    <a:pt x="72" y="2"/>
                  </a:lnTo>
                  <a:lnTo>
                    <a:pt x="70" y="0"/>
                  </a:lnTo>
                  <a:lnTo>
                    <a:pt x="68" y="0"/>
                  </a:lnTo>
                  <a:lnTo>
                    <a:pt x="68" y="0"/>
                  </a:lnTo>
                  <a:lnTo>
                    <a:pt x="64" y="4"/>
                  </a:lnTo>
                  <a:lnTo>
                    <a:pt x="62" y="4"/>
                  </a:lnTo>
                  <a:lnTo>
                    <a:pt x="62" y="4"/>
                  </a:lnTo>
                  <a:lnTo>
                    <a:pt x="58" y="6"/>
                  </a:lnTo>
                  <a:lnTo>
                    <a:pt x="56" y="8"/>
                  </a:lnTo>
                  <a:lnTo>
                    <a:pt x="56" y="8"/>
                  </a:lnTo>
                  <a:lnTo>
                    <a:pt x="54" y="10"/>
                  </a:lnTo>
                  <a:lnTo>
                    <a:pt x="52" y="14"/>
                  </a:lnTo>
                  <a:lnTo>
                    <a:pt x="52" y="14"/>
                  </a:lnTo>
                  <a:lnTo>
                    <a:pt x="50" y="14"/>
                  </a:lnTo>
                  <a:lnTo>
                    <a:pt x="48" y="10"/>
                  </a:lnTo>
                  <a:lnTo>
                    <a:pt x="42" y="6"/>
                  </a:lnTo>
                  <a:lnTo>
                    <a:pt x="38" y="6"/>
                  </a:lnTo>
                  <a:lnTo>
                    <a:pt x="28" y="6"/>
                  </a:lnTo>
                  <a:lnTo>
                    <a:pt x="28" y="6"/>
                  </a:lnTo>
                  <a:lnTo>
                    <a:pt x="24" y="6"/>
                  </a:lnTo>
                  <a:lnTo>
                    <a:pt x="22" y="10"/>
                  </a:lnTo>
                  <a:lnTo>
                    <a:pt x="18" y="14"/>
                  </a:lnTo>
                  <a:lnTo>
                    <a:pt x="18" y="14"/>
                  </a:lnTo>
                  <a:lnTo>
                    <a:pt x="22" y="12"/>
                  </a:lnTo>
                  <a:lnTo>
                    <a:pt x="22" y="12"/>
                  </a:lnTo>
                  <a:lnTo>
                    <a:pt x="22" y="12"/>
                  </a:lnTo>
                  <a:lnTo>
                    <a:pt x="24" y="14"/>
                  </a:lnTo>
                  <a:lnTo>
                    <a:pt x="26" y="16"/>
                  </a:lnTo>
                  <a:lnTo>
                    <a:pt x="24" y="18"/>
                  </a:lnTo>
                  <a:lnTo>
                    <a:pt x="24" y="18"/>
                  </a:lnTo>
                  <a:lnTo>
                    <a:pt x="18" y="24"/>
                  </a:lnTo>
                  <a:lnTo>
                    <a:pt x="18" y="24"/>
                  </a:lnTo>
                  <a:lnTo>
                    <a:pt x="14" y="26"/>
                  </a:lnTo>
                  <a:lnTo>
                    <a:pt x="12" y="26"/>
                  </a:lnTo>
                  <a:lnTo>
                    <a:pt x="14" y="26"/>
                  </a:lnTo>
                  <a:lnTo>
                    <a:pt x="14" y="26"/>
                  </a:lnTo>
                  <a:lnTo>
                    <a:pt x="16" y="28"/>
                  </a:lnTo>
                  <a:lnTo>
                    <a:pt x="18" y="30"/>
                  </a:lnTo>
                  <a:lnTo>
                    <a:pt x="20" y="32"/>
                  </a:lnTo>
                  <a:lnTo>
                    <a:pt x="22" y="30"/>
                  </a:lnTo>
                  <a:lnTo>
                    <a:pt x="22" y="30"/>
                  </a:lnTo>
                  <a:lnTo>
                    <a:pt x="26" y="30"/>
                  </a:lnTo>
                  <a:lnTo>
                    <a:pt x="28" y="30"/>
                  </a:lnTo>
                  <a:lnTo>
                    <a:pt x="28" y="32"/>
                  </a:lnTo>
                  <a:lnTo>
                    <a:pt x="28" y="32"/>
                  </a:lnTo>
                  <a:lnTo>
                    <a:pt x="26" y="34"/>
                  </a:lnTo>
                  <a:lnTo>
                    <a:pt x="30" y="36"/>
                  </a:lnTo>
                  <a:lnTo>
                    <a:pt x="30" y="36"/>
                  </a:lnTo>
                  <a:lnTo>
                    <a:pt x="34" y="36"/>
                  </a:lnTo>
                  <a:lnTo>
                    <a:pt x="40" y="38"/>
                  </a:lnTo>
                  <a:lnTo>
                    <a:pt x="40" y="38"/>
                  </a:lnTo>
                  <a:lnTo>
                    <a:pt x="44" y="40"/>
                  </a:lnTo>
                  <a:lnTo>
                    <a:pt x="46" y="40"/>
                  </a:lnTo>
                  <a:lnTo>
                    <a:pt x="46" y="40"/>
                  </a:lnTo>
                  <a:lnTo>
                    <a:pt x="44" y="42"/>
                  </a:lnTo>
                  <a:lnTo>
                    <a:pt x="44" y="42"/>
                  </a:lnTo>
                  <a:lnTo>
                    <a:pt x="38" y="50"/>
                  </a:lnTo>
                  <a:lnTo>
                    <a:pt x="36" y="52"/>
                  </a:lnTo>
                  <a:lnTo>
                    <a:pt x="32" y="54"/>
                  </a:lnTo>
                  <a:lnTo>
                    <a:pt x="32" y="54"/>
                  </a:lnTo>
                  <a:lnTo>
                    <a:pt x="26" y="54"/>
                  </a:lnTo>
                  <a:lnTo>
                    <a:pt x="26" y="54"/>
                  </a:lnTo>
                  <a:lnTo>
                    <a:pt x="22" y="58"/>
                  </a:lnTo>
                  <a:lnTo>
                    <a:pt x="20" y="58"/>
                  </a:lnTo>
                  <a:lnTo>
                    <a:pt x="18" y="58"/>
                  </a:lnTo>
                  <a:lnTo>
                    <a:pt x="18" y="58"/>
                  </a:lnTo>
                  <a:lnTo>
                    <a:pt x="18" y="56"/>
                  </a:lnTo>
                  <a:lnTo>
                    <a:pt x="16" y="56"/>
                  </a:lnTo>
                  <a:lnTo>
                    <a:pt x="14" y="56"/>
                  </a:lnTo>
                  <a:lnTo>
                    <a:pt x="14" y="60"/>
                  </a:lnTo>
                  <a:lnTo>
                    <a:pt x="8" y="56"/>
                  </a:lnTo>
                  <a:lnTo>
                    <a:pt x="0" y="60"/>
                  </a:lnTo>
                  <a:lnTo>
                    <a:pt x="4" y="66"/>
                  </a:lnTo>
                  <a:lnTo>
                    <a:pt x="14" y="64"/>
                  </a:lnTo>
                  <a:lnTo>
                    <a:pt x="14" y="64"/>
                  </a:lnTo>
                  <a:lnTo>
                    <a:pt x="14" y="66"/>
                  </a:lnTo>
                  <a:lnTo>
                    <a:pt x="16" y="68"/>
                  </a:lnTo>
                  <a:lnTo>
                    <a:pt x="18" y="68"/>
                  </a:lnTo>
                  <a:lnTo>
                    <a:pt x="18" y="68"/>
                  </a:lnTo>
                  <a:lnTo>
                    <a:pt x="22" y="66"/>
                  </a:lnTo>
                  <a:lnTo>
                    <a:pt x="24" y="66"/>
                  </a:lnTo>
                  <a:lnTo>
                    <a:pt x="26" y="68"/>
                  </a:lnTo>
                  <a:lnTo>
                    <a:pt x="26" y="68"/>
                  </a:lnTo>
                  <a:lnTo>
                    <a:pt x="28" y="70"/>
                  </a:lnTo>
                  <a:lnTo>
                    <a:pt x="30" y="70"/>
                  </a:lnTo>
                  <a:lnTo>
                    <a:pt x="32" y="70"/>
                  </a:lnTo>
                  <a:lnTo>
                    <a:pt x="32" y="70"/>
                  </a:lnTo>
                  <a:lnTo>
                    <a:pt x="36" y="70"/>
                  </a:lnTo>
                  <a:lnTo>
                    <a:pt x="40" y="70"/>
                  </a:lnTo>
                  <a:lnTo>
                    <a:pt x="40" y="70"/>
                  </a:lnTo>
                  <a:lnTo>
                    <a:pt x="46" y="68"/>
                  </a:lnTo>
                  <a:lnTo>
                    <a:pt x="50" y="68"/>
                  </a:lnTo>
                  <a:lnTo>
                    <a:pt x="50" y="6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5" name="Freeform 152"/>
            <p:cNvSpPr>
              <a:spLocks noChangeAspect="1"/>
            </p:cNvSpPr>
            <p:nvPr/>
          </p:nvSpPr>
          <p:spPr bwMode="gray">
            <a:xfrm>
              <a:off x="5332979" y="3575517"/>
              <a:ext cx="61204" cy="49349"/>
            </a:xfrm>
            <a:custGeom>
              <a:avLst/>
              <a:gdLst/>
              <a:ahLst/>
              <a:cxnLst>
                <a:cxn ang="0">
                  <a:pos x="30" y="2"/>
                </a:cxn>
                <a:cxn ang="0">
                  <a:pos x="30" y="2"/>
                </a:cxn>
                <a:cxn ang="0">
                  <a:pos x="22" y="0"/>
                </a:cxn>
                <a:cxn ang="0">
                  <a:pos x="22" y="0"/>
                </a:cxn>
                <a:cxn ang="0">
                  <a:pos x="20" y="2"/>
                </a:cxn>
                <a:cxn ang="0">
                  <a:pos x="18" y="4"/>
                </a:cxn>
                <a:cxn ang="0">
                  <a:pos x="12" y="10"/>
                </a:cxn>
                <a:cxn ang="0">
                  <a:pos x="12" y="10"/>
                </a:cxn>
                <a:cxn ang="0">
                  <a:pos x="6" y="18"/>
                </a:cxn>
                <a:cxn ang="0">
                  <a:pos x="0" y="20"/>
                </a:cxn>
                <a:cxn ang="0">
                  <a:pos x="18" y="24"/>
                </a:cxn>
                <a:cxn ang="0">
                  <a:pos x="20" y="30"/>
                </a:cxn>
                <a:cxn ang="0">
                  <a:pos x="32" y="30"/>
                </a:cxn>
                <a:cxn ang="0">
                  <a:pos x="32" y="30"/>
                </a:cxn>
                <a:cxn ang="0">
                  <a:pos x="28" y="22"/>
                </a:cxn>
                <a:cxn ang="0">
                  <a:pos x="26" y="22"/>
                </a:cxn>
                <a:cxn ang="0">
                  <a:pos x="26" y="22"/>
                </a:cxn>
                <a:cxn ang="0">
                  <a:pos x="26" y="14"/>
                </a:cxn>
                <a:cxn ang="0">
                  <a:pos x="28" y="10"/>
                </a:cxn>
                <a:cxn ang="0">
                  <a:pos x="28" y="10"/>
                </a:cxn>
                <a:cxn ang="0">
                  <a:pos x="34" y="12"/>
                </a:cxn>
                <a:cxn ang="0">
                  <a:pos x="34" y="12"/>
                </a:cxn>
                <a:cxn ang="0">
                  <a:pos x="34" y="12"/>
                </a:cxn>
                <a:cxn ang="0">
                  <a:pos x="34" y="12"/>
                </a:cxn>
                <a:cxn ang="0">
                  <a:pos x="36" y="12"/>
                </a:cxn>
                <a:cxn ang="0">
                  <a:pos x="36" y="10"/>
                </a:cxn>
                <a:cxn ang="0">
                  <a:pos x="36" y="10"/>
                </a:cxn>
                <a:cxn ang="0">
                  <a:pos x="32" y="10"/>
                </a:cxn>
                <a:cxn ang="0">
                  <a:pos x="32" y="10"/>
                </a:cxn>
                <a:cxn ang="0">
                  <a:pos x="30" y="6"/>
                </a:cxn>
                <a:cxn ang="0">
                  <a:pos x="30" y="2"/>
                </a:cxn>
                <a:cxn ang="0">
                  <a:pos x="30" y="2"/>
                </a:cxn>
              </a:cxnLst>
              <a:rect l="0" t="0" r="r" b="b"/>
              <a:pathLst>
                <a:path w="36" h="30">
                  <a:moveTo>
                    <a:pt x="30" y="2"/>
                  </a:moveTo>
                  <a:lnTo>
                    <a:pt x="30" y="2"/>
                  </a:lnTo>
                  <a:lnTo>
                    <a:pt x="22" y="0"/>
                  </a:lnTo>
                  <a:lnTo>
                    <a:pt x="22" y="0"/>
                  </a:lnTo>
                  <a:lnTo>
                    <a:pt x="20" y="2"/>
                  </a:lnTo>
                  <a:lnTo>
                    <a:pt x="18" y="4"/>
                  </a:lnTo>
                  <a:lnTo>
                    <a:pt x="12" y="10"/>
                  </a:lnTo>
                  <a:lnTo>
                    <a:pt x="12" y="10"/>
                  </a:lnTo>
                  <a:lnTo>
                    <a:pt x="6" y="18"/>
                  </a:lnTo>
                  <a:lnTo>
                    <a:pt x="0" y="20"/>
                  </a:lnTo>
                  <a:lnTo>
                    <a:pt x="18" y="24"/>
                  </a:lnTo>
                  <a:lnTo>
                    <a:pt x="20" y="30"/>
                  </a:lnTo>
                  <a:lnTo>
                    <a:pt x="32" y="30"/>
                  </a:lnTo>
                  <a:lnTo>
                    <a:pt x="32" y="30"/>
                  </a:lnTo>
                  <a:lnTo>
                    <a:pt x="28" y="22"/>
                  </a:lnTo>
                  <a:lnTo>
                    <a:pt x="26" y="22"/>
                  </a:lnTo>
                  <a:lnTo>
                    <a:pt x="26" y="22"/>
                  </a:lnTo>
                  <a:lnTo>
                    <a:pt x="26" y="14"/>
                  </a:lnTo>
                  <a:lnTo>
                    <a:pt x="28" y="10"/>
                  </a:lnTo>
                  <a:lnTo>
                    <a:pt x="28" y="10"/>
                  </a:lnTo>
                  <a:lnTo>
                    <a:pt x="34" y="12"/>
                  </a:lnTo>
                  <a:lnTo>
                    <a:pt x="34" y="12"/>
                  </a:lnTo>
                  <a:lnTo>
                    <a:pt x="34" y="12"/>
                  </a:lnTo>
                  <a:lnTo>
                    <a:pt x="34" y="12"/>
                  </a:lnTo>
                  <a:lnTo>
                    <a:pt x="36" y="12"/>
                  </a:lnTo>
                  <a:lnTo>
                    <a:pt x="36" y="10"/>
                  </a:lnTo>
                  <a:lnTo>
                    <a:pt x="36" y="10"/>
                  </a:lnTo>
                  <a:lnTo>
                    <a:pt x="32" y="10"/>
                  </a:lnTo>
                  <a:lnTo>
                    <a:pt x="32" y="10"/>
                  </a:lnTo>
                  <a:lnTo>
                    <a:pt x="30" y="6"/>
                  </a:lnTo>
                  <a:lnTo>
                    <a:pt x="30" y="2"/>
                  </a:lnTo>
                  <a:lnTo>
                    <a:pt x="30"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6" name="Freeform 154"/>
            <p:cNvSpPr>
              <a:spLocks noChangeAspect="1"/>
            </p:cNvSpPr>
            <p:nvPr/>
          </p:nvSpPr>
          <p:spPr bwMode="gray">
            <a:xfrm>
              <a:off x="5360180" y="2802381"/>
              <a:ext cx="931663" cy="460592"/>
            </a:xfrm>
            <a:custGeom>
              <a:avLst/>
              <a:gdLst/>
              <a:ahLst/>
              <a:cxnLst>
                <a:cxn ang="0">
                  <a:pos x="488" y="158"/>
                </a:cxn>
                <a:cxn ang="0">
                  <a:pos x="450" y="208"/>
                </a:cxn>
                <a:cxn ang="0">
                  <a:pos x="436" y="248"/>
                </a:cxn>
                <a:cxn ang="0">
                  <a:pos x="408" y="240"/>
                </a:cxn>
                <a:cxn ang="0">
                  <a:pos x="372" y="244"/>
                </a:cxn>
                <a:cxn ang="0">
                  <a:pos x="358" y="244"/>
                </a:cxn>
                <a:cxn ang="0">
                  <a:pos x="338" y="246"/>
                </a:cxn>
                <a:cxn ang="0">
                  <a:pos x="306" y="256"/>
                </a:cxn>
                <a:cxn ang="0">
                  <a:pos x="290" y="264"/>
                </a:cxn>
                <a:cxn ang="0">
                  <a:pos x="272" y="280"/>
                </a:cxn>
                <a:cxn ang="0">
                  <a:pos x="250" y="268"/>
                </a:cxn>
                <a:cxn ang="0">
                  <a:pos x="246" y="260"/>
                </a:cxn>
                <a:cxn ang="0">
                  <a:pos x="228" y="250"/>
                </a:cxn>
                <a:cxn ang="0">
                  <a:pos x="194" y="226"/>
                </a:cxn>
                <a:cxn ang="0">
                  <a:pos x="200" y="210"/>
                </a:cxn>
                <a:cxn ang="0">
                  <a:pos x="188" y="186"/>
                </a:cxn>
                <a:cxn ang="0">
                  <a:pos x="188" y="172"/>
                </a:cxn>
                <a:cxn ang="0">
                  <a:pos x="178" y="182"/>
                </a:cxn>
                <a:cxn ang="0">
                  <a:pos x="164" y="192"/>
                </a:cxn>
                <a:cxn ang="0">
                  <a:pos x="156" y="190"/>
                </a:cxn>
                <a:cxn ang="0">
                  <a:pos x="136" y="196"/>
                </a:cxn>
                <a:cxn ang="0">
                  <a:pos x="102" y="258"/>
                </a:cxn>
                <a:cxn ang="0">
                  <a:pos x="74" y="264"/>
                </a:cxn>
                <a:cxn ang="0">
                  <a:pos x="64" y="242"/>
                </a:cxn>
                <a:cxn ang="0">
                  <a:pos x="52" y="226"/>
                </a:cxn>
                <a:cxn ang="0">
                  <a:pos x="56" y="214"/>
                </a:cxn>
                <a:cxn ang="0">
                  <a:pos x="60" y="206"/>
                </a:cxn>
                <a:cxn ang="0">
                  <a:pos x="72" y="198"/>
                </a:cxn>
                <a:cxn ang="0">
                  <a:pos x="92" y="206"/>
                </a:cxn>
                <a:cxn ang="0">
                  <a:pos x="96" y="194"/>
                </a:cxn>
                <a:cxn ang="0">
                  <a:pos x="90" y="178"/>
                </a:cxn>
                <a:cxn ang="0">
                  <a:pos x="74" y="166"/>
                </a:cxn>
                <a:cxn ang="0">
                  <a:pos x="56" y="158"/>
                </a:cxn>
                <a:cxn ang="0">
                  <a:pos x="42" y="166"/>
                </a:cxn>
                <a:cxn ang="0">
                  <a:pos x="26" y="174"/>
                </a:cxn>
                <a:cxn ang="0">
                  <a:pos x="16" y="148"/>
                </a:cxn>
                <a:cxn ang="0">
                  <a:pos x="6" y="138"/>
                </a:cxn>
                <a:cxn ang="0">
                  <a:pos x="10" y="116"/>
                </a:cxn>
                <a:cxn ang="0">
                  <a:pos x="10" y="100"/>
                </a:cxn>
                <a:cxn ang="0">
                  <a:pos x="26" y="102"/>
                </a:cxn>
                <a:cxn ang="0">
                  <a:pos x="34" y="80"/>
                </a:cxn>
                <a:cxn ang="0">
                  <a:pos x="50" y="76"/>
                </a:cxn>
                <a:cxn ang="0">
                  <a:pos x="76" y="62"/>
                </a:cxn>
                <a:cxn ang="0">
                  <a:pos x="84" y="68"/>
                </a:cxn>
                <a:cxn ang="0">
                  <a:pos x="104" y="80"/>
                </a:cxn>
                <a:cxn ang="0">
                  <a:pos x="118" y="92"/>
                </a:cxn>
                <a:cxn ang="0">
                  <a:pos x="126" y="82"/>
                </a:cxn>
                <a:cxn ang="0">
                  <a:pos x="152" y="80"/>
                </a:cxn>
                <a:cxn ang="0">
                  <a:pos x="168" y="92"/>
                </a:cxn>
                <a:cxn ang="0">
                  <a:pos x="180" y="80"/>
                </a:cxn>
                <a:cxn ang="0">
                  <a:pos x="182" y="20"/>
                </a:cxn>
                <a:cxn ang="0">
                  <a:pos x="256" y="12"/>
                </a:cxn>
                <a:cxn ang="0">
                  <a:pos x="298" y="18"/>
                </a:cxn>
                <a:cxn ang="0">
                  <a:pos x="334" y="20"/>
                </a:cxn>
                <a:cxn ang="0">
                  <a:pos x="394" y="12"/>
                </a:cxn>
                <a:cxn ang="0">
                  <a:pos x="430" y="84"/>
                </a:cxn>
                <a:cxn ang="0">
                  <a:pos x="472" y="100"/>
                </a:cxn>
                <a:cxn ang="0">
                  <a:pos x="536" y="118"/>
                </a:cxn>
              </a:cxnLst>
              <a:rect l="0" t="0" r="r" b="b"/>
              <a:pathLst>
                <a:path w="548" h="280">
                  <a:moveTo>
                    <a:pt x="548" y="124"/>
                  </a:moveTo>
                  <a:lnTo>
                    <a:pt x="528" y="128"/>
                  </a:lnTo>
                  <a:lnTo>
                    <a:pt x="522" y="134"/>
                  </a:lnTo>
                  <a:lnTo>
                    <a:pt x="518" y="140"/>
                  </a:lnTo>
                  <a:lnTo>
                    <a:pt x="510" y="142"/>
                  </a:lnTo>
                  <a:lnTo>
                    <a:pt x="508" y="146"/>
                  </a:lnTo>
                  <a:lnTo>
                    <a:pt x="506" y="154"/>
                  </a:lnTo>
                  <a:lnTo>
                    <a:pt x="496" y="158"/>
                  </a:lnTo>
                  <a:lnTo>
                    <a:pt x="488" y="158"/>
                  </a:lnTo>
                  <a:lnTo>
                    <a:pt x="482" y="162"/>
                  </a:lnTo>
                  <a:lnTo>
                    <a:pt x="478" y="170"/>
                  </a:lnTo>
                  <a:lnTo>
                    <a:pt x="472" y="174"/>
                  </a:lnTo>
                  <a:lnTo>
                    <a:pt x="470" y="184"/>
                  </a:lnTo>
                  <a:lnTo>
                    <a:pt x="472" y="194"/>
                  </a:lnTo>
                  <a:lnTo>
                    <a:pt x="476" y="198"/>
                  </a:lnTo>
                  <a:lnTo>
                    <a:pt x="474" y="202"/>
                  </a:lnTo>
                  <a:lnTo>
                    <a:pt x="460" y="202"/>
                  </a:lnTo>
                  <a:lnTo>
                    <a:pt x="450" y="208"/>
                  </a:lnTo>
                  <a:lnTo>
                    <a:pt x="440" y="210"/>
                  </a:lnTo>
                  <a:lnTo>
                    <a:pt x="436" y="212"/>
                  </a:lnTo>
                  <a:lnTo>
                    <a:pt x="438" y="218"/>
                  </a:lnTo>
                  <a:lnTo>
                    <a:pt x="446" y="224"/>
                  </a:lnTo>
                  <a:lnTo>
                    <a:pt x="448" y="230"/>
                  </a:lnTo>
                  <a:lnTo>
                    <a:pt x="442" y="242"/>
                  </a:lnTo>
                  <a:lnTo>
                    <a:pt x="442" y="252"/>
                  </a:lnTo>
                  <a:lnTo>
                    <a:pt x="436" y="248"/>
                  </a:lnTo>
                  <a:lnTo>
                    <a:pt x="436" y="248"/>
                  </a:lnTo>
                  <a:lnTo>
                    <a:pt x="432" y="248"/>
                  </a:lnTo>
                  <a:lnTo>
                    <a:pt x="428" y="246"/>
                  </a:lnTo>
                  <a:lnTo>
                    <a:pt x="428" y="246"/>
                  </a:lnTo>
                  <a:lnTo>
                    <a:pt x="426" y="242"/>
                  </a:lnTo>
                  <a:lnTo>
                    <a:pt x="420" y="240"/>
                  </a:lnTo>
                  <a:lnTo>
                    <a:pt x="420" y="240"/>
                  </a:lnTo>
                  <a:lnTo>
                    <a:pt x="414" y="240"/>
                  </a:lnTo>
                  <a:lnTo>
                    <a:pt x="408" y="240"/>
                  </a:lnTo>
                  <a:lnTo>
                    <a:pt x="408" y="240"/>
                  </a:lnTo>
                  <a:lnTo>
                    <a:pt x="392" y="240"/>
                  </a:lnTo>
                  <a:lnTo>
                    <a:pt x="392" y="240"/>
                  </a:lnTo>
                  <a:lnTo>
                    <a:pt x="386" y="244"/>
                  </a:lnTo>
                  <a:lnTo>
                    <a:pt x="378" y="248"/>
                  </a:lnTo>
                  <a:lnTo>
                    <a:pt x="378" y="248"/>
                  </a:lnTo>
                  <a:lnTo>
                    <a:pt x="376" y="248"/>
                  </a:lnTo>
                  <a:lnTo>
                    <a:pt x="374" y="246"/>
                  </a:lnTo>
                  <a:lnTo>
                    <a:pt x="374" y="246"/>
                  </a:lnTo>
                  <a:lnTo>
                    <a:pt x="372" y="244"/>
                  </a:lnTo>
                  <a:lnTo>
                    <a:pt x="372" y="244"/>
                  </a:lnTo>
                  <a:lnTo>
                    <a:pt x="368" y="244"/>
                  </a:lnTo>
                  <a:lnTo>
                    <a:pt x="368" y="242"/>
                  </a:lnTo>
                  <a:lnTo>
                    <a:pt x="366" y="240"/>
                  </a:lnTo>
                  <a:lnTo>
                    <a:pt x="364" y="240"/>
                  </a:lnTo>
                  <a:lnTo>
                    <a:pt x="364" y="240"/>
                  </a:lnTo>
                  <a:lnTo>
                    <a:pt x="360" y="244"/>
                  </a:lnTo>
                  <a:lnTo>
                    <a:pt x="358" y="244"/>
                  </a:lnTo>
                  <a:lnTo>
                    <a:pt x="358" y="244"/>
                  </a:lnTo>
                  <a:lnTo>
                    <a:pt x="354" y="246"/>
                  </a:lnTo>
                  <a:lnTo>
                    <a:pt x="352" y="248"/>
                  </a:lnTo>
                  <a:lnTo>
                    <a:pt x="352" y="248"/>
                  </a:lnTo>
                  <a:lnTo>
                    <a:pt x="350" y="250"/>
                  </a:lnTo>
                  <a:lnTo>
                    <a:pt x="348" y="254"/>
                  </a:lnTo>
                  <a:lnTo>
                    <a:pt x="348" y="254"/>
                  </a:lnTo>
                  <a:lnTo>
                    <a:pt x="346" y="254"/>
                  </a:lnTo>
                  <a:lnTo>
                    <a:pt x="344" y="250"/>
                  </a:lnTo>
                  <a:lnTo>
                    <a:pt x="338" y="246"/>
                  </a:lnTo>
                  <a:lnTo>
                    <a:pt x="334" y="246"/>
                  </a:lnTo>
                  <a:lnTo>
                    <a:pt x="324" y="246"/>
                  </a:lnTo>
                  <a:lnTo>
                    <a:pt x="324" y="246"/>
                  </a:lnTo>
                  <a:lnTo>
                    <a:pt x="320" y="246"/>
                  </a:lnTo>
                  <a:lnTo>
                    <a:pt x="318" y="250"/>
                  </a:lnTo>
                  <a:lnTo>
                    <a:pt x="314" y="254"/>
                  </a:lnTo>
                  <a:lnTo>
                    <a:pt x="314" y="254"/>
                  </a:lnTo>
                  <a:lnTo>
                    <a:pt x="310" y="256"/>
                  </a:lnTo>
                  <a:lnTo>
                    <a:pt x="306" y="256"/>
                  </a:lnTo>
                  <a:lnTo>
                    <a:pt x="306" y="256"/>
                  </a:lnTo>
                  <a:lnTo>
                    <a:pt x="300" y="258"/>
                  </a:lnTo>
                  <a:lnTo>
                    <a:pt x="298" y="258"/>
                  </a:lnTo>
                  <a:lnTo>
                    <a:pt x="298" y="260"/>
                  </a:lnTo>
                  <a:lnTo>
                    <a:pt x="298" y="260"/>
                  </a:lnTo>
                  <a:lnTo>
                    <a:pt x="296" y="262"/>
                  </a:lnTo>
                  <a:lnTo>
                    <a:pt x="294" y="262"/>
                  </a:lnTo>
                  <a:lnTo>
                    <a:pt x="290" y="264"/>
                  </a:lnTo>
                  <a:lnTo>
                    <a:pt x="290" y="264"/>
                  </a:lnTo>
                  <a:lnTo>
                    <a:pt x="288" y="266"/>
                  </a:lnTo>
                  <a:lnTo>
                    <a:pt x="286" y="268"/>
                  </a:lnTo>
                  <a:lnTo>
                    <a:pt x="286" y="272"/>
                  </a:lnTo>
                  <a:lnTo>
                    <a:pt x="286" y="272"/>
                  </a:lnTo>
                  <a:lnTo>
                    <a:pt x="278" y="274"/>
                  </a:lnTo>
                  <a:lnTo>
                    <a:pt x="278" y="278"/>
                  </a:lnTo>
                  <a:lnTo>
                    <a:pt x="278" y="278"/>
                  </a:lnTo>
                  <a:lnTo>
                    <a:pt x="272" y="280"/>
                  </a:lnTo>
                  <a:lnTo>
                    <a:pt x="272" y="280"/>
                  </a:lnTo>
                  <a:lnTo>
                    <a:pt x="272" y="280"/>
                  </a:lnTo>
                  <a:lnTo>
                    <a:pt x="272" y="278"/>
                  </a:lnTo>
                  <a:lnTo>
                    <a:pt x="272" y="274"/>
                  </a:lnTo>
                  <a:lnTo>
                    <a:pt x="272" y="274"/>
                  </a:lnTo>
                  <a:lnTo>
                    <a:pt x="266" y="270"/>
                  </a:lnTo>
                  <a:lnTo>
                    <a:pt x="262" y="270"/>
                  </a:lnTo>
                  <a:lnTo>
                    <a:pt x="262" y="270"/>
                  </a:lnTo>
                  <a:lnTo>
                    <a:pt x="256" y="270"/>
                  </a:lnTo>
                  <a:lnTo>
                    <a:pt x="250" y="268"/>
                  </a:lnTo>
                  <a:lnTo>
                    <a:pt x="250" y="268"/>
                  </a:lnTo>
                  <a:lnTo>
                    <a:pt x="248" y="268"/>
                  </a:lnTo>
                  <a:lnTo>
                    <a:pt x="248" y="266"/>
                  </a:lnTo>
                  <a:lnTo>
                    <a:pt x="250" y="262"/>
                  </a:lnTo>
                  <a:lnTo>
                    <a:pt x="250" y="262"/>
                  </a:lnTo>
                  <a:lnTo>
                    <a:pt x="248" y="262"/>
                  </a:lnTo>
                  <a:lnTo>
                    <a:pt x="248" y="260"/>
                  </a:lnTo>
                  <a:lnTo>
                    <a:pt x="246" y="260"/>
                  </a:lnTo>
                  <a:lnTo>
                    <a:pt x="246" y="260"/>
                  </a:lnTo>
                  <a:lnTo>
                    <a:pt x="246" y="260"/>
                  </a:lnTo>
                  <a:lnTo>
                    <a:pt x="246" y="256"/>
                  </a:lnTo>
                  <a:lnTo>
                    <a:pt x="242" y="256"/>
                  </a:lnTo>
                  <a:lnTo>
                    <a:pt x="242" y="256"/>
                  </a:lnTo>
                  <a:lnTo>
                    <a:pt x="238" y="256"/>
                  </a:lnTo>
                  <a:lnTo>
                    <a:pt x="234" y="254"/>
                  </a:lnTo>
                  <a:lnTo>
                    <a:pt x="234" y="254"/>
                  </a:lnTo>
                  <a:lnTo>
                    <a:pt x="230" y="246"/>
                  </a:lnTo>
                  <a:lnTo>
                    <a:pt x="228" y="250"/>
                  </a:lnTo>
                  <a:lnTo>
                    <a:pt x="228" y="250"/>
                  </a:lnTo>
                  <a:lnTo>
                    <a:pt x="212" y="246"/>
                  </a:lnTo>
                  <a:lnTo>
                    <a:pt x="212" y="246"/>
                  </a:lnTo>
                  <a:lnTo>
                    <a:pt x="202" y="246"/>
                  </a:lnTo>
                  <a:lnTo>
                    <a:pt x="198" y="246"/>
                  </a:lnTo>
                  <a:lnTo>
                    <a:pt x="198" y="246"/>
                  </a:lnTo>
                  <a:lnTo>
                    <a:pt x="196" y="230"/>
                  </a:lnTo>
                  <a:lnTo>
                    <a:pt x="196" y="230"/>
                  </a:lnTo>
                  <a:lnTo>
                    <a:pt x="194" y="226"/>
                  </a:lnTo>
                  <a:lnTo>
                    <a:pt x="194" y="222"/>
                  </a:lnTo>
                  <a:lnTo>
                    <a:pt x="192" y="222"/>
                  </a:lnTo>
                  <a:lnTo>
                    <a:pt x="192" y="222"/>
                  </a:lnTo>
                  <a:lnTo>
                    <a:pt x="194" y="220"/>
                  </a:lnTo>
                  <a:lnTo>
                    <a:pt x="196" y="218"/>
                  </a:lnTo>
                  <a:lnTo>
                    <a:pt x="196" y="218"/>
                  </a:lnTo>
                  <a:lnTo>
                    <a:pt x="196" y="214"/>
                  </a:lnTo>
                  <a:lnTo>
                    <a:pt x="200" y="212"/>
                  </a:lnTo>
                  <a:lnTo>
                    <a:pt x="200" y="210"/>
                  </a:lnTo>
                  <a:lnTo>
                    <a:pt x="200" y="210"/>
                  </a:lnTo>
                  <a:lnTo>
                    <a:pt x="192" y="206"/>
                  </a:lnTo>
                  <a:lnTo>
                    <a:pt x="190" y="204"/>
                  </a:lnTo>
                  <a:lnTo>
                    <a:pt x="188" y="200"/>
                  </a:lnTo>
                  <a:lnTo>
                    <a:pt x="188" y="200"/>
                  </a:lnTo>
                  <a:lnTo>
                    <a:pt x="188" y="196"/>
                  </a:lnTo>
                  <a:lnTo>
                    <a:pt x="188" y="192"/>
                  </a:lnTo>
                  <a:lnTo>
                    <a:pt x="188" y="192"/>
                  </a:lnTo>
                  <a:lnTo>
                    <a:pt x="188" y="186"/>
                  </a:lnTo>
                  <a:lnTo>
                    <a:pt x="188" y="186"/>
                  </a:lnTo>
                  <a:lnTo>
                    <a:pt x="196" y="172"/>
                  </a:lnTo>
                  <a:lnTo>
                    <a:pt x="196" y="172"/>
                  </a:lnTo>
                  <a:lnTo>
                    <a:pt x="194" y="172"/>
                  </a:lnTo>
                  <a:lnTo>
                    <a:pt x="192" y="174"/>
                  </a:lnTo>
                  <a:lnTo>
                    <a:pt x="192" y="174"/>
                  </a:lnTo>
                  <a:lnTo>
                    <a:pt x="188" y="172"/>
                  </a:lnTo>
                  <a:lnTo>
                    <a:pt x="188" y="172"/>
                  </a:lnTo>
                  <a:lnTo>
                    <a:pt x="188" y="172"/>
                  </a:lnTo>
                  <a:lnTo>
                    <a:pt x="188" y="174"/>
                  </a:lnTo>
                  <a:lnTo>
                    <a:pt x="188" y="174"/>
                  </a:lnTo>
                  <a:lnTo>
                    <a:pt x="178" y="174"/>
                  </a:lnTo>
                  <a:lnTo>
                    <a:pt x="178" y="174"/>
                  </a:lnTo>
                  <a:lnTo>
                    <a:pt x="178" y="176"/>
                  </a:lnTo>
                  <a:lnTo>
                    <a:pt x="178" y="176"/>
                  </a:lnTo>
                  <a:lnTo>
                    <a:pt x="180" y="178"/>
                  </a:lnTo>
                  <a:lnTo>
                    <a:pt x="180" y="178"/>
                  </a:lnTo>
                  <a:lnTo>
                    <a:pt x="178" y="182"/>
                  </a:lnTo>
                  <a:lnTo>
                    <a:pt x="178" y="182"/>
                  </a:lnTo>
                  <a:lnTo>
                    <a:pt x="172" y="180"/>
                  </a:lnTo>
                  <a:lnTo>
                    <a:pt x="170" y="184"/>
                  </a:lnTo>
                  <a:lnTo>
                    <a:pt x="170" y="184"/>
                  </a:lnTo>
                  <a:lnTo>
                    <a:pt x="166" y="184"/>
                  </a:lnTo>
                  <a:lnTo>
                    <a:pt x="166" y="184"/>
                  </a:lnTo>
                  <a:lnTo>
                    <a:pt x="164" y="190"/>
                  </a:lnTo>
                  <a:lnTo>
                    <a:pt x="164" y="190"/>
                  </a:lnTo>
                  <a:lnTo>
                    <a:pt x="164" y="192"/>
                  </a:lnTo>
                  <a:lnTo>
                    <a:pt x="164" y="194"/>
                  </a:lnTo>
                  <a:lnTo>
                    <a:pt x="164" y="194"/>
                  </a:lnTo>
                  <a:lnTo>
                    <a:pt x="162" y="194"/>
                  </a:lnTo>
                  <a:lnTo>
                    <a:pt x="162" y="192"/>
                  </a:lnTo>
                  <a:lnTo>
                    <a:pt x="162" y="188"/>
                  </a:lnTo>
                  <a:lnTo>
                    <a:pt x="162" y="188"/>
                  </a:lnTo>
                  <a:lnTo>
                    <a:pt x="160" y="188"/>
                  </a:lnTo>
                  <a:lnTo>
                    <a:pt x="160" y="188"/>
                  </a:lnTo>
                  <a:lnTo>
                    <a:pt x="156" y="190"/>
                  </a:lnTo>
                  <a:lnTo>
                    <a:pt x="156" y="190"/>
                  </a:lnTo>
                  <a:lnTo>
                    <a:pt x="154" y="192"/>
                  </a:lnTo>
                  <a:lnTo>
                    <a:pt x="154" y="194"/>
                  </a:lnTo>
                  <a:lnTo>
                    <a:pt x="154" y="196"/>
                  </a:lnTo>
                  <a:lnTo>
                    <a:pt x="154" y="196"/>
                  </a:lnTo>
                  <a:lnTo>
                    <a:pt x="148" y="194"/>
                  </a:lnTo>
                  <a:lnTo>
                    <a:pt x="148" y="194"/>
                  </a:lnTo>
                  <a:lnTo>
                    <a:pt x="142" y="196"/>
                  </a:lnTo>
                  <a:lnTo>
                    <a:pt x="136" y="196"/>
                  </a:lnTo>
                  <a:lnTo>
                    <a:pt x="136" y="196"/>
                  </a:lnTo>
                  <a:lnTo>
                    <a:pt x="128" y="200"/>
                  </a:lnTo>
                  <a:lnTo>
                    <a:pt x="122" y="202"/>
                  </a:lnTo>
                  <a:lnTo>
                    <a:pt x="120" y="266"/>
                  </a:lnTo>
                  <a:lnTo>
                    <a:pt x="120" y="266"/>
                  </a:lnTo>
                  <a:lnTo>
                    <a:pt x="116" y="266"/>
                  </a:lnTo>
                  <a:lnTo>
                    <a:pt x="108" y="266"/>
                  </a:lnTo>
                  <a:lnTo>
                    <a:pt x="108" y="266"/>
                  </a:lnTo>
                  <a:lnTo>
                    <a:pt x="102" y="258"/>
                  </a:lnTo>
                  <a:lnTo>
                    <a:pt x="98" y="254"/>
                  </a:lnTo>
                  <a:lnTo>
                    <a:pt x="94" y="252"/>
                  </a:lnTo>
                  <a:lnTo>
                    <a:pt x="90" y="252"/>
                  </a:lnTo>
                  <a:lnTo>
                    <a:pt x="90" y="252"/>
                  </a:lnTo>
                  <a:lnTo>
                    <a:pt x="80" y="252"/>
                  </a:lnTo>
                  <a:lnTo>
                    <a:pt x="76" y="254"/>
                  </a:lnTo>
                  <a:lnTo>
                    <a:pt x="76" y="260"/>
                  </a:lnTo>
                  <a:lnTo>
                    <a:pt x="76" y="260"/>
                  </a:lnTo>
                  <a:lnTo>
                    <a:pt x="74" y="264"/>
                  </a:lnTo>
                  <a:lnTo>
                    <a:pt x="72" y="264"/>
                  </a:lnTo>
                  <a:lnTo>
                    <a:pt x="72" y="264"/>
                  </a:lnTo>
                  <a:lnTo>
                    <a:pt x="72" y="264"/>
                  </a:lnTo>
                  <a:lnTo>
                    <a:pt x="74" y="256"/>
                  </a:lnTo>
                  <a:lnTo>
                    <a:pt x="76" y="246"/>
                  </a:lnTo>
                  <a:lnTo>
                    <a:pt x="76" y="246"/>
                  </a:lnTo>
                  <a:lnTo>
                    <a:pt x="66" y="244"/>
                  </a:lnTo>
                  <a:lnTo>
                    <a:pt x="66" y="244"/>
                  </a:lnTo>
                  <a:lnTo>
                    <a:pt x="64" y="242"/>
                  </a:lnTo>
                  <a:lnTo>
                    <a:pt x="64" y="240"/>
                  </a:lnTo>
                  <a:lnTo>
                    <a:pt x="62" y="238"/>
                  </a:lnTo>
                  <a:lnTo>
                    <a:pt x="58" y="240"/>
                  </a:lnTo>
                  <a:lnTo>
                    <a:pt x="58" y="240"/>
                  </a:lnTo>
                  <a:lnTo>
                    <a:pt x="58" y="236"/>
                  </a:lnTo>
                  <a:lnTo>
                    <a:pt x="58" y="234"/>
                  </a:lnTo>
                  <a:lnTo>
                    <a:pt x="56" y="234"/>
                  </a:lnTo>
                  <a:lnTo>
                    <a:pt x="56" y="234"/>
                  </a:lnTo>
                  <a:lnTo>
                    <a:pt x="52" y="226"/>
                  </a:lnTo>
                  <a:lnTo>
                    <a:pt x="44" y="220"/>
                  </a:lnTo>
                  <a:lnTo>
                    <a:pt x="44" y="220"/>
                  </a:lnTo>
                  <a:lnTo>
                    <a:pt x="46" y="216"/>
                  </a:lnTo>
                  <a:lnTo>
                    <a:pt x="46" y="216"/>
                  </a:lnTo>
                  <a:lnTo>
                    <a:pt x="54" y="218"/>
                  </a:lnTo>
                  <a:lnTo>
                    <a:pt x="60" y="218"/>
                  </a:lnTo>
                  <a:lnTo>
                    <a:pt x="62" y="214"/>
                  </a:lnTo>
                  <a:lnTo>
                    <a:pt x="62" y="214"/>
                  </a:lnTo>
                  <a:lnTo>
                    <a:pt x="56" y="214"/>
                  </a:lnTo>
                  <a:lnTo>
                    <a:pt x="56" y="214"/>
                  </a:lnTo>
                  <a:lnTo>
                    <a:pt x="52" y="208"/>
                  </a:lnTo>
                  <a:lnTo>
                    <a:pt x="52" y="208"/>
                  </a:lnTo>
                  <a:lnTo>
                    <a:pt x="52" y="206"/>
                  </a:lnTo>
                  <a:lnTo>
                    <a:pt x="54" y="206"/>
                  </a:lnTo>
                  <a:lnTo>
                    <a:pt x="54" y="206"/>
                  </a:lnTo>
                  <a:lnTo>
                    <a:pt x="56" y="208"/>
                  </a:lnTo>
                  <a:lnTo>
                    <a:pt x="56" y="208"/>
                  </a:lnTo>
                  <a:lnTo>
                    <a:pt x="60" y="206"/>
                  </a:lnTo>
                  <a:lnTo>
                    <a:pt x="62" y="206"/>
                  </a:lnTo>
                  <a:lnTo>
                    <a:pt x="62" y="206"/>
                  </a:lnTo>
                  <a:lnTo>
                    <a:pt x="64" y="206"/>
                  </a:lnTo>
                  <a:lnTo>
                    <a:pt x="66" y="206"/>
                  </a:lnTo>
                  <a:lnTo>
                    <a:pt x="66" y="206"/>
                  </a:lnTo>
                  <a:lnTo>
                    <a:pt x="66" y="198"/>
                  </a:lnTo>
                  <a:lnTo>
                    <a:pt x="66" y="198"/>
                  </a:lnTo>
                  <a:lnTo>
                    <a:pt x="72" y="198"/>
                  </a:lnTo>
                  <a:lnTo>
                    <a:pt x="72" y="198"/>
                  </a:lnTo>
                  <a:lnTo>
                    <a:pt x="76" y="202"/>
                  </a:lnTo>
                  <a:lnTo>
                    <a:pt x="76" y="202"/>
                  </a:lnTo>
                  <a:lnTo>
                    <a:pt x="88" y="204"/>
                  </a:lnTo>
                  <a:lnTo>
                    <a:pt x="88" y="204"/>
                  </a:lnTo>
                  <a:lnTo>
                    <a:pt x="84" y="210"/>
                  </a:lnTo>
                  <a:lnTo>
                    <a:pt x="84" y="210"/>
                  </a:lnTo>
                  <a:lnTo>
                    <a:pt x="88" y="208"/>
                  </a:lnTo>
                  <a:lnTo>
                    <a:pt x="92" y="206"/>
                  </a:lnTo>
                  <a:lnTo>
                    <a:pt x="92" y="206"/>
                  </a:lnTo>
                  <a:lnTo>
                    <a:pt x="92" y="206"/>
                  </a:lnTo>
                  <a:lnTo>
                    <a:pt x="94" y="208"/>
                  </a:lnTo>
                  <a:lnTo>
                    <a:pt x="94" y="208"/>
                  </a:lnTo>
                  <a:lnTo>
                    <a:pt x="96" y="206"/>
                  </a:lnTo>
                  <a:lnTo>
                    <a:pt x="96" y="206"/>
                  </a:lnTo>
                  <a:lnTo>
                    <a:pt x="96" y="206"/>
                  </a:lnTo>
                  <a:lnTo>
                    <a:pt x="98" y="194"/>
                  </a:lnTo>
                  <a:lnTo>
                    <a:pt x="98" y="194"/>
                  </a:lnTo>
                  <a:lnTo>
                    <a:pt x="96" y="194"/>
                  </a:lnTo>
                  <a:lnTo>
                    <a:pt x="96" y="194"/>
                  </a:lnTo>
                  <a:lnTo>
                    <a:pt x="94" y="190"/>
                  </a:lnTo>
                  <a:lnTo>
                    <a:pt x="94" y="190"/>
                  </a:lnTo>
                  <a:lnTo>
                    <a:pt x="94" y="190"/>
                  </a:lnTo>
                  <a:lnTo>
                    <a:pt x="92" y="190"/>
                  </a:lnTo>
                  <a:lnTo>
                    <a:pt x="92" y="190"/>
                  </a:lnTo>
                  <a:lnTo>
                    <a:pt x="90" y="184"/>
                  </a:lnTo>
                  <a:lnTo>
                    <a:pt x="90" y="178"/>
                  </a:lnTo>
                  <a:lnTo>
                    <a:pt x="90" y="178"/>
                  </a:lnTo>
                  <a:lnTo>
                    <a:pt x="86" y="178"/>
                  </a:lnTo>
                  <a:lnTo>
                    <a:pt x="84" y="178"/>
                  </a:lnTo>
                  <a:lnTo>
                    <a:pt x="84" y="178"/>
                  </a:lnTo>
                  <a:lnTo>
                    <a:pt x="82" y="172"/>
                  </a:lnTo>
                  <a:lnTo>
                    <a:pt x="82" y="172"/>
                  </a:lnTo>
                  <a:lnTo>
                    <a:pt x="78" y="172"/>
                  </a:lnTo>
                  <a:lnTo>
                    <a:pt x="78" y="172"/>
                  </a:lnTo>
                  <a:lnTo>
                    <a:pt x="74" y="166"/>
                  </a:lnTo>
                  <a:lnTo>
                    <a:pt x="74" y="166"/>
                  </a:lnTo>
                  <a:lnTo>
                    <a:pt x="72" y="166"/>
                  </a:lnTo>
                  <a:lnTo>
                    <a:pt x="70" y="166"/>
                  </a:lnTo>
                  <a:lnTo>
                    <a:pt x="68" y="164"/>
                  </a:lnTo>
                  <a:lnTo>
                    <a:pt x="68" y="164"/>
                  </a:lnTo>
                  <a:lnTo>
                    <a:pt x="60" y="164"/>
                  </a:lnTo>
                  <a:lnTo>
                    <a:pt x="60" y="164"/>
                  </a:lnTo>
                  <a:lnTo>
                    <a:pt x="60" y="160"/>
                  </a:lnTo>
                  <a:lnTo>
                    <a:pt x="60" y="160"/>
                  </a:lnTo>
                  <a:lnTo>
                    <a:pt x="56" y="158"/>
                  </a:lnTo>
                  <a:lnTo>
                    <a:pt x="56" y="158"/>
                  </a:lnTo>
                  <a:lnTo>
                    <a:pt x="52" y="158"/>
                  </a:lnTo>
                  <a:lnTo>
                    <a:pt x="52" y="158"/>
                  </a:lnTo>
                  <a:lnTo>
                    <a:pt x="50" y="158"/>
                  </a:lnTo>
                  <a:lnTo>
                    <a:pt x="50" y="158"/>
                  </a:lnTo>
                  <a:lnTo>
                    <a:pt x="50" y="162"/>
                  </a:lnTo>
                  <a:lnTo>
                    <a:pt x="50" y="162"/>
                  </a:lnTo>
                  <a:lnTo>
                    <a:pt x="46" y="166"/>
                  </a:lnTo>
                  <a:lnTo>
                    <a:pt x="42" y="166"/>
                  </a:lnTo>
                  <a:lnTo>
                    <a:pt x="42" y="166"/>
                  </a:lnTo>
                  <a:lnTo>
                    <a:pt x="40" y="170"/>
                  </a:lnTo>
                  <a:lnTo>
                    <a:pt x="40" y="170"/>
                  </a:lnTo>
                  <a:lnTo>
                    <a:pt x="36" y="170"/>
                  </a:lnTo>
                  <a:lnTo>
                    <a:pt x="32" y="170"/>
                  </a:lnTo>
                  <a:lnTo>
                    <a:pt x="32" y="170"/>
                  </a:lnTo>
                  <a:lnTo>
                    <a:pt x="28" y="174"/>
                  </a:lnTo>
                  <a:lnTo>
                    <a:pt x="28" y="174"/>
                  </a:lnTo>
                  <a:lnTo>
                    <a:pt x="26" y="174"/>
                  </a:lnTo>
                  <a:lnTo>
                    <a:pt x="22" y="174"/>
                  </a:lnTo>
                  <a:lnTo>
                    <a:pt x="22" y="174"/>
                  </a:lnTo>
                  <a:lnTo>
                    <a:pt x="22" y="172"/>
                  </a:lnTo>
                  <a:lnTo>
                    <a:pt x="20" y="168"/>
                  </a:lnTo>
                  <a:lnTo>
                    <a:pt x="20" y="166"/>
                  </a:lnTo>
                  <a:lnTo>
                    <a:pt x="20" y="166"/>
                  </a:lnTo>
                  <a:lnTo>
                    <a:pt x="22" y="162"/>
                  </a:lnTo>
                  <a:lnTo>
                    <a:pt x="20" y="160"/>
                  </a:lnTo>
                  <a:lnTo>
                    <a:pt x="16" y="148"/>
                  </a:lnTo>
                  <a:lnTo>
                    <a:pt x="16" y="148"/>
                  </a:lnTo>
                  <a:lnTo>
                    <a:pt x="12" y="150"/>
                  </a:lnTo>
                  <a:lnTo>
                    <a:pt x="10" y="150"/>
                  </a:lnTo>
                  <a:lnTo>
                    <a:pt x="8" y="148"/>
                  </a:lnTo>
                  <a:lnTo>
                    <a:pt x="8" y="148"/>
                  </a:lnTo>
                  <a:lnTo>
                    <a:pt x="8" y="142"/>
                  </a:lnTo>
                  <a:lnTo>
                    <a:pt x="8" y="140"/>
                  </a:lnTo>
                  <a:lnTo>
                    <a:pt x="6" y="138"/>
                  </a:lnTo>
                  <a:lnTo>
                    <a:pt x="6" y="138"/>
                  </a:lnTo>
                  <a:lnTo>
                    <a:pt x="2" y="134"/>
                  </a:lnTo>
                  <a:lnTo>
                    <a:pt x="0" y="132"/>
                  </a:lnTo>
                  <a:lnTo>
                    <a:pt x="2" y="130"/>
                  </a:lnTo>
                  <a:lnTo>
                    <a:pt x="2" y="130"/>
                  </a:lnTo>
                  <a:lnTo>
                    <a:pt x="8" y="122"/>
                  </a:lnTo>
                  <a:lnTo>
                    <a:pt x="8" y="122"/>
                  </a:lnTo>
                  <a:lnTo>
                    <a:pt x="8" y="120"/>
                  </a:lnTo>
                  <a:lnTo>
                    <a:pt x="10" y="118"/>
                  </a:lnTo>
                  <a:lnTo>
                    <a:pt x="10" y="116"/>
                  </a:lnTo>
                  <a:lnTo>
                    <a:pt x="10" y="116"/>
                  </a:lnTo>
                  <a:lnTo>
                    <a:pt x="8" y="114"/>
                  </a:lnTo>
                  <a:lnTo>
                    <a:pt x="6" y="114"/>
                  </a:lnTo>
                  <a:lnTo>
                    <a:pt x="6" y="114"/>
                  </a:lnTo>
                  <a:lnTo>
                    <a:pt x="8" y="110"/>
                  </a:lnTo>
                  <a:lnTo>
                    <a:pt x="10" y="106"/>
                  </a:lnTo>
                  <a:lnTo>
                    <a:pt x="10" y="100"/>
                  </a:lnTo>
                  <a:lnTo>
                    <a:pt x="10" y="100"/>
                  </a:lnTo>
                  <a:lnTo>
                    <a:pt x="10" y="100"/>
                  </a:lnTo>
                  <a:lnTo>
                    <a:pt x="12" y="100"/>
                  </a:lnTo>
                  <a:lnTo>
                    <a:pt x="14" y="98"/>
                  </a:lnTo>
                  <a:lnTo>
                    <a:pt x="16" y="98"/>
                  </a:lnTo>
                  <a:lnTo>
                    <a:pt x="16" y="98"/>
                  </a:lnTo>
                  <a:lnTo>
                    <a:pt x="18" y="92"/>
                  </a:lnTo>
                  <a:lnTo>
                    <a:pt x="22" y="92"/>
                  </a:lnTo>
                  <a:lnTo>
                    <a:pt x="22" y="92"/>
                  </a:lnTo>
                  <a:lnTo>
                    <a:pt x="22" y="92"/>
                  </a:lnTo>
                  <a:lnTo>
                    <a:pt x="26" y="102"/>
                  </a:lnTo>
                  <a:lnTo>
                    <a:pt x="36" y="98"/>
                  </a:lnTo>
                  <a:lnTo>
                    <a:pt x="36" y="98"/>
                  </a:lnTo>
                  <a:lnTo>
                    <a:pt x="32" y="94"/>
                  </a:lnTo>
                  <a:lnTo>
                    <a:pt x="30" y="92"/>
                  </a:lnTo>
                  <a:lnTo>
                    <a:pt x="30" y="90"/>
                  </a:lnTo>
                  <a:lnTo>
                    <a:pt x="30" y="90"/>
                  </a:lnTo>
                  <a:lnTo>
                    <a:pt x="30" y="84"/>
                  </a:lnTo>
                  <a:lnTo>
                    <a:pt x="32" y="80"/>
                  </a:lnTo>
                  <a:lnTo>
                    <a:pt x="34" y="80"/>
                  </a:lnTo>
                  <a:lnTo>
                    <a:pt x="34" y="80"/>
                  </a:lnTo>
                  <a:lnTo>
                    <a:pt x="36" y="78"/>
                  </a:lnTo>
                  <a:lnTo>
                    <a:pt x="36" y="76"/>
                  </a:lnTo>
                  <a:lnTo>
                    <a:pt x="38" y="76"/>
                  </a:lnTo>
                  <a:lnTo>
                    <a:pt x="40" y="76"/>
                  </a:lnTo>
                  <a:lnTo>
                    <a:pt x="40" y="76"/>
                  </a:lnTo>
                  <a:lnTo>
                    <a:pt x="46" y="76"/>
                  </a:lnTo>
                  <a:lnTo>
                    <a:pt x="50" y="76"/>
                  </a:lnTo>
                  <a:lnTo>
                    <a:pt x="50" y="76"/>
                  </a:lnTo>
                  <a:lnTo>
                    <a:pt x="60" y="64"/>
                  </a:lnTo>
                  <a:lnTo>
                    <a:pt x="60" y="64"/>
                  </a:lnTo>
                  <a:lnTo>
                    <a:pt x="60" y="62"/>
                  </a:lnTo>
                  <a:lnTo>
                    <a:pt x="60" y="62"/>
                  </a:lnTo>
                  <a:lnTo>
                    <a:pt x="58" y="60"/>
                  </a:lnTo>
                  <a:lnTo>
                    <a:pt x="70" y="58"/>
                  </a:lnTo>
                  <a:lnTo>
                    <a:pt x="70" y="62"/>
                  </a:lnTo>
                  <a:lnTo>
                    <a:pt x="76" y="62"/>
                  </a:lnTo>
                  <a:lnTo>
                    <a:pt x="76" y="62"/>
                  </a:lnTo>
                  <a:lnTo>
                    <a:pt x="76" y="60"/>
                  </a:lnTo>
                  <a:lnTo>
                    <a:pt x="76" y="58"/>
                  </a:lnTo>
                  <a:lnTo>
                    <a:pt x="76" y="58"/>
                  </a:lnTo>
                  <a:lnTo>
                    <a:pt x="76" y="58"/>
                  </a:lnTo>
                  <a:lnTo>
                    <a:pt x="80" y="60"/>
                  </a:lnTo>
                  <a:lnTo>
                    <a:pt x="84" y="62"/>
                  </a:lnTo>
                  <a:lnTo>
                    <a:pt x="84" y="62"/>
                  </a:lnTo>
                  <a:lnTo>
                    <a:pt x="84" y="66"/>
                  </a:lnTo>
                  <a:lnTo>
                    <a:pt x="84" y="68"/>
                  </a:lnTo>
                  <a:lnTo>
                    <a:pt x="84" y="68"/>
                  </a:lnTo>
                  <a:lnTo>
                    <a:pt x="88" y="68"/>
                  </a:lnTo>
                  <a:lnTo>
                    <a:pt x="92" y="70"/>
                  </a:lnTo>
                  <a:lnTo>
                    <a:pt x="92" y="70"/>
                  </a:lnTo>
                  <a:lnTo>
                    <a:pt x="96" y="72"/>
                  </a:lnTo>
                  <a:lnTo>
                    <a:pt x="100" y="76"/>
                  </a:lnTo>
                  <a:lnTo>
                    <a:pt x="100" y="76"/>
                  </a:lnTo>
                  <a:lnTo>
                    <a:pt x="102" y="80"/>
                  </a:lnTo>
                  <a:lnTo>
                    <a:pt x="104" y="80"/>
                  </a:lnTo>
                  <a:lnTo>
                    <a:pt x="104" y="80"/>
                  </a:lnTo>
                  <a:lnTo>
                    <a:pt x="110" y="80"/>
                  </a:lnTo>
                  <a:lnTo>
                    <a:pt x="112" y="80"/>
                  </a:lnTo>
                  <a:lnTo>
                    <a:pt x="112" y="82"/>
                  </a:lnTo>
                  <a:lnTo>
                    <a:pt x="112" y="82"/>
                  </a:lnTo>
                  <a:lnTo>
                    <a:pt x="114" y="86"/>
                  </a:lnTo>
                  <a:lnTo>
                    <a:pt x="112" y="88"/>
                  </a:lnTo>
                  <a:lnTo>
                    <a:pt x="110" y="90"/>
                  </a:lnTo>
                  <a:lnTo>
                    <a:pt x="118" y="92"/>
                  </a:lnTo>
                  <a:lnTo>
                    <a:pt x="118" y="92"/>
                  </a:lnTo>
                  <a:lnTo>
                    <a:pt x="118" y="88"/>
                  </a:lnTo>
                  <a:lnTo>
                    <a:pt x="118" y="86"/>
                  </a:lnTo>
                  <a:lnTo>
                    <a:pt x="118" y="84"/>
                  </a:lnTo>
                  <a:lnTo>
                    <a:pt x="118" y="84"/>
                  </a:lnTo>
                  <a:lnTo>
                    <a:pt x="120" y="82"/>
                  </a:lnTo>
                  <a:lnTo>
                    <a:pt x="122" y="82"/>
                  </a:lnTo>
                  <a:lnTo>
                    <a:pt x="126" y="82"/>
                  </a:lnTo>
                  <a:lnTo>
                    <a:pt x="126" y="82"/>
                  </a:lnTo>
                  <a:lnTo>
                    <a:pt x="132" y="86"/>
                  </a:lnTo>
                  <a:lnTo>
                    <a:pt x="136" y="86"/>
                  </a:lnTo>
                  <a:lnTo>
                    <a:pt x="138" y="86"/>
                  </a:lnTo>
                  <a:lnTo>
                    <a:pt x="138" y="86"/>
                  </a:lnTo>
                  <a:lnTo>
                    <a:pt x="142" y="82"/>
                  </a:lnTo>
                  <a:lnTo>
                    <a:pt x="148" y="78"/>
                  </a:lnTo>
                  <a:lnTo>
                    <a:pt x="148" y="78"/>
                  </a:lnTo>
                  <a:lnTo>
                    <a:pt x="152" y="78"/>
                  </a:lnTo>
                  <a:lnTo>
                    <a:pt x="152" y="80"/>
                  </a:lnTo>
                  <a:lnTo>
                    <a:pt x="154" y="82"/>
                  </a:lnTo>
                  <a:lnTo>
                    <a:pt x="156" y="82"/>
                  </a:lnTo>
                  <a:lnTo>
                    <a:pt x="156" y="82"/>
                  </a:lnTo>
                  <a:lnTo>
                    <a:pt x="158" y="80"/>
                  </a:lnTo>
                  <a:lnTo>
                    <a:pt x="160" y="80"/>
                  </a:lnTo>
                  <a:lnTo>
                    <a:pt x="162" y="80"/>
                  </a:lnTo>
                  <a:lnTo>
                    <a:pt x="162" y="80"/>
                  </a:lnTo>
                  <a:lnTo>
                    <a:pt x="166" y="88"/>
                  </a:lnTo>
                  <a:lnTo>
                    <a:pt x="168" y="92"/>
                  </a:lnTo>
                  <a:lnTo>
                    <a:pt x="176" y="94"/>
                  </a:lnTo>
                  <a:lnTo>
                    <a:pt x="182" y="94"/>
                  </a:lnTo>
                  <a:lnTo>
                    <a:pt x="182" y="94"/>
                  </a:lnTo>
                  <a:lnTo>
                    <a:pt x="186" y="92"/>
                  </a:lnTo>
                  <a:lnTo>
                    <a:pt x="188" y="90"/>
                  </a:lnTo>
                  <a:lnTo>
                    <a:pt x="188" y="86"/>
                  </a:lnTo>
                  <a:lnTo>
                    <a:pt x="188" y="86"/>
                  </a:lnTo>
                  <a:lnTo>
                    <a:pt x="182" y="80"/>
                  </a:lnTo>
                  <a:lnTo>
                    <a:pt x="180" y="80"/>
                  </a:lnTo>
                  <a:lnTo>
                    <a:pt x="174" y="76"/>
                  </a:lnTo>
                  <a:lnTo>
                    <a:pt x="180" y="66"/>
                  </a:lnTo>
                  <a:lnTo>
                    <a:pt x="178" y="62"/>
                  </a:lnTo>
                  <a:lnTo>
                    <a:pt x="172" y="54"/>
                  </a:lnTo>
                  <a:lnTo>
                    <a:pt x="172" y="48"/>
                  </a:lnTo>
                  <a:lnTo>
                    <a:pt x="176" y="42"/>
                  </a:lnTo>
                  <a:lnTo>
                    <a:pt x="176" y="34"/>
                  </a:lnTo>
                  <a:lnTo>
                    <a:pt x="182" y="28"/>
                  </a:lnTo>
                  <a:lnTo>
                    <a:pt x="182" y="20"/>
                  </a:lnTo>
                  <a:lnTo>
                    <a:pt x="180" y="16"/>
                  </a:lnTo>
                  <a:lnTo>
                    <a:pt x="186" y="12"/>
                  </a:lnTo>
                  <a:lnTo>
                    <a:pt x="194" y="16"/>
                  </a:lnTo>
                  <a:lnTo>
                    <a:pt x="202" y="18"/>
                  </a:lnTo>
                  <a:lnTo>
                    <a:pt x="208" y="20"/>
                  </a:lnTo>
                  <a:lnTo>
                    <a:pt x="220" y="18"/>
                  </a:lnTo>
                  <a:lnTo>
                    <a:pt x="230" y="14"/>
                  </a:lnTo>
                  <a:lnTo>
                    <a:pt x="242" y="16"/>
                  </a:lnTo>
                  <a:lnTo>
                    <a:pt x="256" y="12"/>
                  </a:lnTo>
                  <a:lnTo>
                    <a:pt x="260" y="12"/>
                  </a:lnTo>
                  <a:lnTo>
                    <a:pt x="272" y="4"/>
                  </a:lnTo>
                  <a:lnTo>
                    <a:pt x="282" y="2"/>
                  </a:lnTo>
                  <a:lnTo>
                    <a:pt x="288" y="0"/>
                  </a:lnTo>
                  <a:lnTo>
                    <a:pt x="290" y="4"/>
                  </a:lnTo>
                  <a:lnTo>
                    <a:pt x="296" y="6"/>
                  </a:lnTo>
                  <a:lnTo>
                    <a:pt x="296" y="10"/>
                  </a:lnTo>
                  <a:lnTo>
                    <a:pt x="294" y="16"/>
                  </a:lnTo>
                  <a:lnTo>
                    <a:pt x="298" y="18"/>
                  </a:lnTo>
                  <a:lnTo>
                    <a:pt x="304" y="24"/>
                  </a:lnTo>
                  <a:lnTo>
                    <a:pt x="310" y="22"/>
                  </a:lnTo>
                  <a:lnTo>
                    <a:pt x="316" y="14"/>
                  </a:lnTo>
                  <a:lnTo>
                    <a:pt x="324" y="20"/>
                  </a:lnTo>
                  <a:lnTo>
                    <a:pt x="326" y="22"/>
                  </a:lnTo>
                  <a:lnTo>
                    <a:pt x="332" y="20"/>
                  </a:lnTo>
                  <a:lnTo>
                    <a:pt x="332" y="20"/>
                  </a:lnTo>
                  <a:lnTo>
                    <a:pt x="332" y="20"/>
                  </a:lnTo>
                  <a:lnTo>
                    <a:pt x="334" y="20"/>
                  </a:lnTo>
                  <a:lnTo>
                    <a:pt x="336" y="22"/>
                  </a:lnTo>
                  <a:lnTo>
                    <a:pt x="336" y="22"/>
                  </a:lnTo>
                  <a:lnTo>
                    <a:pt x="336" y="26"/>
                  </a:lnTo>
                  <a:lnTo>
                    <a:pt x="336" y="28"/>
                  </a:lnTo>
                  <a:lnTo>
                    <a:pt x="348" y="28"/>
                  </a:lnTo>
                  <a:lnTo>
                    <a:pt x="358" y="24"/>
                  </a:lnTo>
                  <a:lnTo>
                    <a:pt x="372" y="18"/>
                  </a:lnTo>
                  <a:lnTo>
                    <a:pt x="382" y="14"/>
                  </a:lnTo>
                  <a:lnTo>
                    <a:pt x="394" y="12"/>
                  </a:lnTo>
                  <a:lnTo>
                    <a:pt x="396" y="14"/>
                  </a:lnTo>
                  <a:lnTo>
                    <a:pt x="394" y="20"/>
                  </a:lnTo>
                  <a:lnTo>
                    <a:pt x="404" y="36"/>
                  </a:lnTo>
                  <a:lnTo>
                    <a:pt x="414" y="58"/>
                  </a:lnTo>
                  <a:lnTo>
                    <a:pt x="420" y="74"/>
                  </a:lnTo>
                  <a:lnTo>
                    <a:pt x="420" y="74"/>
                  </a:lnTo>
                  <a:lnTo>
                    <a:pt x="424" y="78"/>
                  </a:lnTo>
                  <a:lnTo>
                    <a:pt x="426" y="82"/>
                  </a:lnTo>
                  <a:lnTo>
                    <a:pt x="430" y="84"/>
                  </a:lnTo>
                  <a:lnTo>
                    <a:pt x="430" y="84"/>
                  </a:lnTo>
                  <a:lnTo>
                    <a:pt x="438" y="82"/>
                  </a:lnTo>
                  <a:lnTo>
                    <a:pt x="442" y="80"/>
                  </a:lnTo>
                  <a:lnTo>
                    <a:pt x="456" y="80"/>
                  </a:lnTo>
                  <a:lnTo>
                    <a:pt x="456" y="80"/>
                  </a:lnTo>
                  <a:lnTo>
                    <a:pt x="460" y="82"/>
                  </a:lnTo>
                  <a:lnTo>
                    <a:pt x="464" y="86"/>
                  </a:lnTo>
                  <a:lnTo>
                    <a:pt x="470" y="92"/>
                  </a:lnTo>
                  <a:lnTo>
                    <a:pt x="472" y="100"/>
                  </a:lnTo>
                  <a:lnTo>
                    <a:pt x="474" y="110"/>
                  </a:lnTo>
                  <a:lnTo>
                    <a:pt x="478" y="114"/>
                  </a:lnTo>
                  <a:lnTo>
                    <a:pt x="484" y="118"/>
                  </a:lnTo>
                  <a:lnTo>
                    <a:pt x="494" y="116"/>
                  </a:lnTo>
                  <a:lnTo>
                    <a:pt x="510" y="108"/>
                  </a:lnTo>
                  <a:lnTo>
                    <a:pt x="520" y="106"/>
                  </a:lnTo>
                  <a:lnTo>
                    <a:pt x="528" y="106"/>
                  </a:lnTo>
                  <a:lnTo>
                    <a:pt x="530" y="114"/>
                  </a:lnTo>
                  <a:lnTo>
                    <a:pt x="536" y="118"/>
                  </a:lnTo>
                  <a:lnTo>
                    <a:pt x="538" y="122"/>
                  </a:lnTo>
                  <a:lnTo>
                    <a:pt x="548" y="124"/>
                  </a:lnTo>
                  <a:lnTo>
                    <a:pt x="548" y="12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7" name="Freeform 155"/>
            <p:cNvSpPr>
              <a:spLocks noChangeAspect="1"/>
            </p:cNvSpPr>
            <p:nvPr/>
          </p:nvSpPr>
          <p:spPr bwMode="gray">
            <a:xfrm>
              <a:off x="5088162" y="3499848"/>
              <a:ext cx="102007" cy="118437"/>
            </a:xfrm>
            <a:custGeom>
              <a:avLst/>
              <a:gdLst/>
              <a:ahLst/>
              <a:cxnLst>
                <a:cxn ang="0">
                  <a:pos x="10" y="24"/>
                </a:cxn>
                <a:cxn ang="0">
                  <a:pos x="10" y="24"/>
                </a:cxn>
                <a:cxn ang="0">
                  <a:pos x="12" y="22"/>
                </a:cxn>
                <a:cxn ang="0">
                  <a:pos x="12" y="22"/>
                </a:cxn>
                <a:cxn ang="0">
                  <a:pos x="12" y="22"/>
                </a:cxn>
                <a:cxn ang="0">
                  <a:pos x="12" y="20"/>
                </a:cxn>
                <a:cxn ang="0">
                  <a:pos x="14" y="16"/>
                </a:cxn>
                <a:cxn ang="0">
                  <a:pos x="14" y="16"/>
                </a:cxn>
                <a:cxn ang="0">
                  <a:pos x="18" y="12"/>
                </a:cxn>
                <a:cxn ang="0">
                  <a:pos x="20" y="12"/>
                </a:cxn>
                <a:cxn ang="0">
                  <a:pos x="22" y="12"/>
                </a:cxn>
                <a:cxn ang="0">
                  <a:pos x="22" y="12"/>
                </a:cxn>
                <a:cxn ang="0">
                  <a:pos x="28" y="14"/>
                </a:cxn>
                <a:cxn ang="0">
                  <a:pos x="32" y="16"/>
                </a:cxn>
                <a:cxn ang="0">
                  <a:pos x="52" y="0"/>
                </a:cxn>
                <a:cxn ang="0">
                  <a:pos x="60" y="24"/>
                </a:cxn>
                <a:cxn ang="0">
                  <a:pos x="60" y="26"/>
                </a:cxn>
                <a:cxn ang="0">
                  <a:pos x="32" y="34"/>
                </a:cxn>
                <a:cxn ang="0">
                  <a:pos x="42" y="48"/>
                </a:cxn>
                <a:cxn ang="0">
                  <a:pos x="42" y="48"/>
                </a:cxn>
                <a:cxn ang="0">
                  <a:pos x="38" y="50"/>
                </a:cxn>
                <a:cxn ang="0">
                  <a:pos x="36" y="52"/>
                </a:cxn>
                <a:cxn ang="0">
                  <a:pos x="34" y="54"/>
                </a:cxn>
                <a:cxn ang="0">
                  <a:pos x="34" y="54"/>
                </a:cxn>
                <a:cxn ang="0">
                  <a:pos x="32" y="56"/>
                </a:cxn>
                <a:cxn ang="0">
                  <a:pos x="28" y="60"/>
                </a:cxn>
                <a:cxn ang="0">
                  <a:pos x="28" y="60"/>
                </a:cxn>
                <a:cxn ang="0">
                  <a:pos x="26" y="64"/>
                </a:cxn>
                <a:cxn ang="0">
                  <a:pos x="24" y="64"/>
                </a:cxn>
                <a:cxn ang="0">
                  <a:pos x="14" y="72"/>
                </a:cxn>
                <a:cxn ang="0">
                  <a:pos x="0" y="72"/>
                </a:cxn>
                <a:cxn ang="0">
                  <a:pos x="0" y="72"/>
                </a:cxn>
                <a:cxn ang="0">
                  <a:pos x="0" y="70"/>
                </a:cxn>
                <a:cxn ang="0">
                  <a:pos x="0" y="70"/>
                </a:cxn>
                <a:cxn ang="0">
                  <a:pos x="4" y="64"/>
                </a:cxn>
                <a:cxn ang="0">
                  <a:pos x="8" y="58"/>
                </a:cxn>
                <a:cxn ang="0">
                  <a:pos x="8" y="54"/>
                </a:cxn>
                <a:cxn ang="0">
                  <a:pos x="8" y="54"/>
                </a:cxn>
                <a:cxn ang="0">
                  <a:pos x="8" y="48"/>
                </a:cxn>
                <a:cxn ang="0">
                  <a:pos x="10" y="44"/>
                </a:cxn>
                <a:cxn ang="0">
                  <a:pos x="12" y="38"/>
                </a:cxn>
                <a:cxn ang="0">
                  <a:pos x="12" y="38"/>
                </a:cxn>
                <a:cxn ang="0">
                  <a:pos x="12" y="32"/>
                </a:cxn>
                <a:cxn ang="0">
                  <a:pos x="12" y="32"/>
                </a:cxn>
                <a:cxn ang="0">
                  <a:pos x="12" y="30"/>
                </a:cxn>
                <a:cxn ang="0">
                  <a:pos x="12" y="30"/>
                </a:cxn>
                <a:cxn ang="0">
                  <a:pos x="12" y="30"/>
                </a:cxn>
                <a:cxn ang="0">
                  <a:pos x="12" y="30"/>
                </a:cxn>
                <a:cxn ang="0">
                  <a:pos x="10" y="24"/>
                </a:cxn>
                <a:cxn ang="0">
                  <a:pos x="10" y="24"/>
                </a:cxn>
              </a:cxnLst>
              <a:rect l="0" t="0" r="r" b="b"/>
              <a:pathLst>
                <a:path w="60" h="72">
                  <a:moveTo>
                    <a:pt x="10" y="24"/>
                  </a:moveTo>
                  <a:lnTo>
                    <a:pt x="10" y="24"/>
                  </a:lnTo>
                  <a:lnTo>
                    <a:pt x="12" y="22"/>
                  </a:lnTo>
                  <a:lnTo>
                    <a:pt x="12" y="22"/>
                  </a:lnTo>
                  <a:lnTo>
                    <a:pt x="12" y="22"/>
                  </a:lnTo>
                  <a:lnTo>
                    <a:pt x="12" y="20"/>
                  </a:lnTo>
                  <a:lnTo>
                    <a:pt x="14" y="16"/>
                  </a:lnTo>
                  <a:lnTo>
                    <a:pt x="14" y="16"/>
                  </a:lnTo>
                  <a:lnTo>
                    <a:pt x="18" y="12"/>
                  </a:lnTo>
                  <a:lnTo>
                    <a:pt x="20" y="12"/>
                  </a:lnTo>
                  <a:lnTo>
                    <a:pt x="22" y="12"/>
                  </a:lnTo>
                  <a:lnTo>
                    <a:pt x="22" y="12"/>
                  </a:lnTo>
                  <a:lnTo>
                    <a:pt x="28" y="14"/>
                  </a:lnTo>
                  <a:lnTo>
                    <a:pt x="32" y="16"/>
                  </a:lnTo>
                  <a:lnTo>
                    <a:pt x="52" y="0"/>
                  </a:lnTo>
                  <a:lnTo>
                    <a:pt x="60" y="24"/>
                  </a:lnTo>
                  <a:lnTo>
                    <a:pt x="60" y="26"/>
                  </a:lnTo>
                  <a:lnTo>
                    <a:pt x="32" y="34"/>
                  </a:lnTo>
                  <a:lnTo>
                    <a:pt x="42" y="48"/>
                  </a:lnTo>
                  <a:lnTo>
                    <a:pt x="42" y="48"/>
                  </a:lnTo>
                  <a:lnTo>
                    <a:pt x="38" y="50"/>
                  </a:lnTo>
                  <a:lnTo>
                    <a:pt x="36" y="52"/>
                  </a:lnTo>
                  <a:lnTo>
                    <a:pt x="34" y="54"/>
                  </a:lnTo>
                  <a:lnTo>
                    <a:pt x="34" y="54"/>
                  </a:lnTo>
                  <a:lnTo>
                    <a:pt x="32" y="56"/>
                  </a:lnTo>
                  <a:lnTo>
                    <a:pt x="28" y="60"/>
                  </a:lnTo>
                  <a:lnTo>
                    <a:pt x="28" y="60"/>
                  </a:lnTo>
                  <a:lnTo>
                    <a:pt x="26" y="64"/>
                  </a:lnTo>
                  <a:lnTo>
                    <a:pt x="24" y="64"/>
                  </a:lnTo>
                  <a:lnTo>
                    <a:pt x="14" y="72"/>
                  </a:lnTo>
                  <a:lnTo>
                    <a:pt x="0" y="72"/>
                  </a:lnTo>
                  <a:lnTo>
                    <a:pt x="0" y="72"/>
                  </a:lnTo>
                  <a:lnTo>
                    <a:pt x="0" y="70"/>
                  </a:lnTo>
                  <a:lnTo>
                    <a:pt x="0" y="70"/>
                  </a:lnTo>
                  <a:lnTo>
                    <a:pt x="4" y="64"/>
                  </a:lnTo>
                  <a:lnTo>
                    <a:pt x="8" y="58"/>
                  </a:lnTo>
                  <a:lnTo>
                    <a:pt x="8" y="54"/>
                  </a:lnTo>
                  <a:lnTo>
                    <a:pt x="8" y="54"/>
                  </a:lnTo>
                  <a:lnTo>
                    <a:pt x="8" y="48"/>
                  </a:lnTo>
                  <a:lnTo>
                    <a:pt x="10" y="44"/>
                  </a:lnTo>
                  <a:lnTo>
                    <a:pt x="12" y="38"/>
                  </a:lnTo>
                  <a:lnTo>
                    <a:pt x="12" y="38"/>
                  </a:lnTo>
                  <a:lnTo>
                    <a:pt x="12" y="32"/>
                  </a:lnTo>
                  <a:lnTo>
                    <a:pt x="12" y="32"/>
                  </a:lnTo>
                  <a:lnTo>
                    <a:pt x="12" y="30"/>
                  </a:lnTo>
                  <a:lnTo>
                    <a:pt x="12" y="30"/>
                  </a:lnTo>
                  <a:lnTo>
                    <a:pt x="12" y="30"/>
                  </a:lnTo>
                  <a:lnTo>
                    <a:pt x="12" y="30"/>
                  </a:lnTo>
                  <a:lnTo>
                    <a:pt x="10" y="24"/>
                  </a:lnTo>
                  <a:lnTo>
                    <a:pt x="10" y="2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8" name="Freeform 156"/>
            <p:cNvSpPr>
              <a:spLocks noChangeAspect="1"/>
            </p:cNvSpPr>
            <p:nvPr/>
          </p:nvSpPr>
          <p:spPr bwMode="gray">
            <a:xfrm>
              <a:off x="7311912" y="3447208"/>
              <a:ext cx="6801" cy="6580"/>
            </a:xfrm>
            <a:custGeom>
              <a:avLst/>
              <a:gdLst/>
              <a:ahLst/>
              <a:cxnLst>
                <a:cxn ang="0">
                  <a:pos x="2" y="0"/>
                </a:cxn>
                <a:cxn ang="0">
                  <a:pos x="2" y="0"/>
                </a:cxn>
                <a:cxn ang="0">
                  <a:pos x="4" y="0"/>
                </a:cxn>
                <a:cxn ang="0">
                  <a:pos x="4" y="2"/>
                </a:cxn>
                <a:cxn ang="0">
                  <a:pos x="4" y="4"/>
                </a:cxn>
                <a:cxn ang="0">
                  <a:pos x="4" y="4"/>
                </a:cxn>
                <a:cxn ang="0">
                  <a:pos x="0" y="4"/>
                </a:cxn>
                <a:cxn ang="0">
                  <a:pos x="0" y="4"/>
                </a:cxn>
                <a:cxn ang="0">
                  <a:pos x="0" y="2"/>
                </a:cxn>
                <a:cxn ang="0">
                  <a:pos x="0" y="0"/>
                </a:cxn>
                <a:cxn ang="0">
                  <a:pos x="0" y="0"/>
                </a:cxn>
                <a:cxn ang="0">
                  <a:pos x="2" y="0"/>
                </a:cxn>
              </a:cxnLst>
              <a:rect l="0" t="0" r="r" b="b"/>
              <a:pathLst>
                <a:path w="4" h="4">
                  <a:moveTo>
                    <a:pt x="2" y="0"/>
                  </a:moveTo>
                  <a:lnTo>
                    <a:pt x="2" y="0"/>
                  </a:lnTo>
                  <a:lnTo>
                    <a:pt x="4" y="0"/>
                  </a:lnTo>
                  <a:lnTo>
                    <a:pt x="4" y="2"/>
                  </a:lnTo>
                  <a:lnTo>
                    <a:pt x="4" y="4"/>
                  </a:lnTo>
                  <a:lnTo>
                    <a:pt x="4" y="4"/>
                  </a:lnTo>
                  <a:lnTo>
                    <a:pt x="0" y="4"/>
                  </a:lnTo>
                  <a:lnTo>
                    <a:pt x="0" y="4"/>
                  </a:lnTo>
                  <a:lnTo>
                    <a:pt x="0" y="2"/>
                  </a:lnTo>
                  <a:lnTo>
                    <a:pt x="0" y="0"/>
                  </a:lnTo>
                  <a:lnTo>
                    <a:pt x="0"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19" name="Freeform 157"/>
            <p:cNvSpPr>
              <a:spLocks noChangeAspect="1" noEditPoints="1"/>
            </p:cNvSpPr>
            <p:nvPr/>
          </p:nvSpPr>
          <p:spPr bwMode="gray">
            <a:xfrm>
              <a:off x="7230307" y="3118215"/>
              <a:ext cx="363825" cy="444141"/>
            </a:xfrm>
            <a:custGeom>
              <a:avLst/>
              <a:gdLst/>
              <a:ahLst/>
              <a:cxnLst>
                <a:cxn ang="0">
                  <a:pos x="10" y="222"/>
                </a:cxn>
                <a:cxn ang="0">
                  <a:pos x="2" y="226"/>
                </a:cxn>
                <a:cxn ang="0">
                  <a:pos x="4" y="242"/>
                </a:cxn>
                <a:cxn ang="0">
                  <a:pos x="6" y="246"/>
                </a:cxn>
                <a:cxn ang="0">
                  <a:pos x="14" y="244"/>
                </a:cxn>
                <a:cxn ang="0">
                  <a:pos x="14" y="244"/>
                </a:cxn>
                <a:cxn ang="0">
                  <a:pos x="6" y="262"/>
                </a:cxn>
                <a:cxn ang="0">
                  <a:pos x="14" y="260"/>
                </a:cxn>
                <a:cxn ang="0">
                  <a:pos x="20" y="266"/>
                </a:cxn>
                <a:cxn ang="0">
                  <a:pos x="24" y="250"/>
                </a:cxn>
                <a:cxn ang="0">
                  <a:pos x="26" y="230"/>
                </a:cxn>
                <a:cxn ang="0">
                  <a:pos x="14" y="218"/>
                </a:cxn>
                <a:cxn ang="0">
                  <a:pos x="44" y="218"/>
                </a:cxn>
                <a:cxn ang="0">
                  <a:pos x="34" y="228"/>
                </a:cxn>
                <a:cxn ang="0">
                  <a:pos x="44" y="242"/>
                </a:cxn>
                <a:cxn ang="0">
                  <a:pos x="50" y="232"/>
                </a:cxn>
                <a:cxn ang="0">
                  <a:pos x="62" y="230"/>
                </a:cxn>
                <a:cxn ang="0">
                  <a:pos x="62" y="212"/>
                </a:cxn>
                <a:cxn ang="0">
                  <a:pos x="136" y="96"/>
                </a:cxn>
                <a:cxn ang="0">
                  <a:pos x="134" y="112"/>
                </a:cxn>
                <a:cxn ang="0">
                  <a:pos x="134" y="132"/>
                </a:cxn>
                <a:cxn ang="0">
                  <a:pos x="116" y="154"/>
                </a:cxn>
                <a:cxn ang="0">
                  <a:pos x="102" y="166"/>
                </a:cxn>
                <a:cxn ang="0">
                  <a:pos x="92" y="162"/>
                </a:cxn>
                <a:cxn ang="0">
                  <a:pos x="96" y="156"/>
                </a:cxn>
                <a:cxn ang="0">
                  <a:pos x="84" y="188"/>
                </a:cxn>
                <a:cxn ang="0">
                  <a:pos x="68" y="190"/>
                </a:cxn>
                <a:cxn ang="0">
                  <a:pos x="52" y="196"/>
                </a:cxn>
                <a:cxn ang="0">
                  <a:pos x="44" y="196"/>
                </a:cxn>
                <a:cxn ang="0">
                  <a:pos x="34" y="208"/>
                </a:cxn>
                <a:cxn ang="0">
                  <a:pos x="16" y="216"/>
                </a:cxn>
                <a:cxn ang="0">
                  <a:pos x="52" y="212"/>
                </a:cxn>
                <a:cxn ang="0">
                  <a:pos x="76" y="208"/>
                </a:cxn>
                <a:cxn ang="0">
                  <a:pos x="74" y="226"/>
                </a:cxn>
                <a:cxn ang="0">
                  <a:pos x="94" y="216"/>
                </a:cxn>
                <a:cxn ang="0">
                  <a:pos x="102" y="210"/>
                </a:cxn>
                <a:cxn ang="0">
                  <a:pos x="108" y="208"/>
                </a:cxn>
                <a:cxn ang="0">
                  <a:pos x="124" y="204"/>
                </a:cxn>
                <a:cxn ang="0">
                  <a:pos x="134" y="202"/>
                </a:cxn>
                <a:cxn ang="0">
                  <a:pos x="142" y="192"/>
                </a:cxn>
                <a:cxn ang="0">
                  <a:pos x="150" y="190"/>
                </a:cxn>
                <a:cxn ang="0">
                  <a:pos x="148" y="166"/>
                </a:cxn>
                <a:cxn ang="0">
                  <a:pos x="156" y="130"/>
                </a:cxn>
                <a:cxn ang="0">
                  <a:pos x="160" y="102"/>
                </a:cxn>
                <a:cxn ang="0">
                  <a:pos x="148" y="86"/>
                </a:cxn>
                <a:cxn ang="0">
                  <a:pos x="160" y="14"/>
                </a:cxn>
                <a:cxn ang="0">
                  <a:pos x="158" y="34"/>
                </a:cxn>
                <a:cxn ang="0">
                  <a:pos x="148" y="46"/>
                </a:cxn>
                <a:cxn ang="0">
                  <a:pos x="136" y="62"/>
                </a:cxn>
                <a:cxn ang="0">
                  <a:pos x="148" y="72"/>
                </a:cxn>
                <a:cxn ang="0">
                  <a:pos x="152" y="58"/>
                </a:cxn>
                <a:cxn ang="0">
                  <a:pos x="164" y="58"/>
                </a:cxn>
                <a:cxn ang="0">
                  <a:pos x="192" y="52"/>
                </a:cxn>
                <a:cxn ang="0">
                  <a:pos x="210" y="50"/>
                </a:cxn>
                <a:cxn ang="0">
                  <a:pos x="210" y="34"/>
                </a:cxn>
                <a:cxn ang="0">
                  <a:pos x="182" y="30"/>
                </a:cxn>
                <a:cxn ang="0">
                  <a:pos x="162" y="0"/>
                </a:cxn>
              </a:cxnLst>
              <a:rect l="0" t="0" r="r" b="b"/>
              <a:pathLst>
                <a:path w="214" h="270">
                  <a:moveTo>
                    <a:pt x="14" y="218"/>
                  </a:moveTo>
                  <a:lnTo>
                    <a:pt x="14" y="218"/>
                  </a:lnTo>
                  <a:lnTo>
                    <a:pt x="12" y="218"/>
                  </a:lnTo>
                  <a:lnTo>
                    <a:pt x="12" y="220"/>
                  </a:lnTo>
                  <a:lnTo>
                    <a:pt x="12" y="224"/>
                  </a:lnTo>
                  <a:lnTo>
                    <a:pt x="12" y="224"/>
                  </a:lnTo>
                  <a:lnTo>
                    <a:pt x="12" y="224"/>
                  </a:lnTo>
                  <a:lnTo>
                    <a:pt x="10" y="222"/>
                  </a:lnTo>
                  <a:lnTo>
                    <a:pt x="10" y="222"/>
                  </a:lnTo>
                  <a:lnTo>
                    <a:pt x="8" y="222"/>
                  </a:lnTo>
                  <a:lnTo>
                    <a:pt x="8" y="222"/>
                  </a:lnTo>
                  <a:lnTo>
                    <a:pt x="8" y="226"/>
                  </a:lnTo>
                  <a:lnTo>
                    <a:pt x="8" y="226"/>
                  </a:lnTo>
                  <a:lnTo>
                    <a:pt x="6" y="226"/>
                  </a:lnTo>
                  <a:lnTo>
                    <a:pt x="4" y="228"/>
                  </a:lnTo>
                  <a:lnTo>
                    <a:pt x="4" y="228"/>
                  </a:lnTo>
                  <a:lnTo>
                    <a:pt x="4" y="226"/>
                  </a:lnTo>
                  <a:lnTo>
                    <a:pt x="2" y="226"/>
                  </a:lnTo>
                  <a:lnTo>
                    <a:pt x="2" y="226"/>
                  </a:lnTo>
                  <a:lnTo>
                    <a:pt x="0" y="228"/>
                  </a:lnTo>
                  <a:lnTo>
                    <a:pt x="2" y="234"/>
                  </a:lnTo>
                  <a:lnTo>
                    <a:pt x="2" y="234"/>
                  </a:lnTo>
                  <a:lnTo>
                    <a:pt x="4" y="236"/>
                  </a:lnTo>
                  <a:lnTo>
                    <a:pt x="6" y="238"/>
                  </a:lnTo>
                  <a:lnTo>
                    <a:pt x="6" y="238"/>
                  </a:lnTo>
                  <a:lnTo>
                    <a:pt x="6" y="242"/>
                  </a:lnTo>
                  <a:lnTo>
                    <a:pt x="4" y="242"/>
                  </a:lnTo>
                  <a:lnTo>
                    <a:pt x="4" y="240"/>
                  </a:lnTo>
                  <a:lnTo>
                    <a:pt x="4" y="238"/>
                  </a:lnTo>
                  <a:lnTo>
                    <a:pt x="4" y="238"/>
                  </a:lnTo>
                  <a:lnTo>
                    <a:pt x="2" y="240"/>
                  </a:lnTo>
                  <a:lnTo>
                    <a:pt x="2" y="242"/>
                  </a:lnTo>
                  <a:lnTo>
                    <a:pt x="4" y="244"/>
                  </a:lnTo>
                  <a:lnTo>
                    <a:pt x="4" y="244"/>
                  </a:lnTo>
                  <a:lnTo>
                    <a:pt x="6" y="246"/>
                  </a:lnTo>
                  <a:lnTo>
                    <a:pt x="6" y="246"/>
                  </a:lnTo>
                  <a:lnTo>
                    <a:pt x="8" y="246"/>
                  </a:lnTo>
                  <a:lnTo>
                    <a:pt x="8" y="244"/>
                  </a:lnTo>
                  <a:lnTo>
                    <a:pt x="8" y="244"/>
                  </a:lnTo>
                  <a:lnTo>
                    <a:pt x="10" y="246"/>
                  </a:lnTo>
                  <a:lnTo>
                    <a:pt x="12" y="246"/>
                  </a:lnTo>
                  <a:lnTo>
                    <a:pt x="12" y="246"/>
                  </a:lnTo>
                  <a:lnTo>
                    <a:pt x="12" y="246"/>
                  </a:lnTo>
                  <a:lnTo>
                    <a:pt x="14" y="244"/>
                  </a:lnTo>
                  <a:lnTo>
                    <a:pt x="14" y="244"/>
                  </a:lnTo>
                  <a:lnTo>
                    <a:pt x="10" y="236"/>
                  </a:lnTo>
                  <a:lnTo>
                    <a:pt x="10" y="236"/>
                  </a:lnTo>
                  <a:lnTo>
                    <a:pt x="14" y="236"/>
                  </a:lnTo>
                  <a:lnTo>
                    <a:pt x="14" y="236"/>
                  </a:lnTo>
                  <a:lnTo>
                    <a:pt x="14" y="238"/>
                  </a:lnTo>
                  <a:lnTo>
                    <a:pt x="16" y="242"/>
                  </a:lnTo>
                  <a:lnTo>
                    <a:pt x="16" y="242"/>
                  </a:lnTo>
                  <a:lnTo>
                    <a:pt x="16" y="244"/>
                  </a:lnTo>
                  <a:lnTo>
                    <a:pt x="14" y="244"/>
                  </a:lnTo>
                  <a:lnTo>
                    <a:pt x="14" y="244"/>
                  </a:lnTo>
                  <a:lnTo>
                    <a:pt x="12" y="248"/>
                  </a:lnTo>
                  <a:lnTo>
                    <a:pt x="8" y="252"/>
                  </a:lnTo>
                  <a:lnTo>
                    <a:pt x="8" y="252"/>
                  </a:lnTo>
                  <a:lnTo>
                    <a:pt x="6" y="258"/>
                  </a:lnTo>
                  <a:lnTo>
                    <a:pt x="6" y="258"/>
                  </a:lnTo>
                  <a:lnTo>
                    <a:pt x="8" y="260"/>
                  </a:lnTo>
                  <a:lnTo>
                    <a:pt x="8" y="260"/>
                  </a:lnTo>
                  <a:lnTo>
                    <a:pt x="6" y="262"/>
                  </a:lnTo>
                  <a:lnTo>
                    <a:pt x="6" y="264"/>
                  </a:lnTo>
                  <a:lnTo>
                    <a:pt x="6" y="264"/>
                  </a:lnTo>
                  <a:lnTo>
                    <a:pt x="10" y="266"/>
                  </a:lnTo>
                  <a:lnTo>
                    <a:pt x="10" y="266"/>
                  </a:lnTo>
                  <a:lnTo>
                    <a:pt x="10" y="266"/>
                  </a:lnTo>
                  <a:lnTo>
                    <a:pt x="12" y="260"/>
                  </a:lnTo>
                  <a:lnTo>
                    <a:pt x="12" y="260"/>
                  </a:lnTo>
                  <a:lnTo>
                    <a:pt x="12" y="258"/>
                  </a:lnTo>
                  <a:lnTo>
                    <a:pt x="14" y="260"/>
                  </a:lnTo>
                  <a:lnTo>
                    <a:pt x="14" y="262"/>
                  </a:lnTo>
                  <a:lnTo>
                    <a:pt x="14" y="262"/>
                  </a:lnTo>
                  <a:lnTo>
                    <a:pt x="14" y="262"/>
                  </a:lnTo>
                  <a:lnTo>
                    <a:pt x="14" y="266"/>
                  </a:lnTo>
                  <a:lnTo>
                    <a:pt x="14" y="270"/>
                  </a:lnTo>
                  <a:lnTo>
                    <a:pt x="14" y="270"/>
                  </a:lnTo>
                  <a:lnTo>
                    <a:pt x="16" y="270"/>
                  </a:lnTo>
                  <a:lnTo>
                    <a:pt x="16" y="270"/>
                  </a:lnTo>
                  <a:lnTo>
                    <a:pt x="20" y="266"/>
                  </a:lnTo>
                  <a:lnTo>
                    <a:pt x="20" y="266"/>
                  </a:lnTo>
                  <a:lnTo>
                    <a:pt x="20" y="266"/>
                  </a:lnTo>
                  <a:lnTo>
                    <a:pt x="20" y="264"/>
                  </a:lnTo>
                  <a:lnTo>
                    <a:pt x="20" y="264"/>
                  </a:lnTo>
                  <a:lnTo>
                    <a:pt x="24" y="262"/>
                  </a:lnTo>
                  <a:lnTo>
                    <a:pt x="24" y="262"/>
                  </a:lnTo>
                  <a:lnTo>
                    <a:pt x="24" y="256"/>
                  </a:lnTo>
                  <a:lnTo>
                    <a:pt x="24" y="250"/>
                  </a:lnTo>
                  <a:lnTo>
                    <a:pt x="24" y="250"/>
                  </a:lnTo>
                  <a:lnTo>
                    <a:pt x="28" y="244"/>
                  </a:lnTo>
                  <a:lnTo>
                    <a:pt x="32" y="238"/>
                  </a:lnTo>
                  <a:lnTo>
                    <a:pt x="32" y="238"/>
                  </a:lnTo>
                  <a:lnTo>
                    <a:pt x="28" y="236"/>
                  </a:lnTo>
                  <a:lnTo>
                    <a:pt x="28" y="236"/>
                  </a:lnTo>
                  <a:lnTo>
                    <a:pt x="28" y="232"/>
                  </a:lnTo>
                  <a:lnTo>
                    <a:pt x="28" y="232"/>
                  </a:lnTo>
                  <a:lnTo>
                    <a:pt x="26" y="232"/>
                  </a:lnTo>
                  <a:lnTo>
                    <a:pt x="26" y="230"/>
                  </a:lnTo>
                  <a:lnTo>
                    <a:pt x="26" y="224"/>
                  </a:lnTo>
                  <a:lnTo>
                    <a:pt x="26" y="224"/>
                  </a:lnTo>
                  <a:lnTo>
                    <a:pt x="20" y="224"/>
                  </a:lnTo>
                  <a:lnTo>
                    <a:pt x="20" y="224"/>
                  </a:lnTo>
                  <a:lnTo>
                    <a:pt x="20" y="222"/>
                  </a:lnTo>
                  <a:lnTo>
                    <a:pt x="20" y="220"/>
                  </a:lnTo>
                  <a:lnTo>
                    <a:pt x="20" y="220"/>
                  </a:lnTo>
                  <a:lnTo>
                    <a:pt x="14" y="218"/>
                  </a:lnTo>
                  <a:lnTo>
                    <a:pt x="14" y="218"/>
                  </a:lnTo>
                  <a:close/>
                  <a:moveTo>
                    <a:pt x="58" y="212"/>
                  </a:moveTo>
                  <a:lnTo>
                    <a:pt x="58" y="212"/>
                  </a:lnTo>
                  <a:lnTo>
                    <a:pt x="54" y="212"/>
                  </a:lnTo>
                  <a:lnTo>
                    <a:pt x="54" y="212"/>
                  </a:lnTo>
                  <a:lnTo>
                    <a:pt x="54" y="216"/>
                  </a:lnTo>
                  <a:lnTo>
                    <a:pt x="52" y="218"/>
                  </a:lnTo>
                  <a:lnTo>
                    <a:pt x="52" y="218"/>
                  </a:lnTo>
                  <a:lnTo>
                    <a:pt x="48" y="218"/>
                  </a:lnTo>
                  <a:lnTo>
                    <a:pt x="44" y="218"/>
                  </a:lnTo>
                  <a:lnTo>
                    <a:pt x="44" y="218"/>
                  </a:lnTo>
                  <a:lnTo>
                    <a:pt x="42" y="222"/>
                  </a:lnTo>
                  <a:lnTo>
                    <a:pt x="42" y="222"/>
                  </a:lnTo>
                  <a:lnTo>
                    <a:pt x="38" y="228"/>
                  </a:lnTo>
                  <a:lnTo>
                    <a:pt x="38" y="228"/>
                  </a:lnTo>
                  <a:lnTo>
                    <a:pt x="36" y="228"/>
                  </a:lnTo>
                  <a:lnTo>
                    <a:pt x="36" y="228"/>
                  </a:lnTo>
                  <a:lnTo>
                    <a:pt x="36" y="228"/>
                  </a:lnTo>
                  <a:lnTo>
                    <a:pt x="34" y="228"/>
                  </a:lnTo>
                  <a:lnTo>
                    <a:pt x="36" y="230"/>
                  </a:lnTo>
                  <a:lnTo>
                    <a:pt x="40" y="234"/>
                  </a:lnTo>
                  <a:lnTo>
                    <a:pt x="40" y="234"/>
                  </a:lnTo>
                  <a:lnTo>
                    <a:pt x="40" y="234"/>
                  </a:lnTo>
                  <a:lnTo>
                    <a:pt x="40" y="236"/>
                  </a:lnTo>
                  <a:lnTo>
                    <a:pt x="42" y="240"/>
                  </a:lnTo>
                  <a:lnTo>
                    <a:pt x="42" y="240"/>
                  </a:lnTo>
                  <a:lnTo>
                    <a:pt x="44" y="242"/>
                  </a:lnTo>
                  <a:lnTo>
                    <a:pt x="44" y="242"/>
                  </a:lnTo>
                  <a:lnTo>
                    <a:pt x="44" y="244"/>
                  </a:lnTo>
                  <a:lnTo>
                    <a:pt x="44" y="244"/>
                  </a:lnTo>
                  <a:lnTo>
                    <a:pt x="46" y="244"/>
                  </a:lnTo>
                  <a:lnTo>
                    <a:pt x="46" y="244"/>
                  </a:lnTo>
                  <a:lnTo>
                    <a:pt x="48" y="240"/>
                  </a:lnTo>
                  <a:lnTo>
                    <a:pt x="48" y="240"/>
                  </a:lnTo>
                  <a:lnTo>
                    <a:pt x="48" y="236"/>
                  </a:lnTo>
                  <a:lnTo>
                    <a:pt x="50" y="232"/>
                  </a:lnTo>
                  <a:lnTo>
                    <a:pt x="50" y="232"/>
                  </a:lnTo>
                  <a:lnTo>
                    <a:pt x="54" y="232"/>
                  </a:lnTo>
                  <a:lnTo>
                    <a:pt x="54" y="232"/>
                  </a:lnTo>
                  <a:lnTo>
                    <a:pt x="56" y="230"/>
                  </a:lnTo>
                  <a:lnTo>
                    <a:pt x="58" y="228"/>
                  </a:lnTo>
                  <a:lnTo>
                    <a:pt x="58" y="228"/>
                  </a:lnTo>
                  <a:lnTo>
                    <a:pt x="58" y="232"/>
                  </a:lnTo>
                  <a:lnTo>
                    <a:pt x="58" y="232"/>
                  </a:lnTo>
                  <a:lnTo>
                    <a:pt x="62" y="230"/>
                  </a:lnTo>
                  <a:lnTo>
                    <a:pt x="62" y="230"/>
                  </a:lnTo>
                  <a:lnTo>
                    <a:pt x="62" y="228"/>
                  </a:lnTo>
                  <a:lnTo>
                    <a:pt x="62" y="228"/>
                  </a:lnTo>
                  <a:lnTo>
                    <a:pt x="66" y="224"/>
                  </a:lnTo>
                  <a:lnTo>
                    <a:pt x="66" y="224"/>
                  </a:lnTo>
                  <a:lnTo>
                    <a:pt x="66" y="220"/>
                  </a:lnTo>
                  <a:lnTo>
                    <a:pt x="66" y="220"/>
                  </a:lnTo>
                  <a:lnTo>
                    <a:pt x="62" y="218"/>
                  </a:lnTo>
                  <a:lnTo>
                    <a:pt x="62" y="218"/>
                  </a:lnTo>
                  <a:lnTo>
                    <a:pt x="62" y="212"/>
                  </a:lnTo>
                  <a:lnTo>
                    <a:pt x="62" y="212"/>
                  </a:lnTo>
                  <a:lnTo>
                    <a:pt x="58" y="212"/>
                  </a:lnTo>
                  <a:lnTo>
                    <a:pt x="58" y="212"/>
                  </a:lnTo>
                  <a:close/>
                  <a:moveTo>
                    <a:pt x="146" y="84"/>
                  </a:moveTo>
                  <a:lnTo>
                    <a:pt x="146" y="84"/>
                  </a:lnTo>
                  <a:lnTo>
                    <a:pt x="142" y="84"/>
                  </a:lnTo>
                  <a:lnTo>
                    <a:pt x="142" y="84"/>
                  </a:lnTo>
                  <a:lnTo>
                    <a:pt x="142" y="92"/>
                  </a:lnTo>
                  <a:lnTo>
                    <a:pt x="136" y="96"/>
                  </a:lnTo>
                  <a:lnTo>
                    <a:pt x="136" y="96"/>
                  </a:lnTo>
                  <a:lnTo>
                    <a:pt x="136" y="98"/>
                  </a:lnTo>
                  <a:lnTo>
                    <a:pt x="138" y="98"/>
                  </a:lnTo>
                  <a:lnTo>
                    <a:pt x="138" y="98"/>
                  </a:lnTo>
                  <a:lnTo>
                    <a:pt x="138" y="106"/>
                  </a:lnTo>
                  <a:lnTo>
                    <a:pt x="132" y="112"/>
                  </a:lnTo>
                  <a:lnTo>
                    <a:pt x="132" y="112"/>
                  </a:lnTo>
                  <a:lnTo>
                    <a:pt x="134" y="112"/>
                  </a:lnTo>
                  <a:lnTo>
                    <a:pt x="134" y="112"/>
                  </a:lnTo>
                  <a:lnTo>
                    <a:pt x="134" y="112"/>
                  </a:lnTo>
                  <a:lnTo>
                    <a:pt x="140" y="110"/>
                  </a:lnTo>
                  <a:lnTo>
                    <a:pt x="140" y="110"/>
                  </a:lnTo>
                  <a:lnTo>
                    <a:pt x="138" y="116"/>
                  </a:lnTo>
                  <a:lnTo>
                    <a:pt x="138" y="120"/>
                  </a:lnTo>
                  <a:lnTo>
                    <a:pt x="138" y="120"/>
                  </a:lnTo>
                  <a:lnTo>
                    <a:pt x="134" y="124"/>
                  </a:lnTo>
                  <a:lnTo>
                    <a:pt x="134" y="124"/>
                  </a:lnTo>
                  <a:lnTo>
                    <a:pt x="134" y="132"/>
                  </a:lnTo>
                  <a:lnTo>
                    <a:pt x="134" y="132"/>
                  </a:lnTo>
                  <a:lnTo>
                    <a:pt x="130" y="134"/>
                  </a:lnTo>
                  <a:lnTo>
                    <a:pt x="130" y="134"/>
                  </a:lnTo>
                  <a:lnTo>
                    <a:pt x="128" y="140"/>
                  </a:lnTo>
                  <a:lnTo>
                    <a:pt x="128" y="140"/>
                  </a:lnTo>
                  <a:lnTo>
                    <a:pt x="120" y="150"/>
                  </a:lnTo>
                  <a:lnTo>
                    <a:pt x="120" y="150"/>
                  </a:lnTo>
                  <a:lnTo>
                    <a:pt x="118" y="152"/>
                  </a:lnTo>
                  <a:lnTo>
                    <a:pt x="116" y="154"/>
                  </a:lnTo>
                  <a:lnTo>
                    <a:pt x="116" y="154"/>
                  </a:lnTo>
                  <a:lnTo>
                    <a:pt x="114" y="158"/>
                  </a:lnTo>
                  <a:lnTo>
                    <a:pt x="114" y="160"/>
                  </a:lnTo>
                  <a:lnTo>
                    <a:pt x="112" y="162"/>
                  </a:lnTo>
                  <a:lnTo>
                    <a:pt x="112" y="164"/>
                  </a:lnTo>
                  <a:lnTo>
                    <a:pt x="112" y="164"/>
                  </a:lnTo>
                  <a:lnTo>
                    <a:pt x="108" y="164"/>
                  </a:lnTo>
                  <a:lnTo>
                    <a:pt x="108" y="164"/>
                  </a:lnTo>
                  <a:lnTo>
                    <a:pt x="102" y="166"/>
                  </a:lnTo>
                  <a:lnTo>
                    <a:pt x="98" y="170"/>
                  </a:lnTo>
                  <a:lnTo>
                    <a:pt x="98" y="170"/>
                  </a:lnTo>
                  <a:lnTo>
                    <a:pt x="94" y="168"/>
                  </a:lnTo>
                  <a:lnTo>
                    <a:pt x="94" y="168"/>
                  </a:lnTo>
                  <a:lnTo>
                    <a:pt x="94" y="166"/>
                  </a:lnTo>
                  <a:lnTo>
                    <a:pt x="94" y="166"/>
                  </a:lnTo>
                  <a:lnTo>
                    <a:pt x="92" y="166"/>
                  </a:lnTo>
                  <a:lnTo>
                    <a:pt x="92" y="164"/>
                  </a:lnTo>
                  <a:lnTo>
                    <a:pt x="92" y="162"/>
                  </a:lnTo>
                  <a:lnTo>
                    <a:pt x="92" y="162"/>
                  </a:lnTo>
                  <a:lnTo>
                    <a:pt x="96" y="160"/>
                  </a:lnTo>
                  <a:lnTo>
                    <a:pt x="98" y="158"/>
                  </a:lnTo>
                  <a:lnTo>
                    <a:pt x="98" y="158"/>
                  </a:lnTo>
                  <a:lnTo>
                    <a:pt x="98" y="156"/>
                  </a:lnTo>
                  <a:lnTo>
                    <a:pt x="98" y="156"/>
                  </a:lnTo>
                  <a:lnTo>
                    <a:pt x="98" y="154"/>
                  </a:lnTo>
                  <a:lnTo>
                    <a:pt x="96" y="156"/>
                  </a:lnTo>
                  <a:lnTo>
                    <a:pt x="96" y="156"/>
                  </a:lnTo>
                  <a:lnTo>
                    <a:pt x="92" y="158"/>
                  </a:lnTo>
                  <a:lnTo>
                    <a:pt x="90" y="162"/>
                  </a:lnTo>
                  <a:lnTo>
                    <a:pt x="90" y="162"/>
                  </a:lnTo>
                  <a:lnTo>
                    <a:pt x="90" y="166"/>
                  </a:lnTo>
                  <a:lnTo>
                    <a:pt x="90" y="170"/>
                  </a:lnTo>
                  <a:lnTo>
                    <a:pt x="90" y="170"/>
                  </a:lnTo>
                  <a:lnTo>
                    <a:pt x="84" y="180"/>
                  </a:lnTo>
                  <a:lnTo>
                    <a:pt x="84" y="180"/>
                  </a:lnTo>
                  <a:lnTo>
                    <a:pt x="84" y="188"/>
                  </a:lnTo>
                  <a:lnTo>
                    <a:pt x="84" y="188"/>
                  </a:lnTo>
                  <a:lnTo>
                    <a:pt x="84" y="190"/>
                  </a:lnTo>
                  <a:lnTo>
                    <a:pt x="84" y="190"/>
                  </a:lnTo>
                  <a:lnTo>
                    <a:pt x="80" y="192"/>
                  </a:lnTo>
                  <a:lnTo>
                    <a:pt x="78" y="194"/>
                  </a:lnTo>
                  <a:lnTo>
                    <a:pt x="72" y="192"/>
                  </a:lnTo>
                  <a:lnTo>
                    <a:pt x="72" y="190"/>
                  </a:lnTo>
                  <a:lnTo>
                    <a:pt x="72" y="190"/>
                  </a:lnTo>
                  <a:lnTo>
                    <a:pt x="68" y="190"/>
                  </a:lnTo>
                  <a:lnTo>
                    <a:pt x="64" y="190"/>
                  </a:lnTo>
                  <a:lnTo>
                    <a:pt x="60" y="194"/>
                  </a:lnTo>
                  <a:lnTo>
                    <a:pt x="60" y="194"/>
                  </a:lnTo>
                  <a:lnTo>
                    <a:pt x="54" y="194"/>
                  </a:lnTo>
                  <a:lnTo>
                    <a:pt x="50" y="192"/>
                  </a:lnTo>
                  <a:lnTo>
                    <a:pt x="50" y="192"/>
                  </a:lnTo>
                  <a:lnTo>
                    <a:pt x="50" y="194"/>
                  </a:lnTo>
                  <a:lnTo>
                    <a:pt x="50" y="196"/>
                  </a:lnTo>
                  <a:lnTo>
                    <a:pt x="52" y="196"/>
                  </a:lnTo>
                  <a:lnTo>
                    <a:pt x="52" y="196"/>
                  </a:lnTo>
                  <a:lnTo>
                    <a:pt x="52" y="198"/>
                  </a:lnTo>
                  <a:lnTo>
                    <a:pt x="50" y="198"/>
                  </a:lnTo>
                  <a:lnTo>
                    <a:pt x="48" y="198"/>
                  </a:lnTo>
                  <a:lnTo>
                    <a:pt x="48" y="198"/>
                  </a:lnTo>
                  <a:lnTo>
                    <a:pt x="48" y="194"/>
                  </a:lnTo>
                  <a:lnTo>
                    <a:pt x="46" y="194"/>
                  </a:lnTo>
                  <a:lnTo>
                    <a:pt x="46" y="194"/>
                  </a:lnTo>
                  <a:lnTo>
                    <a:pt x="44" y="196"/>
                  </a:lnTo>
                  <a:lnTo>
                    <a:pt x="44" y="196"/>
                  </a:lnTo>
                  <a:lnTo>
                    <a:pt x="42" y="198"/>
                  </a:lnTo>
                  <a:lnTo>
                    <a:pt x="42" y="200"/>
                  </a:lnTo>
                  <a:lnTo>
                    <a:pt x="42" y="200"/>
                  </a:lnTo>
                  <a:lnTo>
                    <a:pt x="38" y="202"/>
                  </a:lnTo>
                  <a:lnTo>
                    <a:pt x="36" y="202"/>
                  </a:lnTo>
                  <a:lnTo>
                    <a:pt x="36" y="202"/>
                  </a:lnTo>
                  <a:lnTo>
                    <a:pt x="36" y="206"/>
                  </a:lnTo>
                  <a:lnTo>
                    <a:pt x="34" y="208"/>
                  </a:lnTo>
                  <a:lnTo>
                    <a:pt x="34" y="208"/>
                  </a:lnTo>
                  <a:lnTo>
                    <a:pt x="28" y="212"/>
                  </a:lnTo>
                  <a:lnTo>
                    <a:pt x="22" y="212"/>
                  </a:lnTo>
                  <a:lnTo>
                    <a:pt x="22" y="212"/>
                  </a:lnTo>
                  <a:lnTo>
                    <a:pt x="20" y="212"/>
                  </a:lnTo>
                  <a:lnTo>
                    <a:pt x="20" y="210"/>
                  </a:lnTo>
                  <a:lnTo>
                    <a:pt x="20" y="210"/>
                  </a:lnTo>
                  <a:lnTo>
                    <a:pt x="16" y="216"/>
                  </a:lnTo>
                  <a:lnTo>
                    <a:pt x="16" y="216"/>
                  </a:lnTo>
                  <a:lnTo>
                    <a:pt x="26" y="218"/>
                  </a:lnTo>
                  <a:lnTo>
                    <a:pt x="36" y="218"/>
                  </a:lnTo>
                  <a:lnTo>
                    <a:pt x="36" y="218"/>
                  </a:lnTo>
                  <a:lnTo>
                    <a:pt x="36" y="216"/>
                  </a:lnTo>
                  <a:lnTo>
                    <a:pt x="38" y="212"/>
                  </a:lnTo>
                  <a:lnTo>
                    <a:pt x="38" y="212"/>
                  </a:lnTo>
                  <a:lnTo>
                    <a:pt x="44" y="214"/>
                  </a:lnTo>
                  <a:lnTo>
                    <a:pt x="52" y="212"/>
                  </a:lnTo>
                  <a:lnTo>
                    <a:pt x="52" y="212"/>
                  </a:lnTo>
                  <a:lnTo>
                    <a:pt x="56" y="208"/>
                  </a:lnTo>
                  <a:lnTo>
                    <a:pt x="56" y="208"/>
                  </a:lnTo>
                  <a:lnTo>
                    <a:pt x="58" y="210"/>
                  </a:lnTo>
                  <a:lnTo>
                    <a:pt x="60" y="210"/>
                  </a:lnTo>
                  <a:lnTo>
                    <a:pt x="60" y="210"/>
                  </a:lnTo>
                  <a:lnTo>
                    <a:pt x="64" y="206"/>
                  </a:lnTo>
                  <a:lnTo>
                    <a:pt x="64" y="206"/>
                  </a:lnTo>
                  <a:lnTo>
                    <a:pt x="76" y="208"/>
                  </a:lnTo>
                  <a:lnTo>
                    <a:pt x="76" y="208"/>
                  </a:lnTo>
                  <a:lnTo>
                    <a:pt x="74" y="212"/>
                  </a:lnTo>
                  <a:lnTo>
                    <a:pt x="74" y="212"/>
                  </a:lnTo>
                  <a:lnTo>
                    <a:pt x="72" y="214"/>
                  </a:lnTo>
                  <a:lnTo>
                    <a:pt x="72" y="220"/>
                  </a:lnTo>
                  <a:lnTo>
                    <a:pt x="72" y="220"/>
                  </a:lnTo>
                  <a:lnTo>
                    <a:pt x="70" y="220"/>
                  </a:lnTo>
                  <a:lnTo>
                    <a:pt x="70" y="220"/>
                  </a:lnTo>
                  <a:lnTo>
                    <a:pt x="70" y="220"/>
                  </a:lnTo>
                  <a:lnTo>
                    <a:pt x="74" y="226"/>
                  </a:lnTo>
                  <a:lnTo>
                    <a:pt x="76" y="228"/>
                  </a:lnTo>
                  <a:lnTo>
                    <a:pt x="80" y="228"/>
                  </a:lnTo>
                  <a:lnTo>
                    <a:pt x="80" y="228"/>
                  </a:lnTo>
                  <a:lnTo>
                    <a:pt x="82" y="228"/>
                  </a:lnTo>
                  <a:lnTo>
                    <a:pt x="84" y="224"/>
                  </a:lnTo>
                  <a:lnTo>
                    <a:pt x="88" y="220"/>
                  </a:lnTo>
                  <a:lnTo>
                    <a:pt x="88" y="220"/>
                  </a:lnTo>
                  <a:lnTo>
                    <a:pt x="94" y="216"/>
                  </a:lnTo>
                  <a:lnTo>
                    <a:pt x="94" y="216"/>
                  </a:lnTo>
                  <a:lnTo>
                    <a:pt x="92" y="210"/>
                  </a:lnTo>
                  <a:lnTo>
                    <a:pt x="92" y="210"/>
                  </a:lnTo>
                  <a:lnTo>
                    <a:pt x="92" y="210"/>
                  </a:lnTo>
                  <a:lnTo>
                    <a:pt x="92" y="208"/>
                  </a:lnTo>
                  <a:lnTo>
                    <a:pt x="92" y="208"/>
                  </a:lnTo>
                  <a:lnTo>
                    <a:pt x="96" y="208"/>
                  </a:lnTo>
                  <a:lnTo>
                    <a:pt x="96" y="208"/>
                  </a:lnTo>
                  <a:lnTo>
                    <a:pt x="102" y="208"/>
                  </a:lnTo>
                  <a:lnTo>
                    <a:pt x="102" y="210"/>
                  </a:lnTo>
                  <a:lnTo>
                    <a:pt x="102" y="210"/>
                  </a:lnTo>
                  <a:lnTo>
                    <a:pt x="102" y="210"/>
                  </a:lnTo>
                  <a:lnTo>
                    <a:pt x="100" y="212"/>
                  </a:lnTo>
                  <a:lnTo>
                    <a:pt x="100" y="212"/>
                  </a:lnTo>
                  <a:lnTo>
                    <a:pt x="100" y="212"/>
                  </a:lnTo>
                  <a:lnTo>
                    <a:pt x="106" y="212"/>
                  </a:lnTo>
                  <a:lnTo>
                    <a:pt x="106" y="212"/>
                  </a:lnTo>
                  <a:lnTo>
                    <a:pt x="108" y="208"/>
                  </a:lnTo>
                  <a:lnTo>
                    <a:pt x="108" y="208"/>
                  </a:lnTo>
                  <a:lnTo>
                    <a:pt x="110" y="210"/>
                  </a:lnTo>
                  <a:lnTo>
                    <a:pt x="116" y="210"/>
                  </a:lnTo>
                  <a:lnTo>
                    <a:pt x="116" y="210"/>
                  </a:lnTo>
                  <a:lnTo>
                    <a:pt x="116" y="208"/>
                  </a:lnTo>
                  <a:lnTo>
                    <a:pt x="116" y="208"/>
                  </a:lnTo>
                  <a:lnTo>
                    <a:pt x="120" y="208"/>
                  </a:lnTo>
                  <a:lnTo>
                    <a:pt x="120" y="208"/>
                  </a:lnTo>
                  <a:lnTo>
                    <a:pt x="124" y="204"/>
                  </a:lnTo>
                  <a:lnTo>
                    <a:pt x="124" y="204"/>
                  </a:lnTo>
                  <a:lnTo>
                    <a:pt x="124" y="212"/>
                  </a:lnTo>
                  <a:lnTo>
                    <a:pt x="126" y="212"/>
                  </a:lnTo>
                  <a:lnTo>
                    <a:pt x="126" y="212"/>
                  </a:lnTo>
                  <a:lnTo>
                    <a:pt x="128" y="202"/>
                  </a:lnTo>
                  <a:lnTo>
                    <a:pt x="132" y="200"/>
                  </a:lnTo>
                  <a:lnTo>
                    <a:pt x="132" y="200"/>
                  </a:lnTo>
                  <a:lnTo>
                    <a:pt x="134" y="202"/>
                  </a:lnTo>
                  <a:lnTo>
                    <a:pt x="134" y="202"/>
                  </a:lnTo>
                  <a:lnTo>
                    <a:pt x="134" y="202"/>
                  </a:lnTo>
                  <a:lnTo>
                    <a:pt x="136" y="200"/>
                  </a:lnTo>
                  <a:lnTo>
                    <a:pt x="134" y="200"/>
                  </a:lnTo>
                  <a:lnTo>
                    <a:pt x="134" y="200"/>
                  </a:lnTo>
                  <a:lnTo>
                    <a:pt x="136" y="190"/>
                  </a:lnTo>
                  <a:lnTo>
                    <a:pt x="136" y="190"/>
                  </a:lnTo>
                  <a:lnTo>
                    <a:pt x="142" y="188"/>
                  </a:lnTo>
                  <a:lnTo>
                    <a:pt x="142" y="188"/>
                  </a:lnTo>
                  <a:lnTo>
                    <a:pt x="142" y="190"/>
                  </a:lnTo>
                  <a:lnTo>
                    <a:pt x="142" y="192"/>
                  </a:lnTo>
                  <a:lnTo>
                    <a:pt x="142" y="192"/>
                  </a:lnTo>
                  <a:lnTo>
                    <a:pt x="140" y="194"/>
                  </a:lnTo>
                  <a:lnTo>
                    <a:pt x="140" y="194"/>
                  </a:lnTo>
                  <a:lnTo>
                    <a:pt x="138" y="198"/>
                  </a:lnTo>
                  <a:lnTo>
                    <a:pt x="138" y="202"/>
                  </a:lnTo>
                  <a:lnTo>
                    <a:pt x="142" y="204"/>
                  </a:lnTo>
                  <a:lnTo>
                    <a:pt x="142" y="204"/>
                  </a:lnTo>
                  <a:lnTo>
                    <a:pt x="150" y="190"/>
                  </a:lnTo>
                  <a:lnTo>
                    <a:pt x="150" y="190"/>
                  </a:lnTo>
                  <a:lnTo>
                    <a:pt x="150" y="188"/>
                  </a:lnTo>
                  <a:lnTo>
                    <a:pt x="150" y="188"/>
                  </a:lnTo>
                  <a:lnTo>
                    <a:pt x="144" y="186"/>
                  </a:lnTo>
                  <a:lnTo>
                    <a:pt x="144" y="186"/>
                  </a:lnTo>
                  <a:lnTo>
                    <a:pt x="148" y="184"/>
                  </a:lnTo>
                  <a:lnTo>
                    <a:pt x="148" y="184"/>
                  </a:lnTo>
                  <a:lnTo>
                    <a:pt x="146" y="172"/>
                  </a:lnTo>
                  <a:lnTo>
                    <a:pt x="146" y="172"/>
                  </a:lnTo>
                  <a:lnTo>
                    <a:pt x="148" y="166"/>
                  </a:lnTo>
                  <a:lnTo>
                    <a:pt x="150" y="158"/>
                  </a:lnTo>
                  <a:lnTo>
                    <a:pt x="150" y="158"/>
                  </a:lnTo>
                  <a:lnTo>
                    <a:pt x="150" y="148"/>
                  </a:lnTo>
                  <a:lnTo>
                    <a:pt x="150" y="136"/>
                  </a:lnTo>
                  <a:lnTo>
                    <a:pt x="150" y="136"/>
                  </a:lnTo>
                  <a:lnTo>
                    <a:pt x="156" y="136"/>
                  </a:lnTo>
                  <a:lnTo>
                    <a:pt x="156" y="136"/>
                  </a:lnTo>
                  <a:lnTo>
                    <a:pt x="156" y="132"/>
                  </a:lnTo>
                  <a:lnTo>
                    <a:pt x="156" y="130"/>
                  </a:lnTo>
                  <a:lnTo>
                    <a:pt x="156" y="130"/>
                  </a:lnTo>
                  <a:lnTo>
                    <a:pt x="160" y="130"/>
                  </a:lnTo>
                  <a:lnTo>
                    <a:pt x="160" y="130"/>
                  </a:lnTo>
                  <a:lnTo>
                    <a:pt x="160" y="126"/>
                  </a:lnTo>
                  <a:lnTo>
                    <a:pt x="160" y="126"/>
                  </a:lnTo>
                  <a:lnTo>
                    <a:pt x="164" y="120"/>
                  </a:lnTo>
                  <a:lnTo>
                    <a:pt x="164" y="120"/>
                  </a:lnTo>
                  <a:lnTo>
                    <a:pt x="162" y="104"/>
                  </a:lnTo>
                  <a:lnTo>
                    <a:pt x="160" y="102"/>
                  </a:lnTo>
                  <a:lnTo>
                    <a:pt x="160" y="102"/>
                  </a:lnTo>
                  <a:lnTo>
                    <a:pt x="158" y="96"/>
                  </a:lnTo>
                  <a:lnTo>
                    <a:pt x="158" y="92"/>
                  </a:lnTo>
                  <a:lnTo>
                    <a:pt x="156" y="90"/>
                  </a:lnTo>
                  <a:lnTo>
                    <a:pt x="156" y="90"/>
                  </a:lnTo>
                  <a:lnTo>
                    <a:pt x="148" y="88"/>
                  </a:lnTo>
                  <a:lnTo>
                    <a:pt x="148" y="88"/>
                  </a:lnTo>
                  <a:lnTo>
                    <a:pt x="148" y="86"/>
                  </a:lnTo>
                  <a:lnTo>
                    <a:pt x="148" y="86"/>
                  </a:lnTo>
                  <a:lnTo>
                    <a:pt x="148" y="86"/>
                  </a:lnTo>
                  <a:lnTo>
                    <a:pt x="146" y="84"/>
                  </a:lnTo>
                  <a:lnTo>
                    <a:pt x="146" y="84"/>
                  </a:lnTo>
                  <a:close/>
                  <a:moveTo>
                    <a:pt x="162" y="0"/>
                  </a:moveTo>
                  <a:lnTo>
                    <a:pt x="162" y="0"/>
                  </a:lnTo>
                  <a:lnTo>
                    <a:pt x="158" y="4"/>
                  </a:lnTo>
                  <a:lnTo>
                    <a:pt x="158" y="6"/>
                  </a:lnTo>
                  <a:lnTo>
                    <a:pt x="158" y="10"/>
                  </a:lnTo>
                  <a:lnTo>
                    <a:pt x="160" y="14"/>
                  </a:lnTo>
                  <a:lnTo>
                    <a:pt x="160" y="14"/>
                  </a:lnTo>
                  <a:lnTo>
                    <a:pt x="164" y="16"/>
                  </a:lnTo>
                  <a:lnTo>
                    <a:pt x="164" y="16"/>
                  </a:lnTo>
                  <a:lnTo>
                    <a:pt x="162" y="20"/>
                  </a:lnTo>
                  <a:lnTo>
                    <a:pt x="160" y="24"/>
                  </a:lnTo>
                  <a:lnTo>
                    <a:pt x="160" y="24"/>
                  </a:lnTo>
                  <a:lnTo>
                    <a:pt x="160" y="32"/>
                  </a:lnTo>
                  <a:lnTo>
                    <a:pt x="160" y="32"/>
                  </a:lnTo>
                  <a:lnTo>
                    <a:pt x="158" y="34"/>
                  </a:lnTo>
                  <a:lnTo>
                    <a:pt x="156" y="36"/>
                  </a:lnTo>
                  <a:lnTo>
                    <a:pt x="156" y="36"/>
                  </a:lnTo>
                  <a:lnTo>
                    <a:pt x="156" y="40"/>
                  </a:lnTo>
                  <a:lnTo>
                    <a:pt x="158" y="46"/>
                  </a:lnTo>
                  <a:lnTo>
                    <a:pt x="158" y="48"/>
                  </a:lnTo>
                  <a:lnTo>
                    <a:pt x="156" y="48"/>
                  </a:lnTo>
                  <a:lnTo>
                    <a:pt x="150" y="48"/>
                  </a:lnTo>
                  <a:lnTo>
                    <a:pt x="150" y="48"/>
                  </a:lnTo>
                  <a:lnTo>
                    <a:pt x="148" y="46"/>
                  </a:lnTo>
                  <a:lnTo>
                    <a:pt x="144" y="44"/>
                  </a:lnTo>
                  <a:lnTo>
                    <a:pt x="144" y="44"/>
                  </a:lnTo>
                  <a:lnTo>
                    <a:pt x="142" y="46"/>
                  </a:lnTo>
                  <a:lnTo>
                    <a:pt x="144" y="48"/>
                  </a:lnTo>
                  <a:lnTo>
                    <a:pt x="144" y="48"/>
                  </a:lnTo>
                  <a:lnTo>
                    <a:pt x="142" y="52"/>
                  </a:lnTo>
                  <a:lnTo>
                    <a:pt x="136" y="56"/>
                  </a:lnTo>
                  <a:lnTo>
                    <a:pt x="136" y="56"/>
                  </a:lnTo>
                  <a:lnTo>
                    <a:pt x="136" y="62"/>
                  </a:lnTo>
                  <a:lnTo>
                    <a:pt x="136" y="62"/>
                  </a:lnTo>
                  <a:lnTo>
                    <a:pt x="140" y="66"/>
                  </a:lnTo>
                  <a:lnTo>
                    <a:pt x="140" y="66"/>
                  </a:lnTo>
                  <a:lnTo>
                    <a:pt x="140" y="76"/>
                  </a:lnTo>
                  <a:lnTo>
                    <a:pt x="140" y="76"/>
                  </a:lnTo>
                  <a:lnTo>
                    <a:pt x="142" y="76"/>
                  </a:lnTo>
                  <a:lnTo>
                    <a:pt x="144" y="76"/>
                  </a:lnTo>
                  <a:lnTo>
                    <a:pt x="144" y="76"/>
                  </a:lnTo>
                  <a:lnTo>
                    <a:pt x="148" y="72"/>
                  </a:lnTo>
                  <a:lnTo>
                    <a:pt x="148" y="72"/>
                  </a:lnTo>
                  <a:lnTo>
                    <a:pt x="156" y="72"/>
                  </a:lnTo>
                  <a:lnTo>
                    <a:pt x="156" y="72"/>
                  </a:lnTo>
                  <a:lnTo>
                    <a:pt x="146" y="66"/>
                  </a:lnTo>
                  <a:lnTo>
                    <a:pt x="146" y="66"/>
                  </a:lnTo>
                  <a:lnTo>
                    <a:pt x="146" y="60"/>
                  </a:lnTo>
                  <a:lnTo>
                    <a:pt x="146" y="60"/>
                  </a:lnTo>
                  <a:lnTo>
                    <a:pt x="148" y="58"/>
                  </a:lnTo>
                  <a:lnTo>
                    <a:pt x="152" y="58"/>
                  </a:lnTo>
                  <a:lnTo>
                    <a:pt x="152" y="58"/>
                  </a:lnTo>
                  <a:lnTo>
                    <a:pt x="154" y="60"/>
                  </a:lnTo>
                  <a:lnTo>
                    <a:pt x="156" y="60"/>
                  </a:lnTo>
                  <a:lnTo>
                    <a:pt x="156" y="60"/>
                  </a:lnTo>
                  <a:lnTo>
                    <a:pt x="158" y="58"/>
                  </a:lnTo>
                  <a:lnTo>
                    <a:pt x="158" y="58"/>
                  </a:lnTo>
                  <a:lnTo>
                    <a:pt x="160" y="58"/>
                  </a:lnTo>
                  <a:lnTo>
                    <a:pt x="162" y="58"/>
                  </a:lnTo>
                  <a:lnTo>
                    <a:pt x="164" y="58"/>
                  </a:lnTo>
                  <a:lnTo>
                    <a:pt x="164" y="58"/>
                  </a:lnTo>
                  <a:lnTo>
                    <a:pt x="166" y="62"/>
                  </a:lnTo>
                  <a:lnTo>
                    <a:pt x="166" y="62"/>
                  </a:lnTo>
                  <a:lnTo>
                    <a:pt x="166" y="66"/>
                  </a:lnTo>
                  <a:lnTo>
                    <a:pt x="166" y="66"/>
                  </a:lnTo>
                  <a:lnTo>
                    <a:pt x="182" y="66"/>
                  </a:lnTo>
                  <a:lnTo>
                    <a:pt x="182" y="66"/>
                  </a:lnTo>
                  <a:lnTo>
                    <a:pt x="186" y="54"/>
                  </a:lnTo>
                  <a:lnTo>
                    <a:pt x="192" y="52"/>
                  </a:lnTo>
                  <a:lnTo>
                    <a:pt x="198" y="50"/>
                  </a:lnTo>
                  <a:lnTo>
                    <a:pt x="198" y="50"/>
                  </a:lnTo>
                  <a:lnTo>
                    <a:pt x="200" y="54"/>
                  </a:lnTo>
                  <a:lnTo>
                    <a:pt x="200" y="54"/>
                  </a:lnTo>
                  <a:lnTo>
                    <a:pt x="202" y="52"/>
                  </a:lnTo>
                  <a:lnTo>
                    <a:pt x="202" y="50"/>
                  </a:lnTo>
                  <a:lnTo>
                    <a:pt x="202" y="50"/>
                  </a:lnTo>
                  <a:lnTo>
                    <a:pt x="210" y="50"/>
                  </a:lnTo>
                  <a:lnTo>
                    <a:pt x="210" y="50"/>
                  </a:lnTo>
                  <a:lnTo>
                    <a:pt x="214" y="48"/>
                  </a:lnTo>
                  <a:lnTo>
                    <a:pt x="214" y="46"/>
                  </a:lnTo>
                  <a:lnTo>
                    <a:pt x="212" y="44"/>
                  </a:lnTo>
                  <a:lnTo>
                    <a:pt x="212" y="44"/>
                  </a:lnTo>
                  <a:lnTo>
                    <a:pt x="212" y="42"/>
                  </a:lnTo>
                  <a:lnTo>
                    <a:pt x="212" y="42"/>
                  </a:lnTo>
                  <a:lnTo>
                    <a:pt x="208" y="42"/>
                  </a:lnTo>
                  <a:lnTo>
                    <a:pt x="208" y="40"/>
                  </a:lnTo>
                  <a:lnTo>
                    <a:pt x="210" y="34"/>
                  </a:lnTo>
                  <a:lnTo>
                    <a:pt x="210" y="34"/>
                  </a:lnTo>
                  <a:lnTo>
                    <a:pt x="202" y="34"/>
                  </a:lnTo>
                  <a:lnTo>
                    <a:pt x="200" y="32"/>
                  </a:lnTo>
                  <a:lnTo>
                    <a:pt x="196" y="28"/>
                  </a:lnTo>
                  <a:lnTo>
                    <a:pt x="196" y="28"/>
                  </a:lnTo>
                  <a:lnTo>
                    <a:pt x="190" y="30"/>
                  </a:lnTo>
                  <a:lnTo>
                    <a:pt x="184" y="30"/>
                  </a:lnTo>
                  <a:lnTo>
                    <a:pt x="182" y="30"/>
                  </a:lnTo>
                  <a:lnTo>
                    <a:pt x="182" y="30"/>
                  </a:lnTo>
                  <a:lnTo>
                    <a:pt x="178" y="22"/>
                  </a:lnTo>
                  <a:lnTo>
                    <a:pt x="174" y="12"/>
                  </a:lnTo>
                  <a:lnTo>
                    <a:pt x="174" y="12"/>
                  </a:lnTo>
                  <a:lnTo>
                    <a:pt x="168" y="10"/>
                  </a:lnTo>
                  <a:lnTo>
                    <a:pt x="168" y="10"/>
                  </a:lnTo>
                  <a:lnTo>
                    <a:pt x="166" y="4"/>
                  </a:lnTo>
                  <a:lnTo>
                    <a:pt x="166" y="4"/>
                  </a:lnTo>
                  <a:lnTo>
                    <a:pt x="162" y="0"/>
                  </a:lnTo>
                  <a:lnTo>
                    <a:pt x="16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0" name="Freeform 158"/>
            <p:cNvSpPr>
              <a:spLocks noChangeAspect="1"/>
            </p:cNvSpPr>
            <p:nvPr/>
          </p:nvSpPr>
          <p:spPr bwMode="gray">
            <a:xfrm>
              <a:off x="2505687" y="3904510"/>
              <a:ext cx="51004" cy="26319"/>
            </a:xfrm>
            <a:custGeom>
              <a:avLst/>
              <a:gdLst/>
              <a:ahLst/>
              <a:cxnLst>
                <a:cxn ang="0">
                  <a:pos x="8" y="0"/>
                </a:cxn>
                <a:cxn ang="0">
                  <a:pos x="8" y="0"/>
                </a:cxn>
                <a:cxn ang="0">
                  <a:pos x="4" y="2"/>
                </a:cxn>
                <a:cxn ang="0">
                  <a:pos x="0" y="4"/>
                </a:cxn>
                <a:cxn ang="0">
                  <a:pos x="0" y="4"/>
                </a:cxn>
                <a:cxn ang="0">
                  <a:pos x="2" y="6"/>
                </a:cxn>
                <a:cxn ang="0">
                  <a:pos x="2" y="6"/>
                </a:cxn>
                <a:cxn ang="0">
                  <a:pos x="6" y="6"/>
                </a:cxn>
                <a:cxn ang="0">
                  <a:pos x="6" y="6"/>
                </a:cxn>
                <a:cxn ang="0">
                  <a:pos x="6" y="8"/>
                </a:cxn>
                <a:cxn ang="0">
                  <a:pos x="8" y="10"/>
                </a:cxn>
                <a:cxn ang="0">
                  <a:pos x="8" y="10"/>
                </a:cxn>
                <a:cxn ang="0">
                  <a:pos x="14" y="14"/>
                </a:cxn>
                <a:cxn ang="0">
                  <a:pos x="22" y="16"/>
                </a:cxn>
                <a:cxn ang="0">
                  <a:pos x="22" y="16"/>
                </a:cxn>
                <a:cxn ang="0">
                  <a:pos x="22" y="12"/>
                </a:cxn>
                <a:cxn ang="0">
                  <a:pos x="22" y="12"/>
                </a:cxn>
                <a:cxn ang="0">
                  <a:pos x="30" y="12"/>
                </a:cxn>
                <a:cxn ang="0">
                  <a:pos x="30" y="12"/>
                </a:cxn>
                <a:cxn ang="0">
                  <a:pos x="30" y="8"/>
                </a:cxn>
                <a:cxn ang="0">
                  <a:pos x="30" y="8"/>
                </a:cxn>
                <a:cxn ang="0">
                  <a:pos x="24" y="2"/>
                </a:cxn>
                <a:cxn ang="0">
                  <a:pos x="24" y="2"/>
                </a:cxn>
                <a:cxn ang="0">
                  <a:pos x="20" y="2"/>
                </a:cxn>
                <a:cxn ang="0">
                  <a:pos x="14" y="2"/>
                </a:cxn>
                <a:cxn ang="0">
                  <a:pos x="14" y="2"/>
                </a:cxn>
                <a:cxn ang="0">
                  <a:pos x="14" y="2"/>
                </a:cxn>
                <a:cxn ang="0">
                  <a:pos x="8" y="0"/>
                </a:cxn>
                <a:cxn ang="0">
                  <a:pos x="8" y="0"/>
                </a:cxn>
              </a:cxnLst>
              <a:rect l="0" t="0" r="r" b="b"/>
              <a:pathLst>
                <a:path w="30" h="16">
                  <a:moveTo>
                    <a:pt x="8" y="0"/>
                  </a:moveTo>
                  <a:lnTo>
                    <a:pt x="8" y="0"/>
                  </a:lnTo>
                  <a:lnTo>
                    <a:pt x="4" y="2"/>
                  </a:lnTo>
                  <a:lnTo>
                    <a:pt x="0" y="4"/>
                  </a:lnTo>
                  <a:lnTo>
                    <a:pt x="0" y="4"/>
                  </a:lnTo>
                  <a:lnTo>
                    <a:pt x="2" y="6"/>
                  </a:lnTo>
                  <a:lnTo>
                    <a:pt x="2" y="6"/>
                  </a:lnTo>
                  <a:lnTo>
                    <a:pt x="6" y="6"/>
                  </a:lnTo>
                  <a:lnTo>
                    <a:pt x="6" y="6"/>
                  </a:lnTo>
                  <a:lnTo>
                    <a:pt x="6" y="8"/>
                  </a:lnTo>
                  <a:lnTo>
                    <a:pt x="8" y="10"/>
                  </a:lnTo>
                  <a:lnTo>
                    <a:pt x="8" y="10"/>
                  </a:lnTo>
                  <a:lnTo>
                    <a:pt x="14" y="14"/>
                  </a:lnTo>
                  <a:lnTo>
                    <a:pt x="22" y="16"/>
                  </a:lnTo>
                  <a:lnTo>
                    <a:pt x="22" y="16"/>
                  </a:lnTo>
                  <a:lnTo>
                    <a:pt x="22" y="12"/>
                  </a:lnTo>
                  <a:lnTo>
                    <a:pt x="22" y="12"/>
                  </a:lnTo>
                  <a:lnTo>
                    <a:pt x="30" y="12"/>
                  </a:lnTo>
                  <a:lnTo>
                    <a:pt x="30" y="12"/>
                  </a:lnTo>
                  <a:lnTo>
                    <a:pt x="30" y="8"/>
                  </a:lnTo>
                  <a:lnTo>
                    <a:pt x="30" y="8"/>
                  </a:lnTo>
                  <a:lnTo>
                    <a:pt x="24" y="2"/>
                  </a:lnTo>
                  <a:lnTo>
                    <a:pt x="24" y="2"/>
                  </a:lnTo>
                  <a:lnTo>
                    <a:pt x="20" y="2"/>
                  </a:lnTo>
                  <a:lnTo>
                    <a:pt x="14" y="2"/>
                  </a:lnTo>
                  <a:lnTo>
                    <a:pt x="14" y="2"/>
                  </a:lnTo>
                  <a:lnTo>
                    <a:pt x="14" y="2"/>
                  </a:lnTo>
                  <a:lnTo>
                    <a:pt x="8" y="0"/>
                  </a:lnTo>
                  <a:lnTo>
                    <a:pt x="8"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1" name="Freeform 160"/>
            <p:cNvSpPr>
              <a:spLocks noChangeAspect="1" noEditPoints="1"/>
            </p:cNvSpPr>
            <p:nvPr/>
          </p:nvSpPr>
          <p:spPr bwMode="gray">
            <a:xfrm>
              <a:off x="4440418" y="3075446"/>
              <a:ext cx="263518" cy="319124"/>
            </a:xfrm>
            <a:custGeom>
              <a:avLst/>
              <a:gdLst/>
              <a:ahLst/>
              <a:cxnLst>
                <a:cxn ang="0">
                  <a:pos x="79" y="176"/>
                </a:cxn>
                <a:cxn ang="0">
                  <a:pos x="93" y="186"/>
                </a:cxn>
                <a:cxn ang="0">
                  <a:pos x="107" y="192"/>
                </a:cxn>
                <a:cxn ang="0">
                  <a:pos x="111" y="188"/>
                </a:cxn>
                <a:cxn ang="0">
                  <a:pos x="115" y="178"/>
                </a:cxn>
                <a:cxn ang="0">
                  <a:pos x="117" y="168"/>
                </a:cxn>
                <a:cxn ang="0">
                  <a:pos x="89" y="170"/>
                </a:cxn>
                <a:cxn ang="0">
                  <a:pos x="81" y="168"/>
                </a:cxn>
                <a:cxn ang="0">
                  <a:pos x="18" y="62"/>
                </a:cxn>
                <a:cxn ang="0">
                  <a:pos x="22" y="52"/>
                </a:cxn>
                <a:cxn ang="0">
                  <a:pos x="40" y="54"/>
                </a:cxn>
                <a:cxn ang="0">
                  <a:pos x="48" y="64"/>
                </a:cxn>
                <a:cxn ang="0">
                  <a:pos x="52" y="76"/>
                </a:cxn>
                <a:cxn ang="0">
                  <a:pos x="61" y="90"/>
                </a:cxn>
                <a:cxn ang="0">
                  <a:pos x="77" y="108"/>
                </a:cxn>
                <a:cxn ang="0">
                  <a:pos x="93" y="112"/>
                </a:cxn>
                <a:cxn ang="0">
                  <a:pos x="103" y="124"/>
                </a:cxn>
                <a:cxn ang="0">
                  <a:pos x="111" y="132"/>
                </a:cxn>
                <a:cxn ang="0">
                  <a:pos x="125" y="158"/>
                </a:cxn>
                <a:cxn ang="0">
                  <a:pos x="119" y="170"/>
                </a:cxn>
                <a:cxn ang="0">
                  <a:pos x="125" y="176"/>
                </a:cxn>
                <a:cxn ang="0">
                  <a:pos x="133" y="158"/>
                </a:cxn>
                <a:cxn ang="0">
                  <a:pos x="137" y="148"/>
                </a:cxn>
                <a:cxn ang="0">
                  <a:pos x="129" y="138"/>
                </a:cxn>
                <a:cxn ang="0">
                  <a:pos x="139" y="128"/>
                </a:cxn>
                <a:cxn ang="0">
                  <a:pos x="153" y="136"/>
                </a:cxn>
                <a:cxn ang="0">
                  <a:pos x="153" y="126"/>
                </a:cxn>
                <a:cxn ang="0">
                  <a:pos x="143" y="118"/>
                </a:cxn>
                <a:cxn ang="0">
                  <a:pos x="117" y="100"/>
                </a:cxn>
                <a:cxn ang="0">
                  <a:pos x="95" y="76"/>
                </a:cxn>
                <a:cxn ang="0">
                  <a:pos x="87" y="64"/>
                </a:cxn>
                <a:cxn ang="0">
                  <a:pos x="75" y="56"/>
                </a:cxn>
                <a:cxn ang="0">
                  <a:pos x="77" y="42"/>
                </a:cxn>
                <a:cxn ang="0">
                  <a:pos x="75" y="32"/>
                </a:cxn>
                <a:cxn ang="0">
                  <a:pos x="93" y="26"/>
                </a:cxn>
                <a:cxn ang="0">
                  <a:pos x="91" y="14"/>
                </a:cxn>
                <a:cxn ang="0">
                  <a:pos x="89" y="4"/>
                </a:cxn>
                <a:cxn ang="0">
                  <a:pos x="75" y="6"/>
                </a:cxn>
                <a:cxn ang="0">
                  <a:pos x="65" y="2"/>
                </a:cxn>
                <a:cxn ang="0">
                  <a:pos x="59" y="2"/>
                </a:cxn>
                <a:cxn ang="0">
                  <a:pos x="50" y="4"/>
                </a:cxn>
                <a:cxn ang="0">
                  <a:pos x="48" y="10"/>
                </a:cxn>
                <a:cxn ang="0">
                  <a:pos x="40" y="12"/>
                </a:cxn>
                <a:cxn ang="0">
                  <a:pos x="36" y="22"/>
                </a:cxn>
                <a:cxn ang="0">
                  <a:pos x="24" y="20"/>
                </a:cxn>
                <a:cxn ang="0">
                  <a:pos x="20" y="20"/>
                </a:cxn>
                <a:cxn ang="0">
                  <a:pos x="8" y="32"/>
                </a:cxn>
                <a:cxn ang="0">
                  <a:pos x="0" y="40"/>
                </a:cxn>
                <a:cxn ang="0">
                  <a:pos x="2" y="52"/>
                </a:cxn>
                <a:cxn ang="0">
                  <a:pos x="10" y="56"/>
                </a:cxn>
                <a:cxn ang="0">
                  <a:pos x="8" y="64"/>
                </a:cxn>
                <a:cxn ang="0">
                  <a:pos x="22" y="118"/>
                </a:cxn>
                <a:cxn ang="0">
                  <a:pos x="28" y="148"/>
                </a:cxn>
                <a:cxn ang="0">
                  <a:pos x="36" y="152"/>
                </a:cxn>
                <a:cxn ang="0">
                  <a:pos x="40" y="118"/>
                </a:cxn>
                <a:cxn ang="0">
                  <a:pos x="34" y="110"/>
                </a:cxn>
              </a:cxnLst>
              <a:rect l="0" t="0" r="r" b="b"/>
              <a:pathLst>
                <a:path w="155" h="194">
                  <a:moveTo>
                    <a:pt x="81" y="168"/>
                  </a:moveTo>
                  <a:lnTo>
                    <a:pt x="81" y="168"/>
                  </a:lnTo>
                  <a:lnTo>
                    <a:pt x="81" y="170"/>
                  </a:lnTo>
                  <a:lnTo>
                    <a:pt x="79" y="170"/>
                  </a:lnTo>
                  <a:lnTo>
                    <a:pt x="79" y="170"/>
                  </a:lnTo>
                  <a:lnTo>
                    <a:pt x="79" y="176"/>
                  </a:lnTo>
                  <a:lnTo>
                    <a:pt x="79" y="176"/>
                  </a:lnTo>
                  <a:lnTo>
                    <a:pt x="85" y="180"/>
                  </a:lnTo>
                  <a:lnTo>
                    <a:pt x="85" y="180"/>
                  </a:lnTo>
                  <a:lnTo>
                    <a:pt x="91" y="182"/>
                  </a:lnTo>
                  <a:lnTo>
                    <a:pt x="91" y="182"/>
                  </a:lnTo>
                  <a:lnTo>
                    <a:pt x="93" y="186"/>
                  </a:lnTo>
                  <a:lnTo>
                    <a:pt x="93" y="186"/>
                  </a:lnTo>
                  <a:lnTo>
                    <a:pt x="95" y="186"/>
                  </a:lnTo>
                  <a:lnTo>
                    <a:pt x="99" y="186"/>
                  </a:lnTo>
                  <a:lnTo>
                    <a:pt x="99" y="186"/>
                  </a:lnTo>
                  <a:lnTo>
                    <a:pt x="101" y="188"/>
                  </a:lnTo>
                  <a:lnTo>
                    <a:pt x="107" y="192"/>
                  </a:lnTo>
                  <a:lnTo>
                    <a:pt x="107" y="194"/>
                  </a:lnTo>
                  <a:lnTo>
                    <a:pt x="107" y="194"/>
                  </a:lnTo>
                  <a:lnTo>
                    <a:pt x="113" y="194"/>
                  </a:lnTo>
                  <a:lnTo>
                    <a:pt x="113" y="194"/>
                  </a:lnTo>
                  <a:lnTo>
                    <a:pt x="111" y="188"/>
                  </a:lnTo>
                  <a:lnTo>
                    <a:pt x="111" y="188"/>
                  </a:lnTo>
                  <a:lnTo>
                    <a:pt x="115" y="186"/>
                  </a:lnTo>
                  <a:lnTo>
                    <a:pt x="115" y="186"/>
                  </a:lnTo>
                  <a:lnTo>
                    <a:pt x="115" y="182"/>
                  </a:lnTo>
                  <a:lnTo>
                    <a:pt x="115" y="178"/>
                  </a:lnTo>
                  <a:lnTo>
                    <a:pt x="115" y="178"/>
                  </a:lnTo>
                  <a:lnTo>
                    <a:pt x="115" y="178"/>
                  </a:lnTo>
                  <a:lnTo>
                    <a:pt x="115" y="176"/>
                  </a:lnTo>
                  <a:lnTo>
                    <a:pt x="115" y="176"/>
                  </a:lnTo>
                  <a:lnTo>
                    <a:pt x="115" y="174"/>
                  </a:lnTo>
                  <a:lnTo>
                    <a:pt x="117" y="172"/>
                  </a:lnTo>
                  <a:lnTo>
                    <a:pt x="117" y="172"/>
                  </a:lnTo>
                  <a:lnTo>
                    <a:pt x="117" y="168"/>
                  </a:lnTo>
                  <a:lnTo>
                    <a:pt x="117" y="168"/>
                  </a:lnTo>
                  <a:lnTo>
                    <a:pt x="105" y="172"/>
                  </a:lnTo>
                  <a:lnTo>
                    <a:pt x="99" y="174"/>
                  </a:lnTo>
                  <a:lnTo>
                    <a:pt x="93" y="172"/>
                  </a:lnTo>
                  <a:lnTo>
                    <a:pt x="93" y="172"/>
                  </a:lnTo>
                  <a:lnTo>
                    <a:pt x="89" y="170"/>
                  </a:lnTo>
                  <a:lnTo>
                    <a:pt x="89" y="170"/>
                  </a:lnTo>
                  <a:lnTo>
                    <a:pt x="87" y="170"/>
                  </a:lnTo>
                  <a:lnTo>
                    <a:pt x="83" y="170"/>
                  </a:lnTo>
                  <a:lnTo>
                    <a:pt x="83" y="170"/>
                  </a:lnTo>
                  <a:lnTo>
                    <a:pt x="81" y="168"/>
                  </a:lnTo>
                  <a:lnTo>
                    <a:pt x="81" y="168"/>
                  </a:lnTo>
                  <a:close/>
                  <a:moveTo>
                    <a:pt x="8" y="64"/>
                  </a:moveTo>
                  <a:lnTo>
                    <a:pt x="8" y="64"/>
                  </a:lnTo>
                  <a:lnTo>
                    <a:pt x="12" y="62"/>
                  </a:lnTo>
                  <a:lnTo>
                    <a:pt x="12" y="62"/>
                  </a:lnTo>
                  <a:lnTo>
                    <a:pt x="18" y="62"/>
                  </a:lnTo>
                  <a:lnTo>
                    <a:pt x="18" y="62"/>
                  </a:lnTo>
                  <a:lnTo>
                    <a:pt x="18" y="58"/>
                  </a:lnTo>
                  <a:lnTo>
                    <a:pt x="18" y="58"/>
                  </a:lnTo>
                  <a:lnTo>
                    <a:pt x="22" y="56"/>
                  </a:lnTo>
                  <a:lnTo>
                    <a:pt x="22" y="56"/>
                  </a:lnTo>
                  <a:lnTo>
                    <a:pt x="22" y="52"/>
                  </a:lnTo>
                  <a:lnTo>
                    <a:pt x="22" y="52"/>
                  </a:lnTo>
                  <a:lnTo>
                    <a:pt x="26" y="50"/>
                  </a:lnTo>
                  <a:lnTo>
                    <a:pt x="32" y="50"/>
                  </a:lnTo>
                  <a:lnTo>
                    <a:pt x="32" y="50"/>
                  </a:lnTo>
                  <a:lnTo>
                    <a:pt x="36" y="54"/>
                  </a:lnTo>
                  <a:lnTo>
                    <a:pt x="36" y="54"/>
                  </a:lnTo>
                  <a:lnTo>
                    <a:pt x="40" y="54"/>
                  </a:lnTo>
                  <a:lnTo>
                    <a:pt x="40" y="54"/>
                  </a:lnTo>
                  <a:lnTo>
                    <a:pt x="46" y="58"/>
                  </a:lnTo>
                  <a:lnTo>
                    <a:pt x="46" y="60"/>
                  </a:lnTo>
                  <a:lnTo>
                    <a:pt x="48" y="60"/>
                  </a:lnTo>
                  <a:lnTo>
                    <a:pt x="48" y="60"/>
                  </a:lnTo>
                  <a:lnTo>
                    <a:pt x="48" y="64"/>
                  </a:lnTo>
                  <a:lnTo>
                    <a:pt x="48" y="66"/>
                  </a:lnTo>
                  <a:lnTo>
                    <a:pt x="48" y="66"/>
                  </a:lnTo>
                  <a:lnTo>
                    <a:pt x="52" y="70"/>
                  </a:lnTo>
                  <a:lnTo>
                    <a:pt x="52" y="70"/>
                  </a:lnTo>
                  <a:lnTo>
                    <a:pt x="52" y="76"/>
                  </a:lnTo>
                  <a:lnTo>
                    <a:pt x="52" y="76"/>
                  </a:lnTo>
                  <a:lnTo>
                    <a:pt x="57" y="78"/>
                  </a:lnTo>
                  <a:lnTo>
                    <a:pt x="57" y="78"/>
                  </a:lnTo>
                  <a:lnTo>
                    <a:pt x="57" y="82"/>
                  </a:lnTo>
                  <a:lnTo>
                    <a:pt x="59" y="88"/>
                  </a:lnTo>
                  <a:lnTo>
                    <a:pt x="59" y="88"/>
                  </a:lnTo>
                  <a:lnTo>
                    <a:pt x="61" y="90"/>
                  </a:lnTo>
                  <a:lnTo>
                    <a:pt x="65" y="94"/>
                  </a:lnTo>
                  <a:lnTo>
                    <a:pt x="73" y="100"/>
                  </a:lnTo>
                  <a:lnTo>
                    <a:pt x="73" y="100"/>
                  </a:lnTo>
                  <a:lnTo>
                    <a:pt x="75" y="104"/>
                  </a:lnTo>
                  <a:lnTo>
                    <a:pt x="77" y="108"/>
                  </a:lnTo>
                  <a:lnTo>
                    <a:pt x="77" y="108"/>
                  </a:lnTo>
                  <a:lnTo>
                    <a:pt x="87" y="112"/>
                  </a:lnTo>
                  <a:lnTo>
                    <a:pt x="87" y="114"/>
                  </a:lnTo>
                  <a:lnTo>
                    <a:pt x="87" y="114"/>
                  </a:lnTo>
                  <a:lnTo>
                    <a:pt x="91" y="112"/>
                  </a:lnTo>
                  <a:lnTo>
                    <a:pt x="93" y="112"/>
                  </a:lnTo>
                  <a:lnTo>
                    <a:pt x="93" y="112"/>
                  </a:lnTo>
                  <a:lnTo>
                    <a:pt x="97" y="116"/>
                  </a:lnTo>
                  <a:lnTo>
                    <a:pt x="101" y="120"/>
                  </a:lnTo>
                  <a:lnTo>
                    <a:pt x="103" y="120"/>
                  </a:lnTo>
                  <a:lnTo>
                    <a:pt x="103" y="120"/>
                  </a:lnTo>
                  <a:lnTo>
                    <a:pt x="103" y="122"/>
                  </a:lnTo>
                  <a:lnTo>
                    <a:pt x="103" y="124"/>
                  </a:lnTo>
                  <a:lnTo>
                    <a:pt x="103" y="124"/>
                  </a:lnTo>
                  <a:lnTo>
                    <a:pt x="105" y="124"/>
                  </a:lnTo>
                  <a:lnTo>
                    <a:pt x="109" y="124"/>
                  </a:lnTo>
                  <a:lnTo>
                    <a:pt x="109" y="124"/>
                  </a:lnTo>
                  <a:lnTo>
                    <a:pt x="109" y="128"/>
                  </a:lnTo>
                  <a:lnTo>
                    <a:pt x="111" y="132"/>
                  </a:lnTo>
                  <a:lnTo>
                    <a:pt x="111" y="132"/>
                  </a:lnTo>
                  <a:lnTo>
                    <a:pt x="115" y="134"/>
                  </a:lnTo>
                  <a:lnTo>
                    <a:pt x="119" y="136"/>
                  </a:lnTo>
                  <a:lnTo>
                    <a:pt x="119" y="136"/>
                  </a:lnTo>
                  <a:lnTo>
                    <a:pt x="123" y="146"/>
                  </a:lnTo>
                  <a:lnTo>
                    <a:pt x="125" y="158"/>
                  </a:lnTo>
                  <a:lnTo>
                    <a:pt x="121" y="158"/>
                  </a:lnTo>
                  <a:lnTo>
                    <a:pt x="121" y="158"/>
                  </a:lnTo>
                  <a:lnTo>
                    <a:pt x="121" y="166"/>
                  </a:lnTo>
                  <a:lnTo>
                    <a:pt x="121" y="166"/>
                  </a:lnTo>
                  <a:lnTo>
                    <a:pt x="119" y="170"/>
                  </a:lnTo>
                  <a:lnTo>
                    <a:pt x="119" y="170"/>
                  </a:lnTo>
                  <a:lnTo>
                    <a:pt x="119" y="174"/>
                  </a:lnTo>
                  <a:lnTo>
                    <a:pt x="121" y="176"/>
                  </a:lnTo>
                  <a:lnTo>
                    <a:pt x="121" y="176"/>
                  </a:lnTo>
                  <a:lnTo>
                    <a:pt x="123" y="176"/>
                  </a:lnTo>
                  <a:lnTo>
                    <a:pt x="125" y="176"/>
                  </a:lnTo>
                  <a:lnTo>
                    <a:pt x="125" y="176"/>
                  </a:lnTo>
                  <a:lnTo>
                    <a:pt x="127" y="170"/>
                  </a:lnTo>
                  <a:lnTo>
                    <a:pt x="127" y="170"/>
                  </a:lnTo>
                  <a:lnTo>
                    <a:pt x="133" y="166"/>
                  </a:lnTo>
                  <a:lnTo>
                    <a:pt x="133" y="166"/>
                  </a:lnTo>
                  <a:lnTo>
                    <a:pt x="133" y="162"/>
                  </a:lnTo>
                  <a:lnTo>
                    <a:pt x="133" y="158"/>
                  </a:lnTo>
                  <a:lnTo>
                    <a:pt x="133" y="158"/>
                  </a:lnTo>
                  <a:lnTo>
                    <a:pt x="135" y="158"/>
                  </a:lnTo>
                  <a:lnTo>
                    <a:pt x="139" y="156"/>
                  </a:lnTo>
                  <a:lnTo>
                    <a:pt x="139" y="156"/>
                  </a:lnTo>
                  <a:lnTo>
                    <a:pt x="139" y="150"/>
                  </a:lnTo>
                  <a:lnTo>
                    <a:pt x="137" y="148"/>
                  </a:lnTo>
                  <a:lnTo>
                    <a:pt x="137" y="148"/>
                  </a:lnTo>
                  <a:lnTo>
                    <a:pt x="135" y="146"/>
                  </a:lnTo>
                  <a:lnTo>
                    <a:pt x="135" y="146"/>
                  </a:lnTo>
                  <a:lnTo>
                    <a:pt x="133" y="140"/>
                  </a:lnTo>
                  <a:lnTo>
                    <a:pt x="133" y="140"/>
                  </a:lnTo>
                  <a:lnTo>
                    <a:pt x="129" y="138"/>
                  </a:lnTo>
                  <a:lnTo>
                    <a:pt x="129" y="138"/>
                  </a:lnTo>
                  <a:lnTo>
                    <a:pt x="133" y="130"/>
                  </a:lnTo>
                  <a:lnTo>
                    <a:pt x="135" y="126"/>
                  </a:lnTo>
                  <a:lnTo>
                    <a:pt x="139" y="126"/>
                  </a:lnTo>
                  <a:lnTo>
                    <a:pt x="139" y="128"/>
                  </a:lnTo>
                  <a:lnTo>
                    <a:pt x="139" y="128"/>
                  </a:lnTo>
                  <a:lnTo>
                    <a:pt x="149" y="130"/>
                  </a:lnTo>
                  <a:lnTo>
                    <a:pt x="149" y="130"/>
                  </a:lnTo>
                  <a:lnTo>
                    <a:pt x="149" y="136"/>
                  </a:lnTo>
                  <a:lnTo>
                    <a:pt x="149" y="136"/>
                  </a:lnTo>
                  <a:lnTo>
                    <a:pt x="153" y="136"/>
                  </a:lnTo>
                  <a:lnTo>
                    <a:pt x="153" y="136"/>
                  </a:lnTo>
                  <a:lnTo>
                    <a:pt x="153" y="134"/>
                  </a:lnTo>
                  <a:lnTo>
                    <a:pt x="155" y="132"/>
                  </a:lnTo>
                  <a:lnTo>
                    <a:pt x="155" y="132"/>
                  </a:lnTo>
                  <a:lnTo>
                    <a:pt x="153" y="130"/>
                  </a:lnTo>
                  <a:lnTo>
                    <a:pt x="153" y="130"/>
                  </a:lnTo>
                  <a:lnTo>
                    <a:pt x="153" y="126"/>
                  </a:lnTo>
                  <a:lnTo>
                    <a:pt x="153" y="126"/>
                  </a:lnTo>
                  <a:lnTo>
                    <a:pt x="151" y="126"/>
                  </a:lnTo>
                  <a:lnTo>
                    <a:pt x="149" y="124"/>
                  </a:lnTo>
                  <a:lnTo>
                    <a:pt x="149" y="124"/>
                  </a:lnTo>
                  <a:lnTo>
                    <a:pt x="143" y="118"/>
                  </a:lnTo>
                  <a:lnTo>
                    <a:pt x="143" y="118"/>
                  </a:lnTo>
                  <a:lnTo>
                    <a:pt x="135" y="112"/>
                  </a:lnTo>
                  <a:lnTo>
                    <a:pt x="125" y="108"/>
                  </a:lnTo>
                  <a:lnTo>
                    <a:pt x="125" y="108"/>
                  </a:lnTo>
                  <a:lnTo>
                    <a:pt x="125" y="100"/>
                  </a:lnTo>
                  <a:lnTo>
                    <a:pt x="125" y="100"/>
                  </a:lnTo>
                  <a:lnTo>
                    <a:pt x="117" y="100"/>
                  </a:lnTo>
                  <a:lnTo>
                    <a:pt x="109" y="96"/>
                  </a:lnTo>
                  <a:lnTo>
                    <a:pt x="109" y="96"/>
                  </a:lnTo>
                  <a:lnTo>
                    <a:pt x="101" y="90"/>
                  </a:lnTo>
                  <a:lnTo>
                    <a:pt x="95" y="80"/>
                  </a:lnTo>
                  <a:lnTo>
                    <a:pt x="95" y="80"/>
                  </a:lnTo>
                  <a:lnTo>
                    <a:pt x="95" y="76"/>
                  </a:lnTo>
                  <a:lnTo>
                    <a:pt x="93" y="72"/>
                  </a:lnTo>
                  <a:lnTo>
                    <a:pt x="93" y="72"/>
                  </a:lnTo>
                  <a:lnTo>
                    <a:pt x="93" y="72"/>
                  </a:lnTo>
                  <a:lnTo>
                    <a:pt x="91" y="70"/>
                  </a:lnTo>
                  <a:lnTo>
                    <a:pt x="91" y="70"/>
                  </a:lnTo>
                  <a:lnTo>
                    <a:pt x="87" y="64"/>
                  </a:lnTo>
                  <a:lnTo>
                    <a:pt x="87" y="64"/>
                  </a:lnTo>
                  <a:lnTo>
                    <a:pt x="87" y="64"/>
                  </a:lnTo>
                  <a:lnTo>
                    <a:pt x="87" y="64"/>
                  </a:lnTo>
                  <a:lnTo>
                    <a:pt x="81" y="60"/>
                  </a:lnTo>
                  <a:lnTo>
                    <a:pt x="77" y="60"/>
                  </a:lnTo>
                  <a:lnTo>
                    <a:pt x="75" y="56"/>
                  </a:lnTo>
                  <a:lnTo>
                    <a:pt x="75" y="56"/>
                  </a:lnTo>
                  <a:lnTo>
                    <a:pt x="73" y="56"/>
                  </a:lnTo>
                  <a:lnTo>
                    <a:pt x="73" y="56"/>
                  </a:lnTo>
                  <a:lnTo>
                    <a:pt x="73" y="52"/>
                  </a:lnTo>
                  <a:lnTo>
                    <a:pt x="75" y="46"/>
                  </a:lnTo>
                  <a:lnTo>
                    <a:pt x="77" y="42"/>
                  </a:lnTo>
                  <a:lnTo>
                    <a:pt x="77" y="42"/>
                  </a:lnTo>
                  <a:lnTo>
                    <a:pt x="77" y="38"/>
                  </a:lnTo>
                  <a:lnTo>
                    <a:pt x="77" y="36"/>
                  </a:lnTo>
                  <a:lnTo>
                    <a:pt x="75" y="34"/>
                  </a:lnTo>
                  <a:lnTo>
                    <a:pt x="75" y="34"/>
                  </a:lnTo>
                  <a:lnTo>
                    <a:pt x="75" y="32"/>
                  </a:lnTo>
                  <a:lnTo>
                    <a:pt x="75" y="30"/>
                  </a:lnTo>
                  <a:lnTo>
                    <a:pt x="75" y="30"/>
                  </a:lnTo>
                  <a:lnTo>
                    <a:pt x="77" y="30"/>
                  </a:lnTo>
                  <a:lnTo>
                    <a:pt x="77" y="32"/>
                  </a:lnTo>
                  <a:lnTo>
                    <a:pt x="77" y="32"/>
                  </a:lnTo>
                  <a:lnTo>
                    <a:pt x="93" y="26"/>
                  </a:lnTo>
                  <a:lnTo>
                    <a:pt x="93" y="26"/>
                  </a:lnTo>
                  <a:lnTo>
                    <a:pt x="91" y="24"/>
                  </a:lnTo>
                  <a:lnTo>
                    <a:pt x="91" y="22"/>
                  </a:lnTo>
                  <a:lnTo>
                    <a:pt x="93" y="18"/>
                  </a:lnTo>
                  <a:lnTo>
                    <a:pt x="93" y="18"/>
                  </a:lnTo>
                  <a:lnTo>
                    <a:pt x="91" y="14"/>
                  </a:lnTo>
                  <a:lnTo>
                    <a:pt x="91" y="14"/>
                  </a:lnTo>
                  <a:lnTo>
                    <a:pt x="89" y="14"/>
                  </a:lnTo>
                  <a:lnTo>
                    <a:pt x="89" y="14"/>
                  </a:lnTo>
                  <a:lnTo>
                    <a:pt x="87" y="12"/>
                  </a:lnTo>
                  <a:lnTo>
                    <a:pt x="87" y="8"/>
                  </a:lnTo>
                  <a:lnTo>
                    <a:pt x="89" y="4"/>
                  </a:lnTo>
                  <a:lnTo>
                    <a:pt x="89" y="4"/>
                  </a:lnTo>
                  <a:lnTo>
                    <a:pt x="81" y="4"/>
                  </a:lnTo>
                  <a:lnTo>
                    <a:pt x="81" y="4"/>
                  </a:lnTo>
                  <a:lnTo>
                    <a:pt x="77" y="6"/>
                  </a:lnTo>
                  <a:lnTo>
                    <a:pt x="75" y="6"/>
                  </a:lnTo>
                  <a:lnTo>
                    <a:pt x="75" y="6"/>
                  </a:lnTo>
                  <a:lnTo>
                    <a:pt x="73" y="4"/>
                  </a:lnTo>
                  <a:lnTo>
                    <a:pt x="73" y="4"/>
                  </a:lnTo>
                  <a:lnTo>
                    <a:pt x="71" y="2"/>
                  </a:lnTo>
                  <a:lnTo>
                    <a:pt x="69" y="2"/>
                  </a:lnTo>
                  <a:lnTo>
                    <a:pt x="69" y="2"/>
                  </a:lnTo>
                  <a:lnTo>
                    <a:pt x="65" y="2"/>
                  </a:lnTo>
                  <a:lnTo>
                    <a:pt x="63" y="0"/>
                  </a:lnTo>
                  <a:lnTo>
                    <a:pt x="63" y="0"/>
                  </a:lnTo>
                  <a:lnTo>
                    <a:pt x="59" y="0"/>
                  </a:lnTo>
                  <a:lnTo>
                    <a:pt x="59" y="2"/>
                  </a:lnTo>
                  <a:lnTo>
                    <a:pt x="59" y="2"/>
                  </a:lnTo>
                  <a:lnTo>
                    <a:pt x="59" y="2"/>
                  </a:lnTo>
                  <a:lnTo>
                    <a:pt x="57" y="2"/>
                  </a:lnTo>
                  <a:lnTo>
                    <a:pt x="52" y="0"/>
                  </a:lnTo>
                  <a:lnTo>
                    <a:pt x="52" y="0"/>
                  </a:lnTo>
                  <a:lnTo>
                    <a:pt x="52" y="2"/>
                  </a:lnTo>
                  <a:lnTo>
                    <a:pt x="50" y="4"/>
                  </a:lnTo>
                  <a:lnTo>
                    <a:pt x="50" y="4"/>
                  </a:lnTo>
                  <a:lnTo>
                    <a:pt x="48" y="6"/>
                  </a:lnTo>
                  <a:lnTo>
                    <a:pt x="50" y="6"/>
                  </a:lnTo>
                  <a:lnTo>
                    <a:pt x="52" y="8"/>
                  </a:lnTo>
                  <a:lnTo>
                    <a:pt x="50" y="8"/>
                  </a:lnTo>
                  <a:lnTo>
                    <a:pt x="50" y="8"/>
                  </a:lnTo>
                  <a:lnTo>
                    <a:pt x="48" y="10"/>
                  </a:lnTo>
                  <a:lnTo>
                    <a:pt x="46" y="10"/>
                  </a:lnTo>
                  <a:lnTo>
                    <a:pt x="46" y="10"/>
                  </a:lnTo>
                  <a:lnTo>
                    <a:pt x="44" y="8"/>
                  </a:lnTo>
                  <a:lnTo>
                    <a:pt x="42" y="10"/>
                  </a:lnTo>
                  <a:lnTo>
                    <a:pt x="40" y="12"/>
                  </a:lnTo>
                  <a:lnTo>
                    <a:pt x="40" y="12"/>
                  </a:lnTo>
                  <a:lnTo>
                    <a:pt x="40" y="14"/>
                  </a:lnTo>
                  <a:lnTo>
                    <a:pt x="38" y="14"/>
                  </a:lnTo>
                  <a:lnTo>
                    <a:pt x="36" y="16"/>
                  </a:lnTo>
                  <a:lnTo>
                    <a:pt x="34" y="18"/>
                  </a:lnTo>
                  <a:lnTo>
                    <a:pt x="34" y="18"/>
                  </a:lnTo>
                  <a:lnTo>
                    <a:pt x="36" y="22"/>
                  </a:lnTo>
                  <a:lnTo>
                    <a:pt x="34" y="22"/>
                  </a:lnTo>
                  <a:lnTo>
                    <a:pt x="34" y="22"/>
                  </a:lnTo>
                  <a:lnTo>
                    <a:pt x="32" y="22"/>
                  </a:lnTo>
                  <a:lnTo>
                    <a:pt x="28" y="20"/>
                  </a:lnTo>
                  <a:lnTo>
                    <a:pt x="28" y="20"/>
                  </a:lnTo>
                  <a:lnTo>
                    <a:pt x="24" y="20"/>
                  </a:lnTo>
                  <a:lnTo>
                    <a:pt x="22" y="16"/>
                  </a:lnTo>
                  <a:lnTo>
                    <a:pt x="22" y="16"/>
                  </a:lnTo>
                  <a:lnTo>
                    <a:pt x="20" y="14"/>
                  </a:lnTo>
                  <a:lnTo>
                    <a:pt x="20" y="16"/>
                  </a:lnTo>
                  <a:lnTo>
                    <a:pt x="20" y="20"/>
                  </a:lnTo>
                  <a:lnTo>
                    <a:pt x="20" y="20"/>
                  </a:lnTo>
                  <a:lnTo>
                    <a:pt x="18" y="22"/>
                  </a:lnTo>
                  <a:lnTo>
                    <a:pt x="16" y="24"/>
                  </a:lnTo>
                  <a:lnTo>
                    <a:pt x="12" y="24"/>
                  </a:lnTo>
                  <a:lnTo>
                    <a:pt x="10" y="26"/>
                  </a:lnTo>
                  <a:lnTo>
                    <a:pt x="8" y="32"/>
                  </a:lnTo>
                  <a:lnTo>
                    <a:pt x="8" y="32"/>
                  </a:lnTo>
                  <a:lnTo>
                    <a:pt x="6" y="34"/>
                  </a:lnTo>
                  <a:lnTo>
                    <a:pt x="4" y="36"/>
                  </a:lnTo>
                  <a:lnTo>
                    <a:pt x="2" y="36"/>
                  </a:lnTo>
                  <a:lnTo>
                    <a:pt x="2" y="36"/>
                  </a:lnTo>
                  <a:lnTo>
                    <a:pt x="0" y="38"/>
                  </a:lnTo>
                  <a:lnTo>
                    <a:pt x="0" y="40"/>
                  </a:lnTo>
                  <a:lnTo>
                    <a:pt x="0" y="42"/>
                  </a:lnTo>
                  <a:lnTo>
                    <a:pt x="2" y="44"/>
                  </a:lnTo>
                  <a:lnTo>
                    <a:pt x="2" y="44"/>
                  </a:lnTo>
                  <a:lnTo>
                    <a:pt x="4" y="46"/>
                  </a:lnTo>
                  <a:lnTo>
                    <a:pt x="4" y="48"/>
                  </a:lnTo>
                  <a:lnTo>
                    <a:pt x="2" y="52"/>
                  </a:lnTo>
                  <a:lnTo>
                    <a:pt x="4" y="56"/>
                  </a:lnTo>
                  <a:lnTo>
                    <a:pt x="4" y="56"/>
                  </a:lnTo>
                  <a:lnTo>
                    <a:pt x="6" y="56"/>
                  </a:lnTo>
                  <a:lnTo>
                    <a:pt x="8" y="56"/>
                  </a:lnTo>
                  <a:lnTo>
                    <a:pt x="10" y="56"/>
                  </a:lnTo>
                  <a:lnTo>
                    <a:pt x="10" y="56"/>
                  </a:lnTo>
                  <a:lnTo>
                    <a:pt x="10" y="56"/>
                  </a:lnTo>
                  <a:lnTo>
                    <a:pt x="6" y="60"/>
                  </a:lnTo>
                  <a:lnTo>
                    <a:pt x="6" y="60"/>
                  </a:lnTo>
                  <a:lnTo>
                    <a:pt x="6" y="62"/>
                  </a:lnTo>
                  <a:lnTo>
                    <a:pt x="6" y="62"/>
                  </a:lnTo>
                  <a:lnTo>
                    <a:pt x="8" y="64"/>
                  </a:lnTo>
                  <a:lnTo>
                    <a:pt x="8" y="64"/>
                  </a:lnTo>
                  <a:close/>
                  <a:moveTo>
                    <a:pt x="34" y="110"/>
                  </a:moveTo>
                  <a:lnTo>
                    <a:pt x="34" y="110"/>
                  </a:lnTo>
                  <a:lnTo>
                    <a:pt x="24" y="118"/>
                  </a:lnTo>
                  <a:lnTo>
                    <a:pt x="24" y="118"/>
                  </a:lnTo>
                  <a:lnTo>
                    <a:pt x="22" y="118"/>
                  </a:lnTo>
                  <a:lnTo>
                    <a:pt x="22" y="118"/>
                  </a:lnTo>
                  <a:lnTo>
                    <a:pt x="24" y="126"/>
                  </a:lnTo>
                  <a:lnTo>
                    <a:pt x="24" y="126"/>
                  </a:lnTo>
                  <a:lnTo>
                    <a:pt x="24" y="138"/>
                  </a:lnTo>
                  <a:lnTo>
                    <a:pt x="28" y="148"/>
                  </a:lnTo>
                  <a:lnTo>
                    <a:pt x="28" y="148"/>
                  </a:lnTo>
                  <a:lnTo>
                    <a:pt x="30" y="150"/>
                  </a:lnTo>
                  <a:lnTo>
                    <a:pt x="32" y="152"/>
                  </a:lnTo>
                  <a:lnTo>
                    <a:pt x="32" y="152"/>
                  </a:lnTo>
                  <a:lnTo>
                    <a:pt x="32" y="152"/>
                  </a:lnTo>
                  <a:lnTo>
                    <a:pt x="36" y="152"/>
                  </a:lnTo>
                  <a:lnTo>
                    <a:pt x="36" y="152"/>
                  </a:lnTo>
                  <a:lnTo>
                    <a:pt x="40" y="148"/>
                  </a:lnTo>
                  <a:lnTo>
                    <a:pt x="40" y="148"/>
                  </a:lnTo>
                  <a:lnTo>
                    <a:pt x="40" y="148"/>
                  </a:lnTo>
                  <a:lnTo>
                    <a:pt x="44" y="122"/>
                  </a:lnTo>
                  <a:lnTo>
                    <a:pt x="44" y="122"/>
                  </a:lnTo>
                  <a:lnTo>
                    <a:pt x="40" y="118"/>
                  </a:lnTo>
                  <a:lnTo>
                    <a:pt x="40" y="118"/>
                  </a:lnTo>
                  <a:lnTo>
                    <a:pt x="40" y="114"/>
                  </a:lnTo>
                  <a:lnTo>
                    <a:pt x="38" y="112"/>
                  </a:lnTo>
                  <a:lnTo>
                    <a:pt x="38" y="112"/>
                  </a:lnTo>
                  <a:lnTo>
                    <a:pt x="34" y="110"/>
                  </a:lnTo>
                  <a:lnTo>
                    <a:pt x="34" y="1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2" name="Freeform 162"/>
            <p:cNvSpPr>
              <a:spLocks noChangeAspect="1" noEditPoints="1"/>
            </p:cNvSpPr>
            <p:nvPr/>
          </p:nvSpPr>
          <p:spPr bwMode="gray">
            <a:xfrm>
              <a:off x="4056192" y="2789221"/>
              <a:ext cx="91806" cy="138177"/>
            </a:xfrm>
            <a:custGeom>
              <a:avLst/>
              <a:gdLst/>
              <a:ahLst/>
              <a:cxnLst>
                <a:cxn ang="0">
                  <a:pos x="46" y="4"/>
                </a:cxn>
                <a:cxn ang="0">
                  <a:pos x="42" y="0"/>
                </a:cxn>
                <a:cxn ang="0">
                  <a:pos x="42" y="4"/>
                </a:cxn>
                <a:cxn ang="0">
                  <a:pos x="38" y="6"/>
                </a:cxn>
                <a:cxn ang="0">
                  <a:pos x="34" y="4"/>
                </a:cxn>
                <a:cxn ang="0">
                  <a:pos x="30" y="10"/>
                </a:cxn>
                <a:cxn ang="0">
                  <a:pos x="30" y="12"/>
                </a:cxn>
                <a:cxn ang="0">
                  <a:pos x="28" y="16"/>
                </a:cxn>
                <a:cxn ang="0">
                  <a:pos x="24" y="20"/>
                </a:cxn>
                <a:cxn ang="0">
                  <a:pos x="22" y="24"/>
                </a:cxn>
                <a:cxn ang="0">
                  <a:pos x="22" y="24"/>
                </a:cxn>
                <a:cxn ang="0">
                  <a:pos x="14" y="24"/>
                </a:cxn>
                <a:cxn ang="0">
                  <a:pos x="12" y="24"/>
                </a:cxn>
                <a:cxn ang="0">
                  <a:pos x="8" y="20"/>
                </a:cxn>
                <a:cxn ang="0">
                  <a:pos x="14" y="30"/>
                </a:cxn>
                <a:cxn ang="0">
                  <a:pos x="12" y="34"/>
                </a:cxn>
                <a:cxn ang="0">
                  <a:pos x="4" y="34"/>
                </a:cxn>
                <a:cxn ang="0">
                  <a:pos x="2" y="38"/>
                </a:cxn>
                <a:cxn ang="0">
                  <a:pos x="2" y="44"/>
                </a:cxn>
                <a:cxn ang="0">
                  <a:pos x="18" y="46"/>
                </a:cxn>
                <a:cxn ang="0">
                  <a:pos x="18" y="42"/>
                </a:cxn>
                <a:cxn ang="0">
                  <a:pos x="18" y="46"/>
                </a:cxn>
                <a:cxn ang="0">
                  <a:pos x="14" y="50"/>
                </a:cxn>
                <a:cxn ang="0">
                  <a:pos x="12" y="56"/>
                </a:cxn>
                <a:cxn ang="0">
                  <a:pos x="12" y="62"/>
                </a:cxn>
                <a:cxn ang="0">
                  <a:pos x="6" y="64"/>
                </a:cxn>
                <a:cxn ang="0">
                  <a:pos x="4" y="68"/>
                </a:cxn>
                <a:cxn ang="0">
                  <a:pos x="0" y="72"/>
                </a:cxn>
                <a:cxn ang="0">
                  <a:pos x="2" y="76"/>
                </a:cxn>
                <a:cxn ang="0">
                  <a:pos x="0" y="80"/>
                </a:cxn>
                <a:cxn ang="0">
                  <a:pos x="4" y="78"/>
                </a:cxn>
                <a:cxn ang="0">
                  <a:pos x="8" y="80"/>
                </a:cxn>
                <a:cxn ang="0">
                  <a:pos x="6" y="84"/>
                </a:cxn>
                <a:cxn ang="0">
                  <a:pos x="16" y="78"/>
                </a:cxn>
                <a:cxn ang="0">
                  <a:pos x="16" y="82"/>
                </a:cxn>
                <a:cxn ang="0">
                  <a:pos x="24" y="80"/>
                </a:cxn>
                <a:cxn ang="0">
                  <a:pos x="26" y="80"/>
                </a:cxn>
                <a:cxn ang="0">
                  <a:pos x="28" y="74"/>
                </a:cxn>
                <a:cxn ang="0">
                  <a:pos x="34" y="76"/>
                </a:cxn>
                <a:cxn ang="0">
                  <a:pos x="38" y="72"/>
                </a:cxn>
                <a:cxn ang="0">
                  <a:pos x="38" y="68"/>
                </a:cxn>
                <a:cxn ang="0">
                  <a:pos x="44" y="66"/>
                </a:cxn>
                <a:cxn ang="0">
                  <a:pos x="46" y="64"/>
                </a:cxn>
                <a:cxn ang="0">
                  <a:pos x="48" y="64"/>
                </a:cxn>
                <a:cxn ang="0">
                  <a:pos x="48" y="60"/>
                </a:cxn>
                <a:cxn ang="0">
                  <a:pos x="52" y="48"/>
                </a:cxn>
                <a:cxn ang="0">
                  <a:pos x="50" y="44"/>
                </a:cxn>
                <a:cxn ang="0">
                  <a:pos x="50" y="36"/>
                </a:cxn>
                <a:cxn ang="0">
                  <a:pos x="50" y="34"/>
                </a:cxn>
                <a:cxn ang="0">
                  <a:pos x="50" y="30"/>
                </a:cxn>
                <a:cxn ang="0">
                  <a:pos x="52" y="28"/>
                </a:cxn>
                <a:cxn ang="0">
                  <a:pos x="44" y="26"/>
                </a:cxn>
                <a:cxn ang="0">
                  <a:pos x="40" y="28"/>
                </a:cxn>
                <a:cxn ang="0">
                  <a:pos x="38" y="24"/>
                </a:cxn>
                <a:cxn ang="0">
                  <a:pos x="34" y="22"/>
                </a:cxn>
                <a:cxn ang="0">
                  <a:pos x="34" y="18"/>
                </a:cxn>
                <a:cxn ang="0">
                  <a:pos x="38" y="14"/>
                </a:cxn>
                <a:cxn ang="0">
                  <a:pos x="42" y="8"/>
                </a:cxn>
                <a:cxn ang="0">
                  <a:pos x="18" y="56"/>
                </a:cxn>
                <a:cxn ang="0">
                  <a:pos x="18" y="58"/>
                </a:cxn>
                <a:cxn ang="0">
                  <a:pos x="14" y="60"/>
                </a:cxn>
                <a:cxn ang="0">
                  <a:pos x="18" y="56"/>
                </a:cxn>
              </a:cxnLst>
              <a:rect l="0" t="0" r="r" b="b"/>
              <a:pathLst>
                <a:path w="54" h="84">
                  <a:moveTo>
                    <a:pt x="46" y="6"/>
                  </a:moveTo>
                  <a:lnTo>
                    <a:pt x="46" y="6"/>
                  </a:lnTo>
                  <a:lnTo>
                    <a:pt x="46" y="4"/>
                  </a:lnTo>
                  <a:lnTo>
                    <a:pt x="46" y="4"/>
                  </a:lnTo>
                  <a:lnTo>
                    <a:pt x="44" y="2"/>
                  </a:lnTo>
                  <a:lnTo>
                    <a:pt x="42" y="0"/>
                  </a:lnTo>
                  <a:lnTo>
                    <a:pt x="42" y="0"/>
                  </a:lnTo>
                  <a:lnTo>
                    <a:pt x="42" y="0"/>
                  </a:lnTo>
                  <a:lnTo>
                    <a:pt x="42" y="4"/>
                  </a:lnTo>
                  <a:lnTo>
                    <a:pt x="42" y="4"/>
                  </a:lnTo>
                  <a:lnTo>
                    <a:pt x="40" y="6"/>
                  </a:lnTo>
                  <a:lnTo>
                    <a:pt x="38" y="6"/>
                  </a:lnTo>
                  <a:lnTo>
                    <a:pt x="38" y="4"/>
                  </a:lnTo>
                  <a:lnTo>
                    <a:pt x="38" y="4"/>
                  </a:lnTo>
                  <a:lnTo>
                    <a:pt x="34" y="4"/>
                  </a:lnTo>
                  <a:lnTo>
                    <a:pt x="30" y="4"/>
                  </a:lnTo>
                  <a:lnTo>
                    <a:pt x="30" y="4"/>
                  </a:lnTo>
                  <a:lnTo>
                    <a:pt x="30" y="10"/>
                  </a:lnTo>
                  <a:lnTo>
                    <a:pt x="30" y="10"/>
                  </a:lnTo>
                  <a:lnTo>
                    <a:pt x="26" y="10"/>
                  </a:lnTo>
                  <a:lnTo>
                    <a:pt x="30" y="12"/>
                  </a:lnTo>
                  <a:lnTo>
                    <a:pt x="30" y="16"/>
                  </a:lnTo>
                  <a:lnTo>
                    <a:pt x="30" y="16"/>
                  </a:lnTo>
                  <a:lnTo>
                    <a:pt x="28" y="16"/>
                  </a:lnTo>
                  <a:lnTo>
                    <a:pt x="24" y="18"/>
                  </a:lnTo>
                  <a:lnTo>
                    <a:pt x="24" y="18"/>
                  </a:lnTo>
                  <a:lnTo>
                    <a:pt x="24" y="20"/>
                  </a:lnTo>
                  <a:lnTo>
                    <a:pt x="24" y="24"/>
                  </a:lnTo>
                  <a:lnTo>
                    <a:pt x="24" y="24"/>
                  </a:lnTo>
                  <a:lnTo>
                    <a:pt x="22" y="24"/>
                  </a:lnTo>
                  <a:lnTo>
                    <a:pt x="22" y="24"/>
                  </a:lnTo>
                  <a:lnTo>
                    <a:pt x="22" y="24"/>
                  </a:lnTo>
                  <a:lnTo>
                    <a:pt x="22" y="24"/>
                  </a:lnTo>
                  <a:lnTo>
                    <a:pt x="16" y="22"/>
                  </a:lnTo>
                  <a:lnTo>
                    <a:pt x="16" y="22"/>
                  </a:lnTo>
                  <a:lnTo>
                    <a:pt x="14" y="24"/>
                  </a:lnTo>
                  <a:lnTo>
                    <a:pt x="14" y="24"/>
                  </a:lnTo>
                  <a:lnTo>
                    <a:pt x="12" y="24"/>
                  </a:lnTo>
                  <a:lnTo>
                    <a:pt x="12" y="24"/>
                  </a:lnTo>
                  <a:lnTo>
                    <a:pt x="10" y="20"/>
                  </a:lnTo>
                  <a:lnTo>
                    <a:pt x="8" y="20"/>
                  </a:lnTo>
                  <a:lnTo>
                    <a:pt x="8" y="20"/>
                  </a:lnTo>
                  <a:lnTo>
                    <a:pt x="8" y="26"/>
                  </a:lnTo>
                  <a:lnTo>
                    <a:pt x="14" y="30"/>
                  </a:lnTo>
                  <a:lnTo>
                    <a:pt x="14" y="30"/>
                  </a:lnTo>
                  <a:lnTo>
                    <a:pt x="12" y="32"/>
                  </a:lnTo>
                  <a:lnTo>
                    <a:pt x="12" y="34"/>
                  </a:lnTo>
                  <a:lnTo>
                    <a:pt x="12" y="34"/>
                  </a:lnTo>
                  <a:lnTo>
                    <a:pt x="8" y="34"/>
                  </a:lnTo>
                  <a:lnTo>
                    <a:pt x="4" y="34"/>
                  </a:lnTo>
                  <a:lnTo>
                    <a:pt x="4" y="34"/>
                  </a:lnTo>
                  <a:lnTo>
                    <a:pt x="6" y="38"/>
                  </a:lnTo>
                  <a:lnTo>
                    <a:pt x="6" y="38"/>
                  </a:lnTo>
                  <a:lnTo>
                    <a:pt x="2" y="38"/>
                  </a:lnTo>
                  <a:lnTo>
                    <a:pt x="2" y="38"/>
                  </a:lnTo>
                  <a:lnTo>
                    <a:pt x="2" y="44"/>
                  </a:lnTo>
                  <a:lnTo>
                    <a:pt x="2" y="44"/>
                  </a:lnTo>
                  <a:lnTo>
                    <a:pt x="10" y="44"/>
                  </a:lnTo>
                  <a:lnTo>
                    <a:pt x="18" y="46"/>
                  </a:lnTo>
                  <a:lnTo>
                    <a:pt x="18" y="46"/>
                  </a:lnTo>
                  <a:lnTo>
                    <a:pt x="18" y="42"/>
                  </a:lnTo>
                  <a:lnTo>
                    <a:pt x="18" y="42"/>
                  </a:lnTo>
                  <a:lnTo>
                    <a:pt x="18" y="42"/>
                  </a:lnTo>
                  <a:lnTo>
                    <a:pt x="18" y="42"/>
                  </a:lnTo>
                  <a:lnTo>
                    <a:pt x="18" y="44"/>
                  </a:lnTo>
                  <a:lnTo>
                    <a:pt x="18" y="46"/>
                  </a:lnTo>
                  <a:lnTo>
                    <a:pt x="18" y="46"/>
                  </a:lnTo>
                  <a:lnTo>
                    <a:pt x="14" y="50"/>
                  </a:lnTo>
                  <a:lnTo>
                    <a:pt x="14" y="50"/>
                  </a:lnTo>
                  <a:lnTo>
                    <a:pt x="14" y="54"/>
                  </a:lnTo>
                  <a:lnTo>
                    <a:pt x="14" y="54"/>
                  </a:lnTo>
                  <a:lnTo>
                    <a:pt x="12" y="56"/>
                  </a:lnTo>
                  <a:lnTo>
                    <a:pt x="8" y="58"/>
                  </a:lnTo>
                  <a:lnTo>
                    <a:pt x="8" y="60"/>
                  </a:lnTo>
                  <a:lnTo>
                    <a:pt x="12" y="62"/>
                  </a:lnTo>
                  <a:lnTo>
                    <a:pt x="12" y="62"/>
                  </a:lnTo>
                  <a:lnTo>
                    <a:pt x="6" y="64"/>
                  </a:lnTo>
                  <a:lnTo>
                    <a:pt x="6" y="64"/>
                  </a:lnTo>
                  <a:lnTo>
                    <a:pt x="8" y="68"/>
                  </a:lnTo>
                  <a:lnTo>
                    <a:pt x="8" y="68"/>
                  </a:lnTo>
                  <a:lnTo>
                    <a:pt x="4" y="68"/>
                  </a:lnTo>
                  <a:lnTo>
                    <a:pt x="0" y="68"/>
                  </a:lnTo>
                  <a:lnTo>
                    <a:pt x="0" y="72"/>
                  </a:lnTo>
                  <a:lnTo>
                    <a:pt x="0" y="72"/>
                  </a:lnTo>
                  <a:lnTo>
                    <a:pt x="4" y="72"/>
                  </a:lnTo>
                  <a:lnTo>
                    <a:pt x="4" y="72"/>
                  </a:lnTo>
                  <a:lnTo>
                    <a:pt x="2" y="76"/>
                  </a:lnTo>
                  <a:lnTo>
                    <a:pt x="2" y="76"/>
                  </a:lnTo>
                  <a:lnTo>
                    <a:pt x="2" y="76"/>
                  </a:lnTo>
                  <a:lnTo>
                    <a:pt x="0" y="80"/>
                  </a:lnTo>
                  <a:lnTo>
                    <a:pt x="0" y="80"/>
                  </a:lnTo>
                  <a:lnTo>
                    <a:pt x="4" y="78"/>
                  </a:lnTo>
                  <a:lnTo>
                    <a:pt x="4" y="78"/>
                  </a:lnTo>
                  <a:lnTo>
                    <a:pt x="10" y="78"/>
                  </a:lnTo>
                  <a:lnTo>
                    <a:pt x="10" y="78"/>
                  </a:lnTo>
                  <a:lnTo>
                    <a:pt x="8" y="80"/>
                  </a:lnTo>
                  <a:lnTo>
                    <a:pt x="8" y="80"/>
                  </a:lnTo>
                  <a:lnTo>
                    <a:pt x="6" y="82"/>
                  </a:lnTo>
                  <a:lnTo>
                    <a:pt x="6" y="84"/>
                  </a:lnTo>
                  <a:lnTo>
                    <a:pt x="8" y="84"/>
                  </a:lnTo>
                  <a:lnTo>
                    <a:pt x="8" y="84"/>
                  </a:lnTo>
                  <a:lnTo>
                    <a:pt x="16" y="78"/>
                  </a:lnTo>
                  <a:lnTo>
                    <a:pt x="16" y="78"/>
                  </a:lnTo>
                  <a:lnTo>
                    <a:pt x="16" y="82"/>
                  </a:lnTo>
                  <a:lnTo>
                    <a:pt x="16" y="82"/>
                  </a:lnTo>
                  <a:lnTo>
                    <a:pt x="20" y="84"/>
                  </a:lnTo>
                  <a:lnTo>
                    <a:pt x="20" y="84"/>
                  </a:lnTo>
                  <a:lnTo>
                    <a:pt x="24" y="80"/>
                  </a:lnTo>
                  <a:lnTo>
                    <a:pt x="24" y="80"/>
                  </a:lnTo>
                  <a:lnTo>
                    <a:pt x="26" y="80"/>
                  </a:lnTo>
                  <a:lnTo>
                    <a:pt x="26" y="80"/>
                  </a:lnTo>
                  <a:lnTo>
                    <a:pt x="28" y="78"/>
                  </a:lnTo>
                  <a:lnTo>
                    <a:pt x="28" y="76"/>
                  </a:lnTo>
                  <a:lnTo>
                    <a:pt x="28" y="74"/>
                  </a:lnTo>
                  <a:lnTo>
                    <a:pt x="28" y="74"/>
                  </a:lnTo>
                  <a:lnTo>
                    <a:pt x="32" y="74"/>
                  </a:lnTo>
                  <a:lnTo>
                    <a:pt x="34" y="76"/>
                  </a:lnTo>
                  <a:lnTo>
                    <a:pt x="34" y="76"/>
                  </a:lnTo>
                  <a:lnTo>
                    <a:pt x="36" y="72"/>
                  </a:lnTo>
                  <a:lnTo>
                    <a:pt x="38" y="72"/>
                  </a:lnTo>
                  <a:lnTo>
                    <a:pt x="38" y="72"/>
                  </a:lnTo>
                  <a:lnTo>
                    <a:pt x="38" y="68"/>
                  </a:lnTo>
                  <a:lnTo>
                    <a:pt x="38" y="68"/>
                  </a:lnTo>
                  <a:lnTo>
                    <a:pt x="44" y="68"/>
                  </a:lnTo>
                  <a:lnTo>
                    <a:pt x="44" y="68"/>
                  </a:lnTo>
                  <a:lnTo>
                    <a:pt x="44" y="66"/>
                  </a:lnTo>
                  <a:lnTo>
                    <a:pt x="44" y="64"/>
                  </a:lnTo>
                  <a:lnTo>
                    <a:pt x="44" y="64"/>
                  </a:lnTo>
                  <a:lnTo>
                    <a:pt x="46" y="64"/>
                  </a:lnTo>
                  <a:lnTo>
                    <a:pt x="50" y="66"/>
                  </a:lnTo>
                  <a:lnTo>
                    <a:pt x="50" y="66"/>
                  </a:lnTo>
                  <a:lnTo>
                    <a:pt x="48" y="64"/>
                  </a:lnTo>
                  <a:lnTo>
                    <a:pt x="48" y="62"/>
                  </a:lnTo>
                  <a:lnTo>
                    <a:pt x="48" y="60"/>
                  </a:lnTo>
                  <a:lnTo>
                    <a:pt x="48" y="60"/>
                  </a:lnTo>
                  <a:lnTo>
                    <a:pt x="52" y="60"/>
                  </a:lnTo>
                  <a:lnTo>
                    <a:pt x="52" y="60"/>
                  </a:lnTo>
                  <a:lnTo>
                    <a:pt x="52" y="48"/>
                  </a:lnTo>
                  <a:lnTo>
                    <a:pt x="50" y="48"/>
                  </a:lnTo>
                  <a:lnTo>
                    <a:pt x="50" y="48"/>
                  </a:lnTo>
                  <a:lnTo>
                    <a:pt x="50" y="44"/>
                  </a:lnTo>
                  <a:lnTo>
                    <a:pt x="48" y="44"/>
                  </a:lnTo>
                  <a:lnTo>
                    <a:pt x="48" y="44"/>
                  </a:lnTo>
                  <a:lnTo>
                    <a:pt x="50" y="36"/>
                  </a:lnTo>
                  <a:lnTo>
                    <a:pt x="50" y="36"/>
                  </a:lnTo>
                  <a:lnTo>
                    <a:pt x="50" y="34"/>
                  </a:lnTo>
                  <a:lnTo>
                    <a:pt x="50" y="34"/>
                  </a:lnTo>
                  <a:lnTo>
                    <a:pt x="50" y="34"/>
                  </a:lnTo>
                  <a:lnTo>
                    <a:pt x="50" y="34"/>
                  </a:lnTo>
                  <a:lnTo>
                    <a:pt x="50" y="30"/>
                  </a:lnTo>
                  <a:lnTo>
                    <a:pt x="50" y="30"/>
                  </a:lnTo>
                  <a:lnTo>
                    <a:pt x="54" y="28"/>
                  </a:lnTo>
                  <a:lnTo>
                    <a:pt x="52" y="28"/>
                  </a:lnTo>
                  <a:lnTo>
                    <a:pt x="48" y="28"/>
                  </a:lnTo>
                  <a:lnTo>
                    <a:pt x="44" y="26"/>
                  </a:lnTo>
                  <a:lnTo>
                    <a:pt x="44" y="26"/>
                  </a:lnTo>
                  <a:lnTo>
                    <a:pt x="44" y="26"/>
                  </a:lnTo>
                  <a:lnTo>
                    <a:pt x="40" y="28"/>
                  </a:lnTo>
                  <a:lnTo>
                    <a:pt x="40" y="28"/>
                  </a:lnTo>
                  <a:lnTo>
                    <a:pt x="38" y="28"/>
                  </a:lnTo>
                  <a:lnTo>
                    <a:pt x="38" y="26"/>
                  </a:lnTo>
                  <a:lnTo>
                    <a:pt x="38" y="24"/>
                  </a:lnTo>
                  <a:lnTo>
                    <a:pt x="36" y="22"/>
                  </a:lnTo>
                  <a:lnTo>
                    <a:pt x="36" y="22"/>
                  </a:lnTo>
                  <a:lnTo>
                    <a:pt x="34" y="22"/>
                  </a:lnTo>
                  <a:lnTo>
                    <a:pt x="34" y="20"/>
                  </a:lnTo>
                  <a:lnTo>
                    <a:pt x="34" y="20"/>
                  </a:lnTo>
                  <a:lnTo>
                    <a:pt x="34" y="18"/>
                  </a:lnTo>
                  <a:lnTo>
                    <a:pt x="36" y="18"/>
                  </a:lnTo>
                  <a:lnTo>
                    <a:pt x="38" y="16"/>
                  </a:lnTo>
                  <a:lnTo>
                    <a:pt x="38" y="14"/>
                  </a:lnTo>
                  <a:lnTo>
                    <a:pt x="38" y="14"/>
                  </a:lnTo>
                  <a:lnTo>
                    <a:pt x="40" y="10"/>
                  </a:lnTo>
                  <a:lnTo>
                    <a:pt x="42" y="8"/>
                  </a:lnTo>
                  <a:lnTo>
                    <a:pt x="46" y="6"/>
                  </a:lnTo>
                  <a:lnTo>
                    <a:pt x="46" y="6"/>
                  </a:lnTo>
                  <a:close/>
                  <a:moveTo>
                    <a:pt x="18" y="56"/>
                  </a:moveTo>
                  <a:lnTo>
                    <a:pt x="18" y="56"/>
                  </a:lnTo>
                  <a:lnTo>
                    <a:pt x="18" y="56"/>
                  </a:lnTo>
                  <a:lnTo>
                    <a:pt x="18" y="58"/>
                  </a:lnTo>
                  <a:lnTo>
                    <a:pt x="16" y="60"/>
                  </a:lnTo>
                  <a:lnTo>
                    <a:pt x="16" y="60"/>
                  </a:lnTo>
                  <a:lnTo>
                    <a:pt x="14" y="60"/>
                  </a:lnTo>
                  <a:lnTo>
                    <a:pt x="14" y="60"/>
                  </a:lnTo>
                  <a:lnTo>
                    <a:pt x="18" y="56"/>
                  </a:lnTo>
                  <a:lnTo>
                    <a:pt x="18" y="5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3" name="Freeform 163"/>
            <p:cNvSpPr>
              <a:spLocks noChangeAspect="1"/>
            </p:cNvSpPr>
            <p:nvPr/>
          </p:nvSpPr>
          <p:spPr bwMode="gray">
            <a:xfrm>
              <a:off x="5176568" y="3374830"/>
              <a:ext cx="234615" cy="233586"/>
            </a:xfrm>
            <a:custGeom>
              <a:avLst/>
              <a:gdLst/>
              <a:ahLst/>
              <a:cxnLst>
                <a:cxn ang="0">
                  <a:pos x="136" y="128"/>
                </a:cxn>
                <a:cxn ang="0">
                  <a:pos x="132" y="122"/>
                </a:cxn>
                <a:cxn ang="0">
                  <a:pos x="126" y="114"/>
                </a:cxn>
                <a:cxn ang="0">
                  <a:pos x="124" y="102"/>
                </a:cxn>
                <a:cxn ang="0">
                  <a:pos x="122" y="94"/>
                </a:cxn>
                <a:cxn ang="0">
                  <a:pos x="116" y="86"/>
                </a:cxn>
                <a:cxn ang="0">
                  <a:pos x="110" y="84"/>
                </a:cxn>
                <a:cxn ang="0">
                  <a:pos x="110" y="82"/>
                </a:cxn>
                <a:cxn ang="0">
                  <a:pos x="106" y="74"/>
                </a:cxn>
                <a:cxn ang="0">
                  <a:pos x="96" y="68"/>
                </a:cxn>
                <a:cxn ang="0">
                  <a:pos x="92" y="58"/>
                </a:cxn>
                <a:cxn ang="0">
                  <a:pos x="88" y="52"/>
                </a:cxn>
                <a:cxn ang="0">
                  <a:pos x="90" y="50"/>
                </a:cxn>
                <a:cxn ang="0">
                  <a:pos x="90" y="46"/>
                </a:cxn>
                <a:cxn ang="0">
                  <a:pos x="94" y="44"/>
                </a:cxn>
                <a:cxn ang="0">
                  <a:pos x="96" y="40"/>
                </a:cxn>
                <a:cxn ang="0">
                  <a:pos x="94" y="34"/>
                </a:cxn>
                <a:cxn ang="0">
                  <a:pos x="100" y="34"/>
                </a:cxn>
                <a:cxn ang="0">
                  <a:pos x="102" y="30"/>
                </a:cxn>
                <a:cxn ang="0">
                  <a:pos x="98" y="30"/>
                </a:cxn>
                <a:cxn ang="0">
                  <a:pos x="90" y="28"/>
                </a:cxn>
                <a:cxn ang="0">
                  <a:pos x="86" y="28"/>
                </a:cxn>
                <a:cxn ang="0">
                  <a:pos x="82" y="26"/>
                </a:cxn>
                <a:cxn ang="0">
                  <a:pos x="80" y="22"/>
                </a:cxn>
                <a:cxn ang="0">
                  <a:pos x="78" y="20"/>
                </a:cxn>
                <a:cxn ang="0">
                  <a:pos x="78" y="16"/>
                </a:cxn>
                <a:cxn ang="0">
                  <a:pos x="78" y="14"/>
                </a:cxn>
                <a:cxn ang="0">
                  <a:pos x="78" y="10"/>
                </a:cxn>
                <a:cxn ang="0">
                  <a:pos x="66" y="6"/>
                </a:cxn>
                <a:cxn ang="0">
                  <a:pos x="62" y="0"/>
                </a:cxn>
                <a:cxn ang="0">
                  <a:pos x="56" y="4"/>
                </a:cxn>
                <a:cxn ang="0">
                  <a:pos x="50" y="2"/>
                </a:cxn>
                <a:cxn ang="0">
                  <a:pos x="46" y="4"/>
                </a:cxn>
                <a:cxn ang="0">
                  <a:pos x="42" y="12"/>
                </a:cxn>
                <a:cxn ang="0">
                  <a:pos x="36" y="18"/>
                </a:cxn>
                <a:cxn ang="0">
                  <a:pos x="36" y="24"/>
                </a:cxn>
                <a:cxn ang="0">
                  <a:pos x="34" y="30"/>
                </a:cxn>
                <a:cxn ang="0">
                  <a:pos x="34" y="36"/>
                </a:cxn>
                <a:cxn ang="0">
                  <a:pos x="34" y="42"/>
                </a:cxn>
                <a:cxn ang="0">
                  <a:pos x="28" y="54"/>
                </a:cxn>
                <a:cxn ang="0">
                  <a:pos x="46" y="120"/>
                </a:cxn>
                <a:cxn ang="0">
                  <a:pos x="58" y="134"/>
                </a:cxn>
                <a:cxn ang="0">
                  <a:pos x="92" y="142"/>
                </a:cxn>
                <a:cxn ang="0">
                  <a:pos x="104" y="132"/>
                </a:cxn>
                <a:cxn ang="0">
                  <a:pos x="114" y="122"/>
                </a:cxn>
                <a:cxn ang="0">
                  <a:pos x="122" y="124"/>
                </a:cxn>
                <a:cxn ang="0">
                  <a:pos x="126" y="128"/>
                </a:cxn>
                <a:cxn ang="0">
                  <a:pos x="132" y="128"/>
                </a:cxn>
                <a:cxn ang="0">
                  <a:pos x="134" y="126"/>
                </a:cxn>
                <a:cxn ang="0">
                  <a:pos x="138" y="130"/>
                </a:cxn>
              </a:cxnLst>
              <a:rect l="0" t="0" r="r" b="b"/>
              <a:pathLst>
                <a:path w="138" h="142">
                  <a:moveTo>
                    <a:pt x="138" y="130"/>
                  </a:moveTo>
                  <a:lnTo>
                    <a:pt x="136" y="128"/>
                  </a:lnTo>
                  <a:lnTo>
                    <a:pt x="136" y="128"/>
                  </a:lnTo>
                  <a:lnTo>
                    <a:pt x="134" y="124"/>
                  </a:lnTo>
                  <a:lnTo>
                    <a:pt x="134" y="124"/>
                  </a:lnTo>
                  <a:lnTo>
                    <a:pt x="132" y="122"/>
                  </a:lnTo>
                  <a:lnTo>
                    <a:pt x="130" y="120"/>
                  </a:lnTo>
                  <a:lnTo>
                    <a:pt x="130" y="114"/>
                  </a:lnTo>
                  <a:lnTo>
                    <a:pt x="126" y="114"/>
                  </a:lnTo>
                  <a:lnTo>
                    <a:pt x="126" y="114"/>
                  </a:lnTo>
                  <a:lnTo>
                    <a:pt x="124" y="108"/>
                  </a:lnTo>
                  <a:lnTo>
                    <a:pt x="124" y="102"/>
                  </a:lnTo>
                  <a:lnTo>
                    <a:pt x="124" y="102"/>
                  </a:lnTo>
                  <a:lnTo>
                    <a:pt x="124" y="98"/>
                  </a:lnTo>
                  <a:lnTo>
                    <a:pt x="122" y="94"/>
                  </a:lnTo>
                  <a:lnTo>
                    <a:pt x="122" y="94"/>
                  </a:lnTo>
                  <a:lnTo>
                    <a:pt x="116" y="86"/>
                  </a:lnTo>
                  <a:lnTo>
                    <a:pt x="116" y="86"/>
                  </a:lnTo>
                  <a:lnTo>
                    <a:pt x="114" y="84"/>
                  </a:lnTo>
                  <a:lnTo>
                    <a:pt x="110" y="84"/>
                  </a:lnTo>
                  <a:lnTo>
                    <a:pt x="110" y="84"/>
                  </a:lnTo>
                  <a:lnTo>
                    <a:pt x="108" y="84"/>
                  </a:lnTo>
                  <a:lnTo>
                    <a:pt x="108" y="84"/>
                  </a:lnTo>
                  <a:lnTo>
                    <a:pt x="110" y="82"/>
                  </a:lnTo>
                  <a:lnTo>
                    <a:pt x="110" y="80"/>
                  </a:lnTo>
                  <a:lnTo>
                    <a:pt x="110" y="80"/>
                  </a:lnTo>
                  <a:lnTo>
                    <a:pt x="106" y="74"/>
                  </a:lnTo>
                  <a:lnTo>
                    <a:pt x="100" y="70"/>
                  </a:lnTo>
                  <a:lnTo>
                    <a:pt x="100" y="70"/>
                  </a:lnTo>
                  <a:lnTo>
                    <a:pt x="96" y="68"/>
                  </a:lnTo>
                  <a:lnTo>
                    <a:pt x="96" y="64"/>
                  </a:lnTo>
                  <a:lnTo>
                    <a:pt x="94" y="62"/>
                  </a:lnTo>
                  <a:lnTo>
                    <a:pt x="92" y="58"/>
                  </a:lnTo>
                  <a:lnTo>
                    <a:pt x="92" y="58"/>
                  </a:lnTo>
                  <a:lnTo>
                    <a:pt x="90" y="56"/>
                  </a:lnTo>
                  <a:lnTo>
                    <a:pt x="88" y="52"/>
                  </a:lnTo>
                  <a:lnTo>
                    <a:pt x="88" y="52"/>
                  </a:lnTo>
                  <a:lnTo>
                    <a:pt x="88" y="52"/>
                  </a:lnTo>
                  <a:lnTo>
                    <a:pt x="90" y="50"/>
                  </a:lnTo>
                  <a:lnTo>
                    <a:pt x="92" y="48"/>
                  </a:lnTo>
                  <a:lnTo>
                    <a:pt x="90" y="46"/>
                  </a:lnTo>
                  <a:lnTo>
                    <a:pt x="90" y="46"/>
                  </a:lnTo>
                  <a:lnTo>
                    <a:pt x="90" y="44"/>
                  </a:lnTo>
                  <a:lnTo>
                    <a:pt x="92" y="44"/>
                  </a:lnTo>
                  <a:lnTo>
                    <a:pt x="94" y="44"/>
                  </a:lnTo>
                  <a:lnTo>
                    <a:pt x="96" y="44"/>
                  </a:lnTo>
                  <a:lnTo>
                    <a:pt x="96" y="44"/>
                  </a:lnTo>
                  <a:lnTo>
                    <a:pt x="96" y="40"/>
                  </a:lnTo>
                  <a:lnTo>
                    <a:pt x="94" y="36"/>
                  </a:lnTo>
                  <a:lnTo>
                    <a:pt x="94" y="36"/>
                  </a:lnTo>
                  <a:lnTo>
                    <a:pt x="94" y="34"/>
                  </a:lnTo>
                  <a:lnTo>
                    <a:pt x="96" y="34"/>
                  </a:lnTo>
                  <a:lnTo>
                    <a:pt x="98" y="34"/>
                  </a:lnTo>
                  <a:lnTo>
                    <a:pt x="100" y="34"/>
                  </a:lnTo>
                  <a:lnTo>
                    <a:pt x="100" y="34"/>
                  </a:lnTo>
                  <a:lnTo>
                    <a:pt x="102" y="32"/>
                  </a:lnTo>
                  <a:lnTo>
                    <a:pt x="102" y="30"/>
                  </a:lnTo>
                  <a:lnTo>
                    <a:pt x="100" y="30"/>
                  </a:lnTo>
                  <a:lnTo>
                    <a:pt x="100" y="30"/>
                  </a:lnTo>
                  <a:lnTo>
                    <a:pt x="98" y="30"/>
                  </a:lnTo>
                  <a:lnTo>
                    <a:pt x="94" y="30"/>
                  </a:lnTo>
                  <a:lnTo>
                    <a:pt x="94" y="30"/>
                  </a:lnTo>
                  <a:lnTo>
                    <a:pt x="90" y="28"/>
                  </a:lnTo>
                  <a:lnTo>
                    <a:pt x="88" y="28"/>
                  </a:lnTo>
                  <a:lnTo>
                    <a:pt x="88" y="28"/>
                  </a:lnTo>
                  <a:lnTo>
                    <a:pt x="86" y="28"/>
                  </a:lnTo>
                  <a:lnTo>
                    <a:pt x="86" y="26"/>
                  </a:lnTo>
                  <a:lnTo>
                    <a:pt x="82" y="26"/>
                  </a:lnTo>
                  <a:lnTo>
                    <a:pt x="82" y="26"/>
                  </a:lnTo>
                  <a:lnTo>
                    <a:pt x="82" y="24"/>
                  </a:lnTo>
                  <a:lnTo>
                    <a:pt x="82" y="24"/>
                  </a:lnTo>
                  <a:lnTo>
                    <a:pt x="80" y="22"/>
                  </a:lnTo>
                  <a:lnTo>
                    <a:pt x="80" y="20"/>
                  </a:lnTo>
                  <a:lnTo>
                    <a:pt x="80" y="20"/>
                  </a:lnTo>
                  <a:lnTo>
                    <a:pt x="78" y="20"/>
                  </a:lnTo>
                  <a:lnTo>
                    <a:pt x="80" y="18"/>
                  </a:lnTo>
                  <a:lnTo>
                    <a:pt x="80" y="16"/>
                  </a:lnTo>
                  <a:lnTo>
                    <a:pt x="78" y="16"/>
                  </a:lnTo>
                  <a:lnTo>
                    <a:pt x="78" y="16"/>
                  </a:lnTo>
                  <a:lnTo>
                    <a:pt x="76" y="16"/>
                  </a:lnTo>
                  <a:lnTo>
                    <a:pt x="78" y="14"/>
                  </a:lnTo>
                  <a:lnTo>
                    <a:pt x="78" y="12"/>
                  </a:lnTo>
                  <a:lnTo>
                    <a:pt x="78" y="10"/>
                  </a:lnTo>
                  <a:lnTo>
                    <a:pt x="78" y="10"/>
                  </a:lnTo>
                  <a:lnTo>
                    <a:pt x="76" y="4"/>
                  </a:lnTo>
                  <a:lnTo>
                    <a:pt x="70" y="2"/>
                  </a:lnTo>
                  <a:lnTo>
                    <a:pt x="66" y="6"/>
                  </a:lnTo>
                  <a:lnTo>
                    <a:pt x="64" y="2"/>
                  </a:lnTo>
                  <a:lnTo>
                    <a:pt x="62" y="0"/>
                  </a:lnTo>
                  <a:lnTo>
                    <a:pt x="62" y="0"/>
                  </a:lnTo>
                  <a:lnTo>
                    <a:pt x="58" y="4"/>
                  </a:lnTo>
                  <a:lnTo>
                    <a:pt x="58" y="4"/>
                  </a:lnTo>
                  <a:lnTo>
                    <a:pt x="56" y="4"/>
                  </a:lnTo>
                  <a:lnTo>
                    <a:pt x="54" y="4"/>
                  </a:lnTo>
                  <a:lnTo>
                    <a:pt x="52" y="2"/>
                  </a:lnTo>
                  <a:lnTo>
                    <a:pt x="50" y="2"/>
                  </a:lnTo>
                  <a:lnTo>
                    <a:pt x="50" y="2"/>
                  </a:lnTo>
                  <a:lnTo>
                    <a:pt x="46" y="4"/>
                  </a:lnTo>
                  <a:lnTo>
                    <a:pt x="46" y="4"/>
                  </a:lnTo>
                  <a:lnTo>
                    <a:pt x="46" y="6"/>
                  </a:lnTo>
                  <a:lnTo>
                    <a:pt x="44" y="10"/>
                  </a:lnTo>
                  <a:lnTo>
                    <a:pt x="42" y="12"/>
                  </a:lnTo>
                  <a:lnTo>
                    <a:pt x="42" y="12"/>
                  </a:lnTo>
                  <a:lnTo>
                    <a:pt x="38" y="16"/>
                  </a:lnTo>
                  <a:lnTo>
                    <a:pt x="36" y="18"/>
                  </a:lnTo>
                  <a:lnTo>
                    <a:pt x="36" y="20"/>
                  </a:lnTo>
                  <a:lnTo>
                    <a:pt x="36" y="20"/>
                  </a:lnTo>
                  <a:lnTo>
                    <a:pt x="36" y="24"/>
                  </a:lnTo>
                  <a:lnTo>
                    <a:pt x="38" y="28"/>
                  </a:lnTo>
                  <a:lnTo>
                    <a:pt x="38" y="28"/>
                  </a:lnTo>
                  <a:lnTo>
                    <a:pt x="34" y="30"/>
                  </a:lnTo>
                  <a:lnTo>
                    <a:pt x="34" y="32"/>
                  </a:lnTo>
                  <a:lnTo>
                    <a:pt x="34" y="36"/>
                  </a:lnTo>
                  <a:lnTo>
                    <a:pt x="34" y="36"/>
                  </a:lnTo>
                  <a:lnTo>
                    <a:pt x="36" y="40"/>
                  </a:lnTo>
                  <a:lnTo>
                    <a:pt x="34" y="42"/>
                  </a:lnTo>
                  <a:lnTo>
                    <a:pt x="34" y="42"/>
                  </a:lnTo>
                  <a:lnTo>
                    <a:pt x="32" y="50"/>
                  </a:lnTo>
                  <a:lnTo>
                    <a:pt x="32" y="50"/>
                  </a:lnTo>
                  <a:lnTo>
                    <a:pt x="28" y="54"/>
                  </a:lnTo>
                  <a:lnTo>
                    <a:pt x="0" y="76"/>
                  </a:lnTo>
                  <a:lnTo>
                    <a:pt x="8" y="100"/>
                  </a:lnTo>
                  <a:lnTo>
                    <a:pt x="46" y="120"/>
                  </a:lnTo>
                  <a:lnTo>
                    <a:pt x="46" y="126"/>
                  </a:lnTo>
                  <a:lnTo>
                    <a:pt x="56" y="126"/>
                  </a:lnTo>
                  <a:lnTo>
                    <a:pt x="58" y="134"/>
                  </a:lnTo>
                  <a:lnTo>
                    <a:pt x="68" y="140"/>
                  </a:lnTo>
                  <a:lnTo>
                    <a:pt x="92" y="142"/>
                  </a:lnTo>
                  <a:lnTo>
                    <a:pt x="92" y="142"/>
                  </a:lnTo>
                  <a:lnTo>
                    <a:pt x="98" y="140"/>
                  </a:lnTo>
                  <a:lnTo>
                    <a:pt x="104" y="132"/>
                  </a:lnTo>
                  <a:lnTo>
                    <a:pt x="104" y="132"/>
                  </a:lnTo>
                  <a:lnTo>
                    <a:pt x="110" y="126"/>
                  </a:lnTo>
                  <a:lnTo>
                    <a:pt x="112" y="124"/>
                  </a:lnTo>
                  <a:lnTo>
                    <a:pt x="114" y="122"/>
                  </a:lnTo>
                  <a:lnTo>
                    <a:pt x="114" y="122"/>
                  </a:lnTo>
                  <a:lnTo>
                    <a:pt x="122" y="124"/>
                  </a:lnTo>
                  <a:lnTo>
                    <a:pt x="122" y="124"/>
                  </a:lnTo>
                  <a:lnTo>
                    <a:pt x="124" y="124"/>
                  </a:lnTo>
                  <a:lnTo>
                    <a:pt x="124" y="124"/>
                  </a:lnTo>
                  <a:lnTo>
                    <a:pt x="126" y="128"/>
                  </a:lnTo>
                  <a:lnTo>
                    <a:pt x="126" y="128"/>
                  </a:lnTo>
                  <a:lnTo>
                    <a:pt x="132" y="128"/>
                  </a:lnTo>
                  <a:lnTo>
                    <a:pt x="132" y="128"/>
                  </a:lnTo>
                  <a:lnTo>
                    <a:pt x="132" y="128"/>
                  </a:lnTo>
                  <a:lnTo>
                    <a:pt x="134" y="126"/>
                  </a:lnTo>
                  <a:lnTo>
                    <a:pt x="134" y="126"/>
                  </a:lnTo>
                  <a:lnTo>
                    <a:pt x="136" y="128"/>
                  </a:lnTo>
                  <a:lnTo>
                    <a:pt x="136" y="128"/>
                  </a:lnTo>
                  <a:lnTo>
                    <a:pt x="138" y="130"/>
                  </a:lnTo>
                  <a:lnTo>
                    <a:pt x="138" y="13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4" name="Freeform 164"/>
            <p:cNvSpPr>
              <a:spLocks noChangeAspect="1"/>
            </p:cNvSpPr>
            <p:nvPr/>
          </p:nvSpPr>
          <p:spPr bwMode="gray">
            <a:xfrm>
              <a:off x="5292175" y="3302451"/>
              <a:ext cx="445430" cy="434272"/>
            </a:xfrm>
            <a:custGeom>
              <a:avLst/>
              <a:gdLst/>
              <a:ahLst/>
              <a:cxnLst>
                <a:cxn ang="0">
                  <a:pos x="256" y="232"/>
                </a:cxn>
                <a:cxn ang="0">
                  <a:pos x="252" y="206"/>
                </a:cxn>
                <a:cxn ang="0">
                  <a:pos x="234" y="172"/>
                </a:cxn>
                <a:cxn ang="0">
                  <a:pos x="232" y="144"/>
                </a:cxn>
                <a:cxn ang="0">
                  <a:pos x="228" y="112"/>
                </a:cxn>
                <a:cxn ang="0">
                  <a:pos x="230" y="88"/>
                </a:cxn>
                <a:cxn ang="0">
                  <a:pos x="242" y="64"/>
                </a:cxn>
                <a:cxn ang="0">
                  <a:pos x="224" y="44"/>
                </a:cxn>
                <a:cxn ang="0">
                  <a:pos x="186" y="28"/>
                </a:cxn>
                <a:cxn ang="0">
                  <a:pos x="146" y="30"/>
                </a:cxn>
                <a:cxn ang="0">
                  <a:pos x="132" y="42"/>
                </a:cxn>
                <a:cxn ang="0">
                  <a:pos x="126" y="54"/>
                </a:cxn>
                <a:cxn ang="0">
                  <a:pos x="124" y="50"/>
                </a:cxn>
                <a:cxn ang="0">
                  <a:pos x="106" y="58"/>
                </a:cxn>
                <a:cxn ang="0">
                  <a:pos x="82" y="42"/>
                </a:cxn>
                <a:cxn ang="0">
                  <a:pos x="72" y="42"/>
                </a:cxn>
                <a:cxn ang="0">
                  <a:pos x="64" y="30"/>
                </a:cxn>
                <a:cxn ang="0">
                  <a:pos x="56" y="14"/>
                </a:cxn>
                <a:cxn ang="0">
                  <a:pos x="54" y="8"/>
                </a:cxn>
                <a:cxn ang="0">
                  <a:pos x="52" y="0"/>
                </a:cxn>
                <a:cxn ang="0">
                  <a:pos x="48" y="2"/>
                </a:cxn>
                <a:cxn ang="0">
                  <a:pos x="38" y="12"/>
                </a:cxn>
                <a:cxn ang="0">
                  <a:pos x="26" y="14"/>
                </a:cxn>
                <a:cxn ang="0">
                  <a:pos x="18" y="6"/>
                </a:cxn>
                <a:cxn ang="0">
                  <a:pos x="12" y="6"/>
                </a:cxn>
                <a:cxn ang="0">
                  <a:pos x="6" y="4"/>
                </a:cxn>
                <a:cxn ang="0">
                  <a:pos x="4" y="14"/>
                </a:cxn>
                <a:cxn ang="0">
                  <a:pos x="4" y="22"/>
                </a:cxn>
                <a:cxn ang="0">
                  <a:pos x="6" y="34"/>
                </a:cxn>
                <a:cxn ang="0">
                  <a:pos x="8" y="46"/>
                </a:cxn>
                <a:cxn ang="0">
                  <a:pos x="10" y="56"/>
                </a:cxn>
                <a:cxn ang="0">
                  <a:pos x="12" y="60"/>
                </a:cxn>
                <a:cxn ang="0">
                  <a:pos x="12" y="66"/>
                </a:cxn>
                <a:cxn ang="0">
                  <a:pos x="18" y="70"/>
                </a:cxn>
                <a:cxn ang="0">
                  <a:pos x="26" y="74"/>
                </a:cxn>
                <a:cxn ang="0">
                  <a:pos x="34" y="74"/>
                </a:cxn>
                <a:cxn ang="0">
                  <a:pos x="28" y="78"/>
                </a:cxn>
                <a:cxn ang="0">
                  <a:pos x="28" y="88"/>
                </a:cxn>
                <a:cxn ang="0">
                  <a:pos x="22" y="90"/>
                </a:cxn>
                <a:cxn ang="0">
                  <a:pos x="20" y="96"/>
                </a:cxn>
                <a:cxn ang="0">
                  <a:pos x="26" y="106"/>
                </a:cxn>
                <a:cxn ang="0">
                  <a:pos x="38" y="118"/>
                </a:cxn>
                <a:cxn ang="0">
                  <a:pos x="40" y="128"/>
                </a:cxn>
                <a:cxn ang="0">
                  <a:pos x="48" y="130"/>
                </a:cxn>
                <a:cxn ang="0">
                  <a:pos x="56" y="146"/>
                </a:cxn>
                <a:cxn ang="0">
                  <a:pos x="62" y="164"/>
                </a:cxn>
                <a:cxn ang="0">
                  <a:pos x="68" y="172"/>
                </a:cxn>
                <a:cxn ang="0">
                  <a:pos x="82" y="172"/>
                </a:cxn>
                <a:cxn ang="0">
                  <a:pos x="88" y="190"/>
                </a:cxn>
                <a:cxn ang="0">
                  <a:pos x="96" y="202"/>
                </a:cxn>
                <a:cxn ang="0">
                  <a:pos x="102" y="210"/>
                </a:cxn>
                <a:cxn ang="0">
                  <a:pos x="108" y="222"/>
                </a:cxn>
                <a:cxn ang="0">
                  <a:pos x="120" y="234"/>
                </a:cxn>
                <a:cxn ang="0">
                  <a:pos x="132" y="238"/>
                </a:cxn>
                <a:cxn ang="0">
                  <a:pos x="144" y="238"/>
                </a:cxn>
                <a:cxn ang="0">
                  <a:pos x="172" y="232"/>
                </a:cxn>
                <a:cxn ang="0">
                  <a:pos x="184" y="256"/>
                </a:cxn>
                <a:cxn ang="0">
                  <a:pos x="202" y="260"/>
                </a:cxn>
                <a:cxn ang="0">
                  <a:pos x="226" y="264"/>
                </a:cxn>
              </a:cxnLst>
              <a:rect l="0" t="0" r="r" b="b"/>
              <a:pathLst>
                <a:path w="262" h="264">
                  <a:moveTo>
                    <a:pt x="230" y="264"/>
                  </a:moveTo>
                  <a:lnTo>
                    <a:pt x="232" y="248"/>
                  </a:lnTo>
                  <a:lnTo>
                    <a:pt x="240" y="236"/>
                  </a:lnTo>
                  <a:lnTo>
                    <a:pt x="248" y="234"/>
                  </a:lnTo>
                  <a:lnTo>
                    <a:pt x="256" y="232"/>
                  </a:lnTo>
                  <a:lnTo>
                    <a:pt x="262" y="228"/>
                  </a:lnTo>
                  <a:lnTo>
                    <a:pt x="262" y="222"/>
                  </a:lnTo>
                  <a:lnTo>
                    <a:pt x="256" y="220"/>
                  </a:lnTo>
                  <a:lnTo>
                    <a:pt x="256" y="212"/>
                  </a:lnTo>
                  <a:lnTo>
                    <a:pt x="252" y="206"/>
                  </a:lnTo>
                  <a:lnTo>
                    <a:pt x="246" y="204"/>
                  </a:lnTo>
                  <a:lnTo>
                    <a:pt x="240" y="194"/>
                  </a:lnTo>
                  <a:lnTo>
                    <a:pt x="238" y="190"/>
                  </a:lnTo>
                  <a:lnTo>
                    <a:pt x="240" y="186"/>
                  </a:lnTo>
                  <a:lnTo>
                    <a:pt x="234" y="172"/>
                  </a:lnTo>
                  <a:lnTo>
                    <a:pt x="248" y="156"/>
                  </a:lnTo>
                  <a:lnTo>
                    <a:pt x="248" y="152"/>
                  </a:lnTo>
                  <a:lnTo>
                    <a:pt x="246" y="148"/>
                  </a:lnTo>
                  <a:lnTo>
                    <a:pt x="234" y="146"/>
                  </a:lnTo>
                  <a:lnTo>
                    <a:pt x="232" y="144"/>
                  </a:lnTo>
                  <a:lnTo>
                    <a:pt x="232" y="136"/>
                  </a:lnTo>
                  <a:lnTo>
                    <a:pt x="230" y="128"/>
                  </a:lnTo>
                  <a:lnTo>
                    <a:pt x="224" y="122"/>
                  </a:lnTo>
                  <a:lnTo>
                    <a:pt x="224" y="116"/>
                  </a:lnTo>
                  <a:lnTo>
                    <a:pt x="228" y="112"/>
                  </a:lnTo>
                  <a:lnTo>
                    <a:pt x="224" y="110"/>
                  </a:lnTo>
                  <a:lnTo>
                    <a:pt x="224" y="106"/>
                  </a:lnTo>
                  <a:lnTo>
                    <a:pt x="224" y="96"/>
                  </a:lnTo>
                  <a:lnTo>
                    <a:pt x="228" y="90"/>
                  </a:lnTo>
                  <a:lnTo>
                    <a:pt x="230" y="88"/>
                  </a:lnTo>
                  <a:lnTo>
                    <a:pt x="236" y="88"/>
                  </a:lnTo>
                  <a:lnTo>
                    <a:pt x="238" y="82"/>
                  </a:lnTo>
                  <a:lnTo>
                    <a:pt x="240" y="76"/>
                  </a:lnTo>
                  <a:lnTo>
                    <a:pt x="242" y="70"/>
                  </a:lnTo>
                  <a:lnTo>
                    <a:pt x="242" y="64"/>
                  </a:lnTo>
                  <a:lnTo>
                    <a:pt x="242" y="58"/>
                  </a:lnTo>
                  <a:lnTo>
                    <a:pt x="234" y="56"/>
                  </a:lnTo>
                  <a:lnTo>
                    <a:pt x="230" y="50"/>
                  </a:lnTo>
                  <a:lnTo>
                    <a:pt x="228" y="46"/>
                  </a:lnTo>
                  <a:lnTo>
                    <a:pt x="224" y="44"/>
                  </a:lnTo>
                  <a:lnTo>
                    <a:pt x="216" y="38"/>
                  </a:lnTo>
                  <a:lnTo>
                    <a:pt x="208" y="34"/>
                  </a:lnTo>
                  <a:lnTo>
                    <a:pt x="198" y="30"/>
                  </a:lnTo>
                  <a:lnTo>
                    <a:pt x="194" y="28"/>
                  </a:lnTo>
                  <a:lnTo>
                    <a:pt x="186" y="28"/>
                  </a:lnTo>
                  <a:lnTo>
                    <a:pt x="170" y="24"/>
                  </a:lnTo>
                  <a:lnTo>
                    <a:pt x="164" y="26"/>
                  </a:lnTo>
                  <a:lnTo>
                    <a:pt x="158" y="28"/>
                  </a:lnTo>
                  <a:lnTo>
                    <a:pt x="150" y="28"/>
                  </a:lnTo>
                  <a:lnTo>
                    <a:pt x="146" y="30"/>
                  </a:lnTo>
                  <a:lnTo>
                    <a:pt x="144" y="34"/>
                  </a:lnTo>
                  <a:lnTo>
                    <a:pt x="144" y="36"/>
                  </a:lnTo>
                  <a:lnTo>
                    <a:pt x="140" y="42"/>
                  </a:lnTo>
                  <a:lnTo>
                    <a:pt x="132" y="42"/>
                  </a:lnTo>
                  <a:lnTo>
                    <a:pt x="132" y="42"/>
                  </a:lnTo>
                  <a:lnTo>
                    <a:pt x="132" y="52"/>
                  </a:lnTo>
                  <a:lnTo>
                    <a:pt x="132" y="52"/>
                  </a:lnTo>
                  <a:lnTo>
                    <a:pt x="130" y="54"/>
                  </a:lnTo>
                  <a:lnTo>
                    <a:pt x="130" y="54"/>
                  </a:lnTo>
                  <a:lnTo>
                    <a:pt x="126" y="54"/>
                  </a:lnTo>
                  <a:lnTo>
                    <a:pt x="124" y="52"/>
                  </a:lnTo>
                  <a:lnTo>
                    <a:pt x="124" y="52"/>
                  </a:lnTo>
                  <a:lnTo>
                    <a:pt x="126" y="52"/>
                  </a:lnTo>
                  <a:lnTo>
                    <a:pt x="126" y="52"/>
                  </a:lnTo>
                  <a:lnTo>
                    <a:pt x="124" y="50"/>
                  </a:lnTo>
                  <a:lnTo>
                    <a:pt x="120" y="50"/>
                  </a:lnTo>
                  <a:lnTo>
                    <a:pt x="120" y="50"/>
                  </a:lnTo>
                  <a:lnTo>
                    <a:pt x="112" y="54"/>
                  </a:lnTo>
                  <a:lnTo>
                    <a:pt x="106" y="58"/>
                  </a:lnTo>
                  <a:lnTo>
                    <a:pt x="106" y="58"/>
                  </a:lnTo>
                  <a:lnTo>
                    <a:pt x="96" y="54"/>
                  </a:lnTo>
                  <a:lnTo>
                    <a:pt x="86" y="48"/>
                  </a:lnTo>
                  <a:lnTo>
                    <a:pt x="86" y="48"/>
                  </a:lnTo>
                  <a:lnTo>
                    <a:pt x="82" y="42"/>
                  </a:lnTo>
                  <a:lnTo>
                    <a:pt x="82" y="42"/>
                  </a:lnTo>
                  <a:lnTo>
                    <a:pt x="78" y="42"/>
                  </a:lnTo>
                  <a:lnTo>
                    <a:pt x="78" y="40"/>
                  </a:lnTo>
                  <a:lnTo>
                    <a:pt x="78" y="40"/>
                  </a:lnTo>
                  <a:lnTo>
                    <a:pt x="74" y="42"/>
                  </a:lnTo>
                  <a:lnTo>
                    <a:pt x="72" y="42"/>
                  </a:lnTo>
                  <a:lnTo>
                    <a:pt x="70" y="44"/>
                  </a:lnTo>
                  <a:lnTo>
                    <a:pt x="68" y="40"/>
                  </a:lnTo>
                  <a:lnTo>
                    <a:pt x="66" y="38"/>
                  </a:lnTo>
                  <a:lnTo>
                    <a:pt x="66" y="38"/>
                  </a:lnTo>
                  <a:lnTo>
                    <a:pt x="64" y="30"/>
                  </a:lnTo>
                  <a:lnTo>
                    <a:pt x="62" y="20"/>
                  </a:lnTo>
                  <a:lnTo>
                    <a:pt x="62" y="20"/>
                  </a:lnTo>
                  <a:lnTo>
                    <a:pt x="58" y="16"/>
                  </a:lnTo>
                  <a:lnTo>
                    <a:pt x="58" y="16"/>
                  </a:lnTo>
                  <a:lnTo>
                    <a:pt x="56" y="14"/>
                  </a:lnTo>
                  <a:lnTo>
                    <a:pt x="54" y="12"/>
                  </a:lnTo>
                  <a:lnTo>
                    <a:pt x="54" y="12"/>
                  </a:lnTo>
                  <a:lnTo>
                    <a:pt x="54" y="10"/>
                  </a:lnTo>
                  <a:lnTo>
                    <a:pt x="54" y="8"/>
                  </a:lnTo>
                  <a:lnTo>
                    <a:pt x="54" y="8"/>
                  </a:lnTo>
                  <a:lnTo>
                    <a:pt x="56" y="6"/>
                  </a:lnTo>
                  <a:lnTo>
                    <a:pt x="56" y="6"/>
                  </a:lnTo>
                  <a:lnTo>
                    <a:pt x="56" y="4"/>
                  </a:lnTo>
                  <a:lnTo>
                    <a:pt x="52" y="0"/>
                  </a:lnTo>
                  <a:lnTo>
                    <a:pt x="52" y="0"/>
                  </a:lnTo>
                  <a:lnTo>
                    <a:pt x="52" y="0"/>
                  </a:lnTo>
                  <a:lnTo>
                    <a:pt x="52" y="0"/>
                  </a:lnTo>
                  <a:lnTo>
                    <a:pt x="50" y="2"/>
                  </a:lnTo>
                  <a:lnTo>
                    <a:pt x="48" y="2"/>
                  </a:lnTo>
                  <a:lnTo>
                    <a:pt x="48" y="2"/>
                  </a:lnTo>
                  <a:lnTo>
                    <a:pt x="44" y="6"/>
                  </a:lnTo>
                  <a:lnTo>
                    <a:pt x="42" y="10"/>
                  </a:lnTo>
                  <a:lnTo>
                    <a:pt x="42" y="10"/>
                  </a:lnTo>
                  <a:lnTo>
                    <a:pt x="38" y="12"/>
                  </a:lnTo>
                  <a:lnTo>
                    <a:pt x="38" y="12"/>
                  </a:lnTo>
                  <a:lnTo>
                    <a:pt x="34" y="14"/>
                  </a:lnTo>
                  <a:lnTo>
                    <a:pt x="34" y="14"/>
                  </a:lnTo>
                  <a:lnTo>
                    <a:pt x="28" y="16"/>
                  </a:lnTo>
                  <a:lnTo>
                    <a:pt x="28" y="16"/>
                  </a:lnTo>
                  <a:lnTo>
                    <a:pt x="26" y="14"/>
                  </a:lnTo>
                  <a:lnTo>
                    <a:pt x="24" y="12"/>
                  </a:lnTo>
                  <a:lnTo>
                    <a:pt x="24" y="12"/>
                  </a:lnTo>
                  <a:lnTo>
                    <a:pt x="22" y="10"/>
                  </a:lnTo>
                  <a:lnTo>
                    <a:pt x="18" y="6"/>
                  </a:lnTo>
                  <a:lnTo>
                    <a:pt x="18" y="6"/>
                  </a:lnTo>
                  <a:lnTo>
                    <a:pt x="16" y="4"/>
                  </a:lnTo>
                  <a:lnTo>
                    <a:pt x="16" y="2"/>
                  </a:lnTo>
                  <a:lnTo>
                    <a:pt x="14" y="2"/>
                  </a:lnTo>
                  <a:lnTo>
                    <a:pt x="12" y="6"/>
                  </a:lnTo>
                  <a:lnTo>
                    <a:pt x="12" y="6"/>
                  </a:lnTo>
                  <a:lnTo>
                    <a:pt x="12" y="6"/>
                  </a:lnTo>
                  <a:lnTo>
                    <a:pt x="8" y="4"/>
                  </a:lnTo>
                  <a:lnTo>
                    <a:pt x="8" y="4"/>
                  </a:lnTo>
                  <a:lnTo>
                    <a:pt x="6" y="4"/>
                  </a:lnTo>
                  <a:lnTo>
                    <a:pt x="6" y="4"/>
                  </a:lnTo>
                  <a:lnTo>
                    <a:pt x="4" y="8"/>
                  </a:lnTo>
                  <a:lnTo>
                    <a:pt x="4" y="8"/>
                  </a:lnTo>
                  <a:lnTo>
                    <a:pt x="2" y="10"/>
                  </a:lnTo>
                  <a:lnTo>
                    <a:pt x="2" y="10"/>
                  </a:lnTo>
                  <a:lnTo>
                    <a:pt x="4" y="14"/>
                  </a:lnTo>
                  <a:lnTo>
                    <a:pt x="4" y="14"/>
                  </a:lnTo>
                  <a:lnTo>
                    <a:pt x="4" y="16"/>
                  </a:lnTo>
                  <a:lnTo>
                    <a:pt x="4" y="18"/>
                  </a:lnTo>
                  <a:lnTo>
                    <a:pt x="4" y="18"/>
                  </a:lnTo>
                  <a:lnTo>
                    <a:pt x="4" y="22"/>
                  </a:lnTo>
                  <a:lnTo>
                    <a:pt x="2" y="24"/>
                  </a:lnTo>
                  <a:lnTo>
                    <a:pt x="2" y="24"/>
                  </a:lnTo>
                  <a:lnTo>
                    <a:pt x="0" y="26"/>
                  </a:lnTo>
                  <a:lnTo>
                    <a:pt x="2" y="30"/>
                  </a:lnTo>
                  <a:lnTo>
                    <a:pt x="6" y="34"/>
                  </a:lnTo>
                  <a:lnTo>
                    <a:pt x="6" y="34"/>
                  </a:lnTo>
                  <a:lnTo>
                    <a:pt x="6" y="38"/>
                  </a:lnTo>
                  <a:lnTo>
                    <a:pt x="8" y="42"/>
                  </a:lnTo>
                  <a:lnTo>
                    <a:pt x="8" y="42"/>
                  </a:lnTo>
                  <a:lnTo>
                    <a:pt x="8" y="46"/>
                  </a:lnTo>
                  <a:lnTo>
                    <a:pt x="8" y="48"/>
                  </a:lnTo>
                  <a:lnTo>
                    <a:pt x="8" y="48"/>
                  </a:lnTo>
                  <a:lnTo>
                    <a:pt x="10" y="54"/>
                  </a:lnTo>
                  <a:lnTo>
                    <a:pt x="10" y="54"/>
                  </a:lnTo>
                  <a:lnTo>
                    <a:pt x="10" y="56"/>
                  </a:lnTo>
                  <a:lnTo>
                    <a:pt x="10" y="58"/>
                  </a:lnTo>
                  <a:lnTo>
                    <a:pt x="8" y="60"/>
                  </a:lnTo>
                  <a:lnTo>
                    <a:pt x="10" y="60"/>
                  </a:lnTo>
                  <a:lnTo>
                    <a:pt x="10" y="60"/>
                  </a:lnTo>
                  <a:lnTo>
                    <a:pt x="12" y="60"/>
                  </a:lnTo>
                  <a:lnTo>
                    <a:pt x="12" y="62"/>
                  </a:lnTo>
                  <a:lnTo>
                    <a:pt x="10" y="64"/>
                  </a:lnTo>
                  <a:lnTo>
                    <a:pt x="12" y="64"/>
                  </a:lnTo>
                  <a:lnTo>
                    <a:pt x="12" y="64"/>
                  </a:lnTo>
                  <a:lnTo>
                    <a:pt x="12" y="66"/>
                  </a:lnTo>
                  <a:lnTo>
                    <a:pt x="14" y="68"/>
                  </a:lnTo>
                  <a:lnTo>
                    <a:pt x="14" y="68"/>
                  </a:lnTo>
                  <a:lnTo>
                    <a:pt x="14" y="70"/>
                  </a:lnTo>
                  <a:lnTo>
                    <a:pt x="14" y="70"/>
                  </a:lnTo>
                  <a:lnTo>
                    <a:pt x="18" y="70"/>
                  </a:lnTo>
                  <a:lnTo>
                    <a:pt x="18" y="72"/>
                  </a:lnTo>
                  <a:lnTo>
                    <a:pt x="20" y="72"/>
                  </a:lnTo>
                  <a:lnTo>
                    <a:pt x="20" y="72"/>
                  </a:lnTo>
                  <a:lnTo>
                    <a:pt x="22" y="72"/>
                  </a:lnTo>
                  <a:lnTo>
                    <a:pt x="26" y="74"/>
                  </a:lnTo>
                  <a:lnTo>
                    <a:pt x="26" y="74"/>
                  </a:lnTo>
                  <a:lnTo>
                    <a:pt x="30" y="74"/>
                  </a:lnTo>
                  <a:lnTo>
                    <a:pt x="32" y="74"/>
                  </a:lnTo>
                  <a:lnTo>
                    <a:pt x="32" y="74"/>
                  </a:lnTo>
                  <a:lnTo>
                    <a:pt x="34" y="74"/>
                  </a:lnTo>
                  <a:lnTo>
                    <a:pt x="34" y="76"/>
                  </a:lnTo>
                  <a:lnTo>
                    <a:pt x="32" y="78"/>
                  </a:lnTo>
                  <a:lnTo>
                    <a:pt x="32" y="78"/>
                  </a:lnTo>
                  <a:lnTo>
                    <a:pt x="30" y="78"/>
                  </a:lnTo>
                  <a:lnTo>
                    <a:pt x="28" y="78"/>
                  </a:lnTo>
                  <a:lnTo>
                    <a:pt x="26" y="78"/>
                  </a:lnTo>
                  <a:lnTo>
                    <a:pt x="26" y="80"/>
                  </a:lnTo>
                  <a:lnTo>
                    <a:pt x="26" y="80"/>
                  </a:lnTo>
                  <a:lnTo>
                    <a:pt x="28" y="84"/>
                  </a:lnTo>
                  <a:lnTo>
                    <a:pt x="28" y="88"/>
                  </a:lnTo>
                  <a:lnTo>
                    <a:pt x="28" y="88"/>
                  </a:lnTo>
                  <a:lnTo>
                    <a:pt x="26" y="88"/>
                  </a:lnTo>
                  <a:lnTo>
                    <a:pt x="24" y="88"/>
                  </a:lnTo>
                  <a:lnTo>
                    <a:pt x="22" y="88"/>
                  </a:lnTo>
                  <a:lnTo>
                    <a:pt x="22" y="90"/>
                  </a:lnTo>
                  <a:lnTo>
                    <a:pt x="22" y="90"/>
                  </a:lnTo>
                  <a:lnTo>
                    <a:pt x="24" y="92"/>
                  </a:lnTo>
                  <a:lnTo>
                    <a:pt x="22" y="94"/>
                  </a:lnTo>
                  <a:lnTo>
                    <a:pt x="20" y="96"/>
                  </a:lnTo>
                  <a:lnTo>
                    <a:pt x="20" y="96"/>
                  </a:lnTo>
                  <a:lnTo>
                    <a:pt x="20" y="96"/>
                  </a:lnTo>
                  <a:lnTo>
                    <a:pt x="22" y="100"/>
                  </a:lnTo>
                  <a:lnTo>
                    <a:pt x="24" y="102"/>
                  </a:lnTo>
                  <a:lnTo>
                    <a:pt x="24" y="102"/>
                  </a:lnTo>
                  <a:lnTo>
                    <a:pt x="26" y="106"/>
                  </a:lnTo>
                  <a:lnTo>
                    <a:pt x="28" y="108"/>
                  </a:lnTo>
                  <a:lnTo>
                    <a:pt x="28" y="112"/>
                  </a:lnTo>
                  <a:lnTo>
                    <a:pt x="32" y="114"/>
                  </a:lnTo>
                  <a:lnTo>
                    <a:pt x="32" y="114"/>
                  </a:lnTo>
                  <a:lnTo>
                    <a:pt x="38" y="118"/>
                  </a:lnTo>
                  <a:lnTo>
                    <a:pt x="42" y="124"/>
                  </a:lnTo>
                  <a:lnTo>
                    <a:pt x="42" y="124"/>
                  </a:lnTo>
                  <a:lnTo>
                    <a:pt x="42" y="126"/>
                  </a:lnTo>
                  <a:lnTo>
                    <a:pt x="40" y="128"/>
                  </a:lnTo>
                  <a:lnTo>
                    <a:pt x="40" y="128"/>
                  </a:lnTo>
                  <a:lnTo>
                    <a:pt x="42" y="128"/>
                  </a:lnTo>
                  <a:lnTo>
                    <a:pt x="42" y="128"/>
                  </a:lnTo>
                  <a:lnTo>
                    <a:pt x="46" y="128"/>
                  </a:lnTo>
                  <a:lnTo>
                    <a:pt x="48" y="130"/>
                  </a:lnTo>
                  <a:lnTo>
                    <a:pt x="48" y="130"/>
                  </a:lnTo>
                  <a:lnTo>
                    <a:pt x="54" y="138"/>
                  </a:lnTo>
                  <a:lnTo>
                    <a:pt x="54" y="138"/>
                  </a:lnTo>
                  <a:lnTo>
                    <a:pt x="56" y="142"/>
                  </a:lnTo>
                  <a:lnTo>
                    <a:pt x="56" y="146"/>
                  </a:lnTo>
                  <a:lnTo>
                    <a:pt x="56" y="146"/>
                  </a:lnTo>
                  <a:lnTo>
                    <a:pt x="56" y="152"/>
                  </a:lnTo>
                  <a:lnTo>
                    <a:pt x="58" y="158"/>
                  </a:lnTo>
                  <a:lnTo>
                    <a:pt x="62" y="158"/>
                  </a:lnTo>
                  <a:lnTo>
                    <a:pt x="62" y="164"/>
                  </a:lnTo>
                  <a:lnTo>
                    <a:pt x="62" y="164"/>
                  </a:lnTo>
                  <a:lnTo>
                    <a:pt x="64" y="166"/>
                  </a:lnTo>
                  <a:lnTo>
                    <a:pt x="66" y="168"/>
                  </a:lnTo>
                  <a:lnTo>
                    <a:pt x="66" y="168"/>
                  </a:lnTo>
                  <a:lnTo>
                    <a:pt x="68" y="172"/>
                  </a:lnTo>
                  <a:lnTo>
                    <a:pt x="68" y="172"/>
                  </a:lnTo>
                  <a:lnTo>
                    <a:pt x="68" y="172"/>
                  </a:lnTo>
                  <a:lnTo>
                    <a:pt x="68" y="172"/>
                  </a:lnTo>
                  <a:lnTo>
                    <a:pt x="76" y="174"/>
                  </a:lnTo>
                  <a:lnTo>
                    <a:pt x="82" y="172"/>
                  </a:lnTo>
                  <a:lnTo>
                    <a:pt x="82" y="172"/>
                  </a:lnTo>
                  <a:lnTo>
                    <a:pt x="88" y="184"/>
                  </a:lnTo>
                  <a:lnTo>
                    <a:pt x="88" y="184"/>
                  </a:lnTo>
                  <a:lnTo>
                    <a:pt x="88" y="188"/>
                  </a:lnTo>
                  <a:lnTo>
                    <a:pt x="88" y="190"/>
                  </a:lnTo>
                  <a:lnTo>
                    <a:pt x="88" y="190"/>
                  </a:lnTo>
                  <a:lnTo>
                    <a:pt x="92" y="192"/>
                  </a:lnTo>
                  <a:lnTo>
                    <a:pt x="92" y="196"/>
                  </a:lnTo>
                  <a:lnTo>
                    <a:pt x="92" y="196"/>
                  </a:lnTo>
                  <a:lnTo>
                    <a:pt x="94" y="200"/>
                  </a:lnTo>
                  <a:lnTo>
                    <a:pt x="96" y="202"/>
                  </a:lnTo>
                  <a:lnTo>
                    <a:pt x="96" y="202"/>
                  </a:lnTo>
                  <a:lnTo>
                    <a:pt x="96" y="206"/>
                  </a:lnTo>
                  <a:lnTo>
                    <a:pt x="96" y="206"/>
                  </a:lnTo>
                  <a:lnTo>
                    <a:pt x="100" y="208"/>
                  </a:lnTo>
                  <a:lnTo>
                    <a:pt x="102" y="210"/>
                  </a:lnTo>
                  <a:lnTo>
                    <a:pt x="102" y="210"/>
                  </a:lnTo>
                  <a:lnTo>
                    <a:pt x="102" y="212"/>
                  </a:lnTo>
                  <a:lnTo>
                    <a:pt x="102" y="216"/>
                  </a:lnTo>
                  <a:lnTo>
                    <a:pt x="102" y="216"/>
                  </a:lnTo>
                  <a:lnTo>
                    <a:pt x="108" y="222"/>
                  </a:lnTo>
                  <a:lnTo>
                    <a:pt x="112" y="222"/>
                  </a:lnTo>
                  <a:lnTo>
                    <a:pt x="112" y="222"/>
                  </a:lnTo>
                  <a:lnTo>
                    <a:pt x="112" y="226"/>
                  </a:lnTo>
                  <a:lnTo>
                    <a:pt x="120" y="234"/>
                  </a:lnTo>
                  <a:lnTo>
                    <a:pt x="120" y="234"/>
                  </a:lnTo>
                  <a:lnTo>
                    <a:pt x="124" y="234"/>
                  </a:lnTo>
                  <a:lnTo>
                    <a:pt x="124" y="234"/>
                  </a:lnTo>
                  <a:lnTo>
                    <a:pt x="128" y="238"/>
                  </a:lnTo>
                  <a:lnTo>
                    <a:pt x="128" y="238"/>
                  </a:lnTo>
                  <a:lnTo>
                    <a:pt x="132" y="238"/>
                  </a:lnTo>
                  <a:lnTo>
                    <a:pt x="132" y="238"/>
                  </a:lnTo>
                  <a:lnTo>
                    <a:pt x="136" y="240"/>
                  </a:lnTo>
                  <a:lnTo>
                    <a:pt x="140" y="242"/>
                  </a:lnTo>
                  <a:lnTo>
                    <a:pt x="142" y="240"/>
                  </a:lnTo>
                  <a:lnTo>
                    <a:pt x="144" y="238"/>
                  </a:lnTo>
                  <a:lnTo>
                    <a:pt x="144" y="238"/>
                  </a:lnTo>
                  <a:lnTo>
                    <a:pt x="156" y="234"/>
                  </a:lnTo>
                  <a:lnTo>
                    <a:pt x="166" y="228"/>
                  </a:lnTo>
                  <a:lnTo>
                    <a:pt x="166" y="228"/>
                  </a:lnTo>
                  <a:lnTo>
                    <a:pt x="172" y="232"/>
                  </a:lnTo>
                  <a:lnTo>
                    <a:pt x="176" y="238"/>
                  </a:lnTo>
                  <a:lnTo>
                    <a:pt x="176" y="238"/>
                  </a:lnTo>
                  <a:lnTo>
                    <a:pt x="178" y="248"/>
                  </a:lnTo>
                  <a:lnTo>
                    <a:pt x="180" y="252"/>
                  </a:lnTo>
                  <a:lnTo>
                    <a:pt x="184" y="256"/>
                  </a:lnTo>
                  <a:lnTo>
                    <a:pt x="184" y="256"/>
                  </a:lnTo>
                  <a:lnTo>
                    <a:pt x="192" y="258"/>
                  </a:lnTo>
                  <a:lnTo>
                    <a:pt x="202" y="258"/>
                  </a:lnTo>
                  <a:lnTo>
                    <a:pt x="202" y="260"/>
                  </a:lnTo>
                  <a:lnTo>
                    <a:pt x="202" y="260"/>
                  </a:lnTo>
                  <a:lnTo>
                    <a:pt x="212" y="260"/>
                  </a:lnTo>
                  <a:lnTo>
                    <a:pt x="220" y="258"/>
                  </a:lnTo>
                  <a:lnTo>
                    <a:pt x="220" y="258"/>
                  </a:lnTo>
                  <a:lnTo>
                    <a:pt x="226" y="262"/>
                  </a:lnTo>
                  <a:lnTo>
                    <a:pt x="226" y="264"/>
                  </a:lnTo>
                  <a:lnTo>
                    <a:pt x="226" y="264"/>
                  </a:lnTo>
                  <a:lnTo>
                    <a:pt x="230" y="264"/>
                  </a:lnTo>
                  <a:lnTo>
                    <a:pt x="230" y="26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5" name="Line 165"/>
            <p:cNvSpPr>
              <a:spLocks noChangeAspect="1" noChangeShapeType="1"/>
            </p:cNvSpPr>
            <p:nvPr/>
          </p:nvSpPr>
          <p:spPr bwMode="gray">
            <a:xfrm>
              <a:off x="7104499" y="4480250"/>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6" name="Line 166"/>
            <p:cNvSpPr>
              <a:spLocks noChangeAspect="1" noChangeShapeType="1"/>
            </p:cNvSpPr>
            <p:nvPr/>
          </p:nvSpPr>
          <p:spPr bwMode="gray">
            <a:xfrm>
              <a:off x="7104499" y="4480250"/>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7" name="Freeform 167"/>
            <p:cNvSpPr>
              <a:spLocks noChangeAspect="1"/>
            </p:cNvSpPr>
            <p:nvPr/>
          </p:nvSpPr>
          <p:spPr bwMode="gray">
            <a:xfrm>
              <a:off x="6645467" y="4440771"/>
              <a:ext cx="3400" cy="6580"/>
            </a:xfrm>
            <a:custGeom>
              <a:avLst/>
              <a:gdLst/>
              <a:ahLst/>
              <a:cxnLst>
                <a:cxn ang="0">
                  <a:pos x="0" y="0"/>
                </a:cxn>
                <a:cxn ang="0">
                  <a:pos x="0" y="4"/>
                </a:cxn>
                <a:cxn ang="0">
                  <a:pos x="0" y="4"/>
                </a:cxn>
                <a:cxn ang="0">
                  <a:pos x="2" y="2"/>
                </a:cxn>
                <a:cxn ang="0">
                  <a:pos x="0" y="0"/>
                </a:cxn>
                <a:cxn ang="0">
                  <a:pos x="0" y="0"/>
                </a:cxn>
              </a:cxnLst>
              <a:rect l="0" t="0" r="r" b="b"/>
              <a:pathLst>
                <a:path w="2" h="4">
                  <a:moveTo>
                    <a:pt x="0" y="0"/>
                  </a:moveTo>
                  <a:lnTo>
                    <a:pt x="0" y="4"/>
                  </a:lnTo>
                  <a:lnTo>
                    <a:pt x="0" y="4"/>
                  </a:lnTo>
                  <a:lnTo>
                    <a:pt x="2" y="2"/>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8" name="Freeform 168"/>
            <p:cNvSpPr>
              <a:spLocks noChangeAspect="1" noEditPoints="1"/>
            </p:cNvSpPr>
            <p:nvPr/>
          </p:nvSpPr>
          <p:spPr bwMode="gray">
            <a:xfrm>
              <a:off x="6448254" y="4269693"/>
              <a:ext cx="1030270" cy="467171"/>
            </a:xfrm>
            <a:custGeom>
              <a:avLst/>
              <a:gdLst/>
              <a:ahLst/>
              <a:cxnLst>
                <a:cxn ang="0">
                  <a:pos x="18" y="34"/>
                </a:cxn>
                <a:cxn ang="0">
                  <a:pos x="50" y="66"/>
                </a:cxn>
                <a:cxn ang="0">
                  <a:pos x="80" y="126"/>
                </a:cxn>
                <a:cxn ang="0">
                  <a:pos x="112" y="178"/>
                </a:cxn>
                <a:cxn ang="0">
                  <a:pos x="140" y="184"/>
                </a:cxn>
                <a:cxn ang="0">
                  <a:pos x="128" y="116"/>
                </a:cxn>
                <a:cxn ang="0">
                  <a:pos x="112" y="86"/>
                </a:cxn>
                <a:cxn ang="0">
                  <a:pos x="90" y="70"/>
                </a:cxn>
                <a:cxn ang="0">
                  <a:pos x="72" y="46"/>
                </a:cxn>
                <a:cxn ang="0">
                  <a:pos x="34" y="6"/>
                </a:cxn>
                <a:cxn ang="0">
                  <a:pos x="434" y="58"/>
                </a:cxn>
                <a:cxn ang="0">
                  <a:pos x="438" y="106"/>
                </a:cxn>
                <a:cxn ang="0">
                  <a:pos x="446" y="78"/>
                </a:cxn>
                <a:cxn ang="0">
                  <a:pos x="434" y="58"/>
                </a:cxn>
                <a:cxn ang="0">
                  <a:pos x="340" y="78"/>
                </a:cxn>
                <a:cxn ang="0">
                  <a:pos x="320" y="132"/>
                </a:cxn>
                <a:cxn ang="0">
                  <a:pos x="336" y="188"/>
                </a:cxn>
                <a:cxn ang="0">
                  <a:pos x="348" y="168"/>
                </a:cxn>
                <a:cxn ang="0">
                  <a:pos x="364" y="160"/>
                </a:cxn>
                <a:cxn ang="0">
                  <a:pos x="368" y="122"/>
                </a:cxn>
                <a:cxn ang="0">
                  <a:pos x="336" y="100"/>
                </a:cxn>
                <a:cxn ang="0">
                  <a:pos x="388" y="92"/>
                </a:cxn>
                <a:cxn ang="0">
                  <a:pos x="478" y="106"/>
                </a:cxn>
                <a:cxn ang="0">
                  <a:pos x="154" y="148"/>
                </a:cxn>
                <a:cxn ang="0">
                  <a:pos x="444" y="156"/>
                </a:cxn>
                <a:cxn ang="0">
                  <a:pos x="450" y="148"/>
                </a:cxn>
                <a:cxn ang="0">
                  <a:pos x="424" y="150"/>
                </a:cxn>
                <a:cxn ang="0">
                  <a:pos x="364" y="186"/>
                </a:cxn>
                <a:cxn ang="0">
                  <a:pos x="140" y="190"/>
                </a:cxn>
                <a:cxn ang="0">
                  <a:pos x="194" y="222"/>
                </a:cxn>
                <a:cxn ang="0">
                  <a:pos x="258" y="238"/>
                </a:cxn>
                <a:cxn ang="0">
                  <a:pos x="226" y="204"/>
                </a:cxn>
                <a:cxn ang="0">
                  <a:pos x="158" y="190"/>
                </a:cxn>
                <a:cxn ang="0">
                  <a:pos x="526" y="210"/>
                </a:cxn>
                <a:cxn ang="0">
                  <a:pos x="266" y="244"/>
                </a:cxn>
                <a:cxn ang="0">
                  <a:pos x="408" y="234"/>
                </a:cxn>
                <a:cxn ang="0">
                  <a:pos x="298" y="248"/>
                </a:cxn>
                <a:cxn ang="0">
                  <a:pos x="316" y="244"/>
                </a:cxn>
                <a:cxn ang="0">
                  <a:pos x="368" y="250"/>
                </a:cxn>
                <a:cxn ang="0">
                  <a:pos x="416" y="246"/>
                </a:cxn>
                <a:cxn ang="0">
                  <a:pos x="376" y="274"/>
                </a:cxn>
                <a:cxn ang="0">
                  <a:pos x="398" y="264"/>
                </a:cxn>
                <a:cxn ang="0">
                  <a:pos x="420" y="244"/>
                </a:cxn>
                <a:cxn ang="0">
                  <a:pos x="192" y="62"/>
                </a:cxn>
                <a:cxn ang="0">
                  <a:pos x="188" y="114"/>
                </a:cxn>
                <a:cxn ang="0">
                  <a:pos x="216" y="150"/>
                </a:cxn>
                <a:cxn ang="0">
                  <a:pos x="250" y="154"/>
                </a:cxn>
                <a:cxn ang="0">
                  <a:pos x="294" y="136"/>
                </a:cxn>
                <a:cxn ang="0">
                  <a:pos x="316" y="82"/>
                </a:cxn>
                <a:cxn ang="0">
                  <a:pos x="300" y="38"/>
                </a:cxn>
                <a:cxn ang="0">
                  <a:pos x="242" y="78"/>
                </a:cxn>
                <a:cxn ang="0">
                  <a:pos x="478" y="128"/>
                </a:cxn>
                <a:cxn ang="0">
                  <a:pos x="504" y="142"/>
                </a:cxn>
                <a:cxn ang="0">
                  <a:pos x="508" y="154"/>
                </a:cxn>
                <a:cxn ang="0">
                  <a:pos x="542" y="174"/>
                </a:cxn>
                <a:cxn ang="0">
                  <a:pos x="576" y="216"/>
                </a:cxn>
                <a:cxn ang="0">
                  <a:pos x="584" y="236"/>
                </a:cxn>
                <a:cxn ang="0">
                  <a:pos x="602" y="142"/>
                </a:cxn>
                <a:cxn ang="0">
                  <a:pos x="542" y="146"/>
                </a:cxn>
                <a:cxn ang="0">
                  <a:pos x="518" y="126"/>
                </a:cxn>
                <a:cxn ang="0">
                  <a:pos x="490" y="110"/>
                </a:cxn>
              </a:cxnLst>
              <a:rect l="0" t="0" r="r" b="b"/>
              <a:pathLst>
                <a:path w="606" h="284">
                  <a:moveTo>
                    <a:pt x="18" y="6"/>
                  </a:moveTo>
                  <a:lnTo>
                    <a:pt x="18" y="6"/>
                  </a:lnTo>
                  <a:lnTo>
                    <a:pt x="14" y="2"/>
                  </a:lnTo>
                  <a:lnTo>
                    <a:pt x="12" y="0"/>
                  </a:lnTo>
                  <a:lnTo>
                    <a:pt x="12" y="0"/>
                  </a:lnTo>
                  <a:lnTo>
                    <a:pt x="6" y="0"/>
                  </a:lnTo>
                  <a:lnTo>
                    <a:pt x="0" y="0"/>
                  </a:lnTo>
                  <a:lnTo>
                    <a:pt x="0" y="0"/>
                  </a:lnTo>
                  <a:lnTo>
                    <a:pt x="0" y="10"/>
                  </a:lnTo>
                  <a:lnTo>
                    <a:pt x="2" y="10"/>
                  </a:lnTo>
                  <a:lnTo>
                    <a:pt x="2" y="10"/>
                  </a:lnTo>
                  <a:lnTo>
                    <a:pt x="6" y="18"/>
                  </a:lnTo>
                  <a:lnTo>
                    <a:pt x="8" y="22"/>
                  </a:lnTo>
                  <a:lnTo>
                    <a:pt x="10" y="24"/>
                  </a:lnTo>
                  <a:lnTo>
                    <a:pt x="10" y="24"/>
                  </a:lnTo>
                  <a:lnTo>
                    <a:pt x="14" y="26"/>
                  </a:lnTo>
                  <a:lnTo>
                    <a:pt x="14" y="26"/>
                  </a:lnTo>
                  <a:lnTo>
                    <a:pt x="16" y="30"/>
                  </a:lnTo>
                  <a:lnTo>
                    <a:pt x="18" y="34"/>
                  </a:lnTo>
                  <a:lnTo>
                    <a:pt x="18" y="34"/>
                  </a:lnTo>
                  <a:lnTo>
                    <a:pt x="22" y="34"/>
                  </a:lnTo>
                  <a:lnTo>
                    <a:pt x="24" y="36"/>
                  </a:lnTo>
                  <a:lnTo>
                    <a:pt x="24" y="36"/>
                  </a:lnTo>
                  <a:lnTo>
                    <a:pt x="26" y="40"/>
                  </a:lnTo>
                  <a:lnTo>
                    <a:pt x="26" y="40"/>
                  </a:lnTo>
                  <a:lnTo>
                    <a:pt x="32" y="46"/>
                  </a:lnTo>
                  <a:lnTo>
                    <a:pt x="32" y="46"/>
                  </a:lnTo>
                  <a:lnTo>
                    <a:pt x="32" y="50"/>
                  </a:lnTo>
                  <a:lnTo>
                    <a:pt x="32" y="50"/>
                  </a:lnTo>
                  <a:lnTo>
                    <a:pt x="36" y="52"/>
                  </a:lnTo>
                  <a:lnTo>
                    <a:pt x="36" y="52"/>
                  </a:lnTo>
                  <a:lnTo>
                    <a:pt x="36" y="56"/>
                  </a:lnTo>
                  <a:lnTo>
                    <a:pt x="36" y="60"/>
                  </a:lnTo>
                  <a:lnTo>
                    <a:pt x="36" y="60"/>
                  </a:lnTo>
                  <a:lnTo>
                    <a:pt x="42" y="60"/>
                  </a:lnTo>
                  <a:lnTo>
                    <a:pt x="44" y="62"/>
                  </a:lnTo>
                  <a:lnTo>
                    <a:pt x="44" y="62"/>
                  </a:lnTo>
                  <a:lnTo>
                    <a:pt x="48" y="66"/>
                  </a:lnTo>
                  <a:lnTo>
                    <a:pt x="48" y="66"/>
                  </a:lnTo>
                  <a:lnTo>
                    <a:pt x="50" y="66"/>
                  </a:lnTo>
                  <a:lnTo>
                    <a:pt x="52" y="68"/>
                  </a:lnTo>
                  <a:lnTo>
                    <a:pt x="52" y="68"/>
                  </a:lnTo>
                  <a:lnTo>
                    <a:pt x="52" y="72"/>
                  </a:lnTo>
                  <a:lnTo>
                    <a:pt x="52" y="78"/>
                  </a:lnTo>
                  <a:lnTo>
                    <a:pt x="52" y="78"/>
                  </a:lnTo>
                  <a:lnTo>
                    <a:pt x="56" y="86"/>
                  </a:lnTo>
                  <a:lnTo>
                    <a:pt x="56" y="86"/>
                  </a:lnTo>
                  <a:lnTo>
                    <a:pt x="56" y="90"/>
                  </a:lnTo>
                  <a:lnTo>
                    <a:pt x="56" y="90"/>
                  </a:lnTo>
                  <a:lnTo>
                    <a:pt x="58" y="92"/>
                  </a:lnTo>
                  <a:lnTo>
                    <a:pt x="60" y="94"/>
                  </a:lnTo>
                  <a:lnTo>
                    <a:pt x="60" y="94"/>
                  </a:lnTo>
                  <a:lnTo>
                    <a:pt x="64" y="102"/>
                  </a:lnTo>
                  <a:lnTo>
                    <a:pt x="64" y="102"/>
                  </a:lnTo>
                  <a:lnTo>
                    <a:pt x="68" y="104"/>
                  </a:lnTo>
                  <a:lnTo>
                    <a:pt x="72" y="108"/>
                  </a:lnTo>
                  <a:lnTo>
                    <a:pt x="72" y="108"/>
                  </a:lnTo>
                  <a:lnTo>
                    <a:pt x="76" y="118"/>
                  </a:lnTo>
                  <a:lnTo>
                    <a:pt x="78" y="122"/>
                  </a:lnTo>
                  <a:lnTo>
                    <a:pt x="80" y="126"/>
                  </a:lnTo>
                  <a:lnTo>
                    <a:pt x="82" y="126"/>
                  </a:lnTo>
                  <a:lnTo>
                    <a:pt x="82" y="126"/>
                  </a:lnTo>
                  <a:lnTo>
                    <a:pt x="82" y="130"/>
                  </a:lnTo>
                  <a:lnTo>
                    <a:pt x="82" y="134"/>
                  </a:lnTo>
                  <a:lnTo>
                    <a:pt x="82" y="134"/>
                  </a:lnTo>
                  <a:lnTo>
                    <a:pt x="86" y="136"/>
                  </a:lnTo>
                  <a:lnTo>
                    <a:pt x="86" y="136"/>
                  </a:lnTo>
                  <a:lnTo>
                    <a:pt x="88" y="144"/>
                  </a:lnTo>
                  <a:lnTo>
                    <a:pt x="92" y="150"/>
                  </a:lnTo>
                  <a:lnTo>
                    <a:pt x="92" y="150"/>
                  </a:lnTo>
                  <a:lnTo>
                    <a:pt x="94" y="152"/>
                  </a:lnTo>
                  <a:lnTo>
                    <a:pt x="94" y="152"/>
                  </a:lnTo>
                  <a:lnTo>
                    <a:pt x="96" y="158"/>
                  </a:lnTo>
                  <a:lnTo>
                    <a:pt x="98" y="166"/>
                  </a:lnTo>
                  <a:lnTo>
                    <a:pt x="98" y="166"/>
                  </a:lnTo>
                  <a:lnTo>
                    <a:pt x="102" y="172"/>
                  </a:lnTo>
                  <a:lnTo>
                    <a:pt x="102" y="174"/>
                  </a:lnTo>
                  <a:lnTo>
                    <a:pt x="102" y="174"/>
                  </a:lnTo>
                  <a:lnTo>
                    <a:pt x="112" y="178"/>
                  </a:lnTo>
                  <a:lnTo>
                    <a:pt x="112" y="178"/>
                  </a:lnTo>
                  <a:lnTo>
                    <a:pt x="116" y="180"/>
                  </a:lnTo>
                  <a:lnTo>
                    <a:pt x="116" y="180"/>
                  </a:lnTo>
                  <a:lnTo>
                    <a:pt x="124" y="188"/>
                  </a:lnTo>
                  <a:lnTo>
                    <a:pt x="124" y="188"/>
                  </a:lnTo>
                  <a:lnTo>
                    <a:pt x="130" y="190"/>
                  </a:lnTo>
                  <a:lnTo>
                    <a:pt x="130" y="190"/>
                  </a:lnTo>
                  <a:lnTo>
                    <a:pt x="130" y="186"/>
                  </a:lnTo>
                  <a:lnTo>
                    <a:pt x="128" y="184"/>
                  </a:lnTo>
                  <a:lnTo>
                    <a:pt x="128" y="184"/>
                  </a:lnTo>
                  <a:lnTo>
                    <a:pt x="128" y="184"/>
                  </a:lnTo>
                  <a:lnTo>
                    <a:pt x="130" y="184"/>
                  </a:lnTo>
                  <a:lnTo>
                    <a:pt x="130" y="184"/>
                  </a:lnTo>
                  <a:lnTo>
                    <a:pt x="134" y="186"/>
                  </a:lnTo>
                  <a:lnTo>
                    <a:pt x="136" y="186"/>
                  </a:lnTo>
                  <a:lnTo>
                    <a:pt x="138" y="186"/>
                  </a:lnTo>
                  <a:lnTo>
                    <a:pt x="138" y="186"/>
                  </a:lnTo>
                  <a:lnTo>
                    <a:pt x="138" y="184"/>
                  </a:lnTo>
                  <a:lnTo>
                    <a:pt x="140" y="184"/>
                  </a:lnTo>
                  <a:lnTo>
                    <a:pt x="140" y="184"/>
                  </a:lnTo>
                  <a:lnTo>
                    <a:pt x="140" y="184"/>
                  </a:lnTo>
                  <a:lnTo>
                    <a:pt x="144" y="184"/>
                  </a:lnTo>
                  <a:lnTo>
                    <a:pt x="144" y="184"/>
                  </a:lnTo>
                  <a:lnTo>
                    <a:pt x="144" y="180"/>
                  </a:lnTo>
                  <a:lnTo>
                    <a:pt x="144" y="168"/>
                  </a:lnTo>
                  <a:lnTo>
                    <a:pt x="148" y="150"/>
                  </a:lnTo>
                  <a:lnTo>
                    <a:pt x="148" y="150"/>
                  </a:lnTo>
                  <a:lnTo>
                    <a:pt x="144" y="148"/>
                  </a:lnTo>
                  <a:lnTo>
                    <a:pt x="144" y="148"/>
                  </a:lnTo>
                  <a:lnTo>
                    <a:pt x="140" y="138"/>
                  </a:lnTo>
                  <a:lnTo>
                    <a:pt x="140" y="138"/>
                  </a:lnTo>
                  <a:lnTo>
                    <a:pt x="134" y="138"/>
                  </a:lnTo>
                  <a:lnTo>
                    <a:pt x="134" y="138"/>
                  </a:lnTo>
                  <a:lnTo>
                    <a:pt x="130" y="136"/>
                  </a:lnTo>
                  <a:lnTo>
                    <a:pt x="130" y="136"/>
                  </a:lnTo>
                  <a:lnTo>
                    <a:pt x="132" y="134"/>
                  </a:lnTo>
                  <a:lnTo>
                    <a:pt x="132" y="130"/>
                  </a:lnTo>
                  <a:lnTo>
                    <a:pt x="132" y="130"/>
                  </a:lnTo>
                  <a:lnTo>
                    <a:pt x="126" y="128"/>
                  </a:lnTo>
                  <a:lnTo>
                    <a:pt x="126" y="128"/>
                  </a:lnTo>
                  <a:lnTo>
                    <a:pt x="128" y="116"/>
                  </a:lnTo>
                  <a:lnTo>
                    <a:pt x="128" y="116"/>
                  </a:lnTo>
                  <a:lnTo>
                    <a:pt x="122" y="116"/>
                  </a:lnTo>
                  <a:lnTo>
                    <a:pt x="122" y="114"/>
                  </a:lnTo>
                  <a:lnTo>
                    <a:pt x="120" y="114"/>
                  </a:lnTo>
                  <a:lnTo>
                    <a:pt x="120" y="114"/>
                  </a:lnTo>
                  <a:lnTo>
                    <a:pt x="118" y="116"/>
                  </a:lnTo>
                  <a:lnTo>
                    <a:pt x="118" y="116"/>
                  </a:lnTo>
                  <a:lnTo>
                    <a:pt x="118" y="116"/>
                  </a:lnTo>
                  <a:lnTo>
                    <a:pt x="112" y="114"/>
                  </a:lnTo>
                  <a:lnTo>
                    <a:pt x="112" y="114"/>
                  </a:lnTo>
                  <a:lnTo>
                    <a:pt x="112" y="106"/>
                  </a:lnTo>
                  <a:lnTo>
                    <a:pt x="112" y="106"/>
                  </a:lnTo>
                  <a:lnTo>
                    <a:pt x="118" y="102"/>
                  </a:lnTo>
                  <a:lnTo>
                    <a:pt x="118" y="102"/>
                  </a:lnTo>
                  <a:lnTo>
                    <a:pt x="118" y="98"/>
                  </a:lnTo>
                  <a:lnTo>
                    <a:pt x="118" y="98"/>
                  </a:lnTo>
                  <a:lnTo>
                    <a:pt x="112" y="90"/>
                  </a:lnTo>
                  <a:lnTo>
                    <a:pt x="112" y="90"/>
                  </a:lnTo>
                  <a:lnTo>
                    <a:pt x="112" y="86"/>
                  </a:lnTo>
                  <a:lnTo>
                    <a:pt x="112" y="86"/>
                  </a:lnTo>
                  <a:lnTo>
                    <a:pt x="110" y="84"/>
                  </a:lnTo>
                  <a:lnTo>
                    <a:pt x="106" y="84"/>
                  </a:lnTo>
                  <a:lnTo>
                    <a:pt x="106" y="84"/>
                  </a:lnTo>
                  <a:lnTo>
                    <a:pt x="108" y="78"/>
                  </a:lnTo>
                  <a:lnTo>
                    <a:pt x="108" y="78"/>
                  </a:lnTo>
                  <a:lnTo>
                    <a:pt x="106" y="78"/>
                  </a:lnTo>
                  <a:lnTo>
                    <a:pt x="106" y="78"/>
                  </a:lnTo>
                  <a:lnTo>
                    <a:pt x="104" y="84"/>
                  </a:lnTo>
                  <a:lnTo>
                    <a:pt x="104" y="84"/>
                  </a:lnTo>
                  <a:lnTo>
                    <a:pt x="100" y="84"/>
                  </a:lnTo>
                  <a:lnTo>
                    <a:pt x="100" y="84"/>
                  </a:lnTo>
                  <a:lnTo>
                    <a:pt x="100" y="82"/>
                  </a:lnTo>
                  <a:lnTo>
                    <a:pt x="100" y="82"/>
                  </a:lnTo>
                  <a:lnTo>
                    <a:pt x="96" y="82"/>
                  </a:lnTo>
                  <a:lnTo>
                    <a:pt x="96" y="82"/>
                  </a:lnTo>
                  <a:lnTo>
                    <a:pt x="96" y="80"/>
                  </a:lnTo>
                  <a:lnTo>
                    <a:pt x="96" y="78"/>
                  </a:lnTo>
                  <a:lnTo>
                    <a:pt x="94" y="74"/>
                  </a:lnTo>
                  <a:lnTo>
                    <a:pt x="94" y="74"/>
                  </a:lnTo>
                  <a:lnTo>
                    <a:pt x="90" y="70"/>
                  </a:lnTo>
                  <a:lnTo>
                    <a:pt x="88" y="68"/>
                  </a:lnTo>
                  <a:lnTo>
                    <a:pt x="88" y="68"/>
                  </a:lnTo>
                  <a:lnTo>
                    <a:pt x="86" y="64"/>
                  </a:lnTo>
                  <a:lnTo>
                    <a:pt x="84" y="60"/>
                  </a:lnTo>
                  <a:lnTo>
                    <a:pt x="80" y="60"/>
                  </a:lnTo>
                  <a:lnTo>
                    <a:pt x="80" y="60"/>
                  </a:lnTo>
                  <a:lnTo>
                    <a:pt x="80" y="60"/>
                  </a:lnTo>
                  <a:lnTo>
                    <a:pt x="80" y="62"/>
                  </a:lnTo>
                  <a:lnTo>
                    <a:pt x="80" y="62"/>
                  </a:lnTo>
                  <a:lnTo>
                    <a:pt x="78" y="62"/>
                  </a:lnTo>
                  <a:lnTo>
                    <a:pt x="78" y="62"/>
                  </a:lnTo>
                  <a:lnTo>
                    <a:pt x="78" y="62"/>
                  </a:lnTo>
                  <a:lnTo>
                    <a:pt x="76" y="60"/>
                  </a:lnTo>
                  <a:lnTo>
                    <a:pt x="76" y="60"/>
                  </a:lnTo>
                  <a:lnTo>
                    <a:pt x="74" y="58"/>
                  </a:lnTo>
                  <a:lnTo>
                    <a:pt x="72" y="54"/>
                  </a:lnTo>
                  <a:lnTo>
                    <a:pt x="72" y="54"/>
                  </a:lnTo>
                  <a:lnTo>
                    <a:pt x="72" y="54"/>
                  </a:lnTo>
                  <a:lnTo>
                    <a:pt x="72" y="50"/>
                  </a:lnTo>
                  <a:lnTo>
                    <a:pt x="72" y="46"/>
                  </a:lnTo>
                  <a:lnTo>
                    <a:pt x="66" y="46"/>
                  </a:lnTo>
                  <a:lnTo>
                    <a:pt x="66" y="46"/>
                  </a:lnTo>
                  <a:lnTo>
                    <a:pt x="66" y="40"/>
                  </a:lnTo>
                  <a:lnTo>
                    <a:pt x="66" y="40"/>
                  </a:lnTo>
                  <a:lnTo>
                    <a:pt x="60" y="36"/>
                  </a:lnTo>
                  <a:lnTo>
                    <a:pt x="54" y="32"/>
                  </a:lnTo>
                  <a:lnTo>
                    <a:pt x="54" y="32"/>
                  </a:lnTo>
                  <a:lnTo>
                    <a:pt x="52" y="30"/>
                  </a:lnTo>
                  <a:lnTo>
                    <a:pt x="52" y="26"/>
                  </a:lnTo>
                  <a:lnTo>
                    <a:pt x="52" y="26"/>
                  </a:lnTo>
                  <a:lnTo>
                    <a:pt x="48" y="24"/>
                  </a:lnTo>
                  <a:lnTo>
                    <a:pt x="48" y="24"/>
                  </a:lnTo>
                  <a:lnTo>
                    <a:pt x="46" y="22"/>
                  </a:lnTo>
                  <a:lnTo>
                    <a:pt x="44" y="18"/>
                  </a:lnTo>
                  <a:lnTo>
                    <a:pt x="44" y="18"/>
                  </a:lnTo>
                  <a:lnTo>
                    <a:pt x="40" y="18"/>
                  </a:lnTo>
                  <a:lnTo>
                    <a:pt x="40" y="18"/>
                  </a:lnTo>
                  <a:lnTo>
                    <a:pt x="40" y="14"/>
                  </a:lnTo>
                  <a:lnTo>
                    <a:pt x="34" y="6"/>
                  </a:lnTo>
                  <a:lnTo>
                    <a:pt x="34" y="6"/>
                  </a:lnTo>
                  <a:lnTo>
                    <a:pt x="30" y="4"/>
                  </a:lnTo>
                  <a:lnTo>
                    <a:pt x="26" y="4"/>
                  </a:lnTo>
                  <a:lnTo>
                    <a:pt x="20" y="6"/>
                  </a:lnTo>
                  <a:lnTo>
                    <a:pt x="18" y="6"/>
                  </a:lnTo>
                  <a:lnTo>
                    <a:pt x="18" y="6"/>
                  </a:lnTo>
                  <a:close/>
                  <a:moveTo>
                    <a:pt x="440" y="52"/>
                  </a:moveTo>
                  <a:lnTo>
                    <a:pt x="440" y="52"/>
                  </a:lnTo>
                  <a:lnTo>
                    <a:pt x="442" y="64"/>
                  </a:lnTo>
                  <a:lnTo>
                    <a:pt x="442" y="64"/>
                  </a:lnTo>
                  <a:lnTo>
                    <a:pt x="446" y="64"/>
                  </a:lnTo>
                  <a:lnTo>
                    <a:pt x="446" y="64"/>
                  </a:lnTo>
                  <a:lnTo>
                    <a:pt x="448" y="62"/>
                  </a:lnTo>
                  <a:lnTo>
                    <a:pt x="446" y="62"/>
                  </a:lnTo>
                  <a:lnTo>
                    <a:pt x="446" y="62"/>
                  </a:lnTo>
                  <a:lnTo>
                    <a:pt x="446" y="56"/>
                  </a:lnTo>
                  <a:lnTo>
                    <a:pt x="446" y="56"/>
                  </a:lnTo>
                  <a:lnTo>
                    <a:pt x="440" y="52"/>
                  </a:lnTo>
                  <a:lnTo>
                    <a:pt x="440" y="52"/>
                  </a:lnTo>
                  <a:close/>
                  <a:moveTo>
                    <a:pt x="434" y="58"/>
                  </a:moveTo>
                  <a:lnTo>
                    <a:pt x="434" y="58"/>
                  </a:lnTo>
                  <a:lnTo>
                    <a:pt x="428" y="68"/>
                  </a:lnTo>
                  <a:lnTo>
                    <a:pt x="426" y="80"/>
                  </a:lnTo>
                  <a:lnTo>
                    <a:pt x="426" y="80"/>
                  </a:lnTo>
                  <a:lnTo>
                    <a:pt x="432" y="84"/>
                  </a:lnTo>
                  <a:lnTo>
                    <a:pt x="432" y="84"/>
                  </a:lnTo>
                  <a:lnTo>
                    <a:pt x="430" y="86"/>
                  </a:lnTo>
                  <a:lnTo>
                    <a:pt x="430" y="86"/>
                  </a:lnTo>
                  <a:lnTo>
                    <a:pt x="430" y="88"/>
                  </a:lnTo>
                  <a:lnTo>
                    <a:pt x="430" y="88"/>
                  </a:lnTo>
                  <a:lnTo>
                    <a:pt x="430" y="92"/>
                  </a:lnTo>
                  <a:lnTo>
                    <a:pt x="430" y="94"/>
                  </a:lnTo>
                  <a:lnTo>
                    <a:pt x="428" y="96"/>
                  </a:lnTo>
                  <a:lnTo>
                    <a:pt x="428" y="96"/>
                  </a:lnTo>
                  <a:lnTo>
                    <a:pt x="428" y="96"/>
                  </a:lnTo>
                  <a:lnTo>
                    <a:pt x="430" y="100"/>
                  </a:lnTo>
                  <a:lnTo>
                    <a:pt x="434" y="104"/>
                  </a:lnTo>
                  <a:lnTo>
                    <a:pt x="434" y="104"/>
                  </a:lnTo>
                  <a:lnTo>
                    <a:pt x="438" y="108"/>
                  </a:lnTo>
                  <a:lnTo>
                    <a:pt x="438" y="108"/>
                  </a:lnTo>
                  <a:lnTo>
                    <a:pt x="438" y="106"/>
                  </a:lnTo>
                  <a:lnTo>
                    <a:pt x="436" y="104"/>
                  </a:lnTo>
                  <a:lnTo>
                    <a:pt x="432" y="100"/>
                  </a:lnTo>
                  <a:lnTo>
                    <a:pt x="432" y="100"/>
                  </a:lnTo>
                  <a:lnTo>
                    <a:pt x="432" y="92"/>
                  </a:lnTo>
                  <a:lnTo>
                    <a:pt x="432" y="92"/>
                  </a:lnTo>
                  <a:lnTo>
                    <a:pt x="436" y="90"/>
                  </a:lnTo>
                  <a:lnTo>
                    <a:pt x="436" y="90"/>
                  </a:lnTo>
                  <a:lnTo>
                    <a:pt x="440" y="90"/>
                  </a:lnTo>
                  <a:lnTo>
                    <a:pt x="440" y="90"/>
                  </a:lnTo>
                  <a:lnTo>
                    <a:pt x="442" y="94"/>
                  </a:lnTo>
                  <a:lnTo>
                    <a:pt x="442" y="94"/>
                  </a:lnTo>
                  <a:lnTo>
                    <a:pt x="446" y="94"/>
                  </a:lnTo>
                  <a:lnTo>
                    <a:pt x="446" y="94"/>
                  </a:lnTo>
                  <a:lnTo>
                    <a:pt x="444" y="86"/>
                  </a:lnTo>
                  <a:lnTo>
                    <a:pt x="444" y="86"/>
                  </a:lnTo>
                  <a:lnTo>
                    <a:pt x="438" y="86"/>
                  </a:lnTo>
                  <a:lnTo>
                    <a:pt x="438" y="86"/>
                  </a:lnTo>
                  <a:lnTo>
                    <a:pt x="446" y="80"/>
                  </a:lnTo>
                  <a:lnTo>
                    <a:pt x="446" y="80"/>
                  </a:lnTo>
                  <a:lnTo>
                    <a:pt x="446" y="78"/>
                  </a:lnTo>
                  <a:lnTo>
                    <a:pt x="442" y="76"/>
                  </a:lnTo>
                  <a:lnTo>
                    <a:pt x="442" y="74"/>
                  </a:lnTo>
                  <a:lnTo>
                    <a:pt x="442" y="74"/>
                  </a:lnTo>
                  <a:lnTo>
                    <a:pt x="438" y="78"/>
                  </a:lnTo>
                  <a:lnTo>
                    <a:pt x="438" y="78"/>
                  </a:lnTo>
                  <a:lnTo>
                    <a:pt x="438" y="82"/>
                  </a:lnTo>
                  <a:lnTo>
                    <a:pt x="436" y="82"/>
                  </a:lnTo>
                  <a:lnTo>
                    <a:pt x="436" y="82"/>
                  </a:lnTo>
                  <a:lnTo>
                    <a:pt x="436" y="74"/>
                  </a:lnTo>
                  <a:lnTo>
                    <a:pt x="436" y="70"/>
                  </a:lnTo>
                  <a:lnTo>
                    <a:pt x="436" y="68"/>
                  </a:lnTo>
                  <a:lnTo>
                    <a:pt x="436" y="68"/>
                  </a:lnTo>
                  <a:lnTo>
                    <a:pt x="436" y="66"/>
                  </a:lnTo>
                  <a:lnTo>
                    <a:pt x="436" y="66"/>
                  </a:lnTo>
                  <a:lnTo>
                    <a:pt x="436" y="66"/>
                  </a:lnTo>
                  <a:lnTo>
                    <a:pt x="438" y="64"/>
                  </a:lnTo>
                  <a:lnTo>
                    <a:pt x="438" y="64"/>
                  </a:lnTo>
                  <a:lnTo>
                    <a:pt x="436" y="62"/>
                  </a:lnTo>
                  <a:lnTo>
                    <a:pt x="436" y="60"/>
                  </a:lnTo>
                  <a:lnTo>
                    <a:pt x="434" y="58"/>
                  </a:lnTo>
                  <a:close/>
                  <a:moveTo>
                    <a:pt x="394" y="72"/>
                  </a:moveTo>
                  <a:lnTo>
                    <a:pt x="394" y="72"/>
                  </a:lnTo>
                  <a:lnTo>
                    <a:pt x="392" y="76"/>
                  </a:lnTo>
                  <a:lnTo>
                    <a:pt x="392" y="76"/>
                  </a:lnTo>
                  <a:lnTo>
                    <a:pt x="388" y="76"/>
                  </a:lnTo>
                  <a:lnTo>
                    <a:pt x="388" y="76"/>
                  </a:lnTo>
                  <a:lnTo>
                    <a:pt x="388" y="80"/>
                  </a:lnTo>
                  <a:lnTo>
                    <a:pt x="388" y="80"/>
                  </a:lnTo>
                  <a:lnTo>
                    <a:pt x="380" y="84"/>
                  </a:lnTo>
                  <a:lnTo>
                    <a:pt x="380" y="84"/>
                  </a:lnTo>
                  <a:lnTo>
                    <a:pt x="366" y="84"/>
                  </a:lnTo>
                  <a:lnTo>
                    <a:pt x="352" y="84"/>
                  </a:lnTo>
                  <a:lnTo>
                    <a:pt x="352" y="82"/>
                  </a:lnTo>
                  <a:lnTo>
                    <a:pt x="352" y="82"/>
                  </a:lnTo>
                  <a:lnTo>
                    <a:pt x="350" y="82"/>
                  </a:lnTo>
                  <a:lnTo>
                    <a:pt x="348" y="82"/>
                  </a:lnTo>
                  <a:lnTo>
                    <a:pt x="348" y="78"/>
                  </a:lnTo>
                  <a:lnTo>
                    <a:pt x="348" y="78"/>
                  </a:lnTo>
                  <a:lnTo>
                    <a:pt x="344" y="78"/>
                  </a:lnTo>
                  <a:lnTo>
                    <a:pt x="340" y="78"/>
                  </a:lnTo>
                  <a:lnTo>
                    <a:pt x="334" y="82"/>
                  </a:lnTo>
                  <a:lnTo>
                    <a:pt x="334" y="84"/>
                  </a:lnTo>
                  <a:lnTo>
                    <a:pt x="334" y="84"/>
                  </a:lnTo>
                  <a:lnTo>
                    <a:pt x="332" y="84"/>
                  </a:lnTo>
                  <a:lnTo>
                    <a:pt x="332" y="82"/>
                  </a:lnTo>
                  <a:lnTo>
                    <a:pt x="332" y="82"/>
                  </a:lnTo>
                  <a:lnTo>
                    <a:pt x="326" y="88"/>
                  </a:lnTo>
                  <a:lnTo>
                    <a:pt x="326" y="88"/>
                  </a:lnTo>
                  <a:lnTo>
                    <a:pt x="326" y="90"/>
                  </a:lnTo>
                  <a:lnTo>
                    <a:pt x="326" y="90"/>
                  </a:lnTo>
                  <a:lnTo>
                    <a:pt x="326" y="90"/>
                  </a:lnTo>
                  <a:lnTo>
                    <a:pt x="326" y="94"/>
                  </a:lnTo>
                  <a:lnTo>
                    <a:pt x="326" y="94"/>
                  </a:lnTo>
                  <a:lnTo>
                    <a:pt x="326" y="94"/>
                  </a:lnTo>
                  <a:lnTo>
                    <a:pt x="326" y="106"/>
                  </a:lnTo>
                  <a:lnTo>
                    <a:pt x="324" y="114"/>
                  </a:lnTo>
                  <a:lnTo>
                    <a:pt x="322" y="114"/>
                  </a:lnTo>
                  <a:lnTo>
                    <a:pt x="322" y="114"/>
                  </a:lnTo>
                  <a:lnTo>
                    <a:pt x="320" y="122"/>
                  </a:lnTo>
                  <a:lnTo>
                    <a:pt x="320" y="132"/>
                  </a:lnTo>
                  <a:lnTo>
                    <a:pt x="320" y="132"/>
                  </a:lnTo>
                  <a:lnTo>
                    <a:pt x="318" y="140"/>
                  </a:lnTo>
                  <a:lnTo>
                    <a:pt x="316" y="142"/>
                  </a:lnTo>
                  <a:lnTo>
                    <a:pt x="316" y="142"/>
                  </a:lnTo>
                  <a:lnTo>
                    <a:pt x="314" y="150"/>
                  </a:lnTo>
                  <a:lnTo>
                    <a:pt x="316" y="158"/>
                  </a:lnTo>
                  <a:lnTo>
                    <a:pt x="316" y="158"/>
                  </a:lnTo>
                  <a:lnTo>
                    <a:pt x="322" y="158"/>
                  </a:lnTo>
                  <a:lnTo>
                    <a:pt x="324" y="160"/>
                  </a:lnTo>
                  <a:lnTo>
                    <a:pt x="324" y="160"/>
                  </a:lnTo>
                  <a:lnTo>
                    <a:pt x="322" y="164"/>
                  </a:lnTo>
                  <a:lnTo>
                    <a:pt x="324" y="168"/>
                  </a:lnTo>
                  <a:lnTo>
                    <a:pt x="324" y="168"/>
                  </a:lnTo>
                  <a:lnTo>
                    <a:pt x="322" y="172"/>
                  </a:lnTo>
                  <a:lnTo>
                    <a:pt x="318" y="176"/>
                  </a:lnTo>
                  <a:lnTo>
                    <a:pt x="318" y="176"/>
                  </a:lnTo>
                  <a:lnTo>
                    <a:pt x="318" y="182"/>
                  </a:lnTo>
                  <a:lnTo>
                    <a:pt x="318" y="190"/>
                  </a:lnTo>
                  <a:lnTo>
                    <a:pt x="318" y="190"/>
                  </a:lnTo>
                  <a:lnTo>
                    <a:pt x="336" y="188"/>
                  </a:lnTo>
                  <a:lnTo>
                    <a:pt x="336" y="188"/>
                  </a:lnTo>
                  <a:lnTo>
                    <a:pt x="336" y="184"/>
                  </a:lnTo>
                  <a:lnTo>
                    <a:pt x="336" y="184"/>
                  </a:lnTo>
                  <a:lnTo>
                    <a:pt x="334" y="182"/>
                  </a:lnTo>
                  <a:lnTo>
                    <a:pt x="334" y="182"/>
                  </a:lnTo>
                  <a:lnTo>
                    <a:pt x="334" y="182"/>
                  </a:lnTo>
                  <a:lnTo>
                    <a:pt x="336" y="180"/>
                  </a:lnTo>
                  <a:lnTo>
                    <a:pt x="336" y="178"/>
                  </a:lnTo>
                  <a:lnTo>
                    <a:pt x="336" y="176"/>
                  </a:lnTo>
                  <a:lnTo>
                    <a:pt x="336" y="176"/>
                  </a:lnTo>
                  <a:lnTo>
                    <a:pt x="334" y="168"/>
                  </a:lnTo>
                  <a:lnTo>
                    <a:pt x="334" y="168"/>
                  </a:lnTo>
                  <a:lnTo>
                    <a:pt x="338" y="164"/>
                  </a:lnTo>
                  <a:lnTo>
                    <a:pt x="338" y="164"/>
                  </a:lnTo>
                  <a:lnTo>
                    <a:pt x="338" y="158"/>
                  </a:lnTo>
                  <a:lnTo>
                    <a:pt x="336" y="154"/>
                  </a:lnTo>
                  <a:lnTo>
                    <a:pt x="336" y="154"/>
                  </a:lnTo>
                  <a:lnTo>
                    <a:pt x="346" y="152"/>
                  </a:lnTo>
                  <a:lnTo>
                    <a:pt x="346" y="152"/>
                  </a:lnTo>
                  <a:lnTo>
                    <a:pt x="348" y="168"/>
                  </a:lnTo>
                  <a:lnTo>
                    <a:pt x="348" y="168"/>
                  </a:lnTo>
                  <a:lnTo>
                    <a:pt x="350" y="174"/>
                  </a:lnTo>
                  <a:lnTo>
                    <a:pt x="350" y="182"/>
                  </a:lnTo>
                  <a:lnTo>
                    <a:pt x="350" y="182"/>
                  </a:lnTo>
                  <a:lnTo>
                    <a:pt x="360" y="184"/>
                  </a:lnTo>
                  <a:lnTo>
                    <a:pt x="360" y="182"/>
                  </a:lnTo>
                  <a:lnTo>
                    <a:pt x="360" y="182"/>
                  </a:lnTo>
                  <a:lnTo>
                    <a:pt x="360" y="182"/>
                  </a:lnTo>
                  <a:lnTo>
                    <a:pt x="360" y="180"/>
                  </a:lnTo>
                  <a:lnTo>
                    <a:pt x="360" y="176"/>
                  </a:lnTo>
                  <a:lnTo>
                    <a:pt x="360" y="176"/>
                  </a:lnTo>
                  <a:lnTo>
                    <a:pt x="360" y="176"/>
                  </a:lnTo>
                  <a:lnTo>
                    <a:pt x="364" y="174"/>
                  </a:lnTo>
                  <a:lnTo>
                    <a:pt x="370" y="174"/>
                  </a:lnTo>
                  <a:lnTo>
                    <a:pt x="372" y="170"/>
                  </a:lnTo>
                  <a:lnTo>
                    <a:pt x="370" y="170"/>
                  </a:lnTo>
                  <a:lnTo>
                    <a:pt x="370" y="170"/>
                  </a:lnTo>
                  <a:lnTo>
                    <a:pt x="366" y="164"/>
                  </a:lnTo>
                  <a:lnTo>
                    <a:pt x="366" y="164"/>
                  </a:lnTo>
                  <a:lnTo>
                    <a:pt x="364" y="160"/>
                  </a:lnTo>
                  <a:lnTo>
                    <a:pt x="364" y="154"/>
                  </a:lnTo>
                  <a:lnTo>
                    <a:pt x="362" y="154"/>
                  </a:lnTo>
                  <a:lnTo>
                    <a:pt x="362" y="154"/>
                  </a:lnTo>
                  <a:lnTo>
                    <a:pt x="362" y="152"/>
                  </a:lnTo>
                  <a:lnTo>
                    <a:pt x="362" y="152"/>
                  </a:lnTo>
                  <a:lnTo>
                    <a:pt x="358" y="150"/>
                  </a:lnTo>
                  <a:lnTo>
                    <a:pt x="356" y="150"/>
                  </a:lnTo>
                  <a:lnTo>
                    <a:pt x="356" y="150"/>
                  </a:lnTo>
                  <a:lnTo>
                    <a:pt x="356" y="144"/>
                  </a:lnTo>
                  <a:lnTo>
                    <a:pt x="354" y="140"/>
                  </a:lnTo>
                  <a:lnTo>
                    <a:pt x="354" y="140"/>
                  </a:lnTo>
                  <a:lnTo>
                    <a:pt x="344" y="136"/>
                  </a:lnTo>
                  <a:lnTo>
                    <a:pt x="344" y="136"/>
                  </a:lnTo>
                  <a:lnTo>
                    <a:pt x="348" y="134"/>
                  </a:lnTo>
                  <a:lnTo>
                    <a:pt x="348" y="134"/>
                  </a:lnTo>
                  <a:lnTo>
                    <a:pt x="354" y="134"/>
                  </a:lnTo>
                  <a:lnTo>
                    <a:pt x="354" y="134"/>
                  </a:lnTo>
                  <a:lnTo>
                    <a:pt x="360" y="130"/>
                  </a:lnTo>
                  <a:lnTo>
                    <a:pt x="364" y="126"/>
                  </a:lnTo>
                  <a:lnTo>
                    <a:pt x="368" y="122"/>
                  </a:lnTo>
                  <a:lnTo>
                    <a:pt x="374" y="120"/>
                  </a:lnTo>
                  <a:lnTo>
                    <a:pt x="374" y="120"/>
                  </a:lnTo>
                  <a:lnTo>
                    <a:pt x="374" y="114"/>
                  </a:lnTo>
                  <a:lnTo>
                    <a:pt x="374" y="114"/>
                  </a:lnTo>
                  <a:lnTo>
                    <a:pt x="362" y="114"/>
                  </a:lnTo>
                  <a:lnTo>
                    <a:pt x="350" y="114"/>
                  </a:lnTo>
                  <a:lnTo>
                    <a:pt x="350" y="114"/>
                  </a:lnTo>
                  <a:lnTo>
                    <a:pt x="348" y="118"/>
                  </a:lnTo>
                  <a:lnTo>
                    <a:pt x="348" y="118"/>
                  </a:lnTo>
                  <a:lnTo>
                    <a:pt x="346" y="118"/>
                  </a:lnTo>
                  <a:lnTo>
                    <a:pt x="344" y="120"/>
                  </a:lnTo>
                  <a:lnTo>
                    <a:pt x="344" y="120"/>
                  </a:lnTo>
                  <a:lnTo>
                    <a:pt x="342" y="114"/>
                  </a:lnTo>
                  <a:lnTo>
                    <a:pt x="342" y="114"/>
                  </a:lnTo>
                  <a:lnTo>
                    <a:pt x="336" y="114"/>
                  </a:lnTo>
                  <a:lnTo>
                    <a:pt x="336" y="114"/>
                  </a:lnTo>
                  <a:lnTo>
                    <a:pt x="334" y="110"/>
                  </a:lnTo>
                  <a:lnTo>
                    <a:pt x="334" y="110"/>
                  </a:lnTo>
                  <a:lnTo>
                    <a:pt x="334" y="104"/>
                  </a:lnTo>
                  <a:lnTo>
                    <a:pt x="336" y="100"/>
                  </a:lnTo>
                  <a:lnTo>
                    <a:pt x="336" y="100"/>
                  </a:lnTo>
                  <a:lnTo>
                    <a:pt x="336" y="92"/>
                  </a:lnTo>
                  <a:lnTo>
                    <a:pt x="336" y="92"/>
                  </a:lnTo>
                  <a:lnTo>
                    <a:pt x="340" y="92"/>
                  </a:lnTo>
                  <a:lnTo>
                    <a:pt x="340" y="92"/>
                  </a:lnTo>
                  <a:lnTo>
                    <a:pt x="348" y="90"/>
                  </a:lnTo>
                  <a:lnTo>
                    <a:pt x="348" y="90"/>
                  </a:lnTo>
                  <a:lnTo>
                    <a:pt x="350" y="92"/>
                  </a:lnTo>
                  <a:lnTo>
                    <a:pt x="354" y="92"/>
                  </a:lnTo>
                  <a:lnTo>
                    <a:pt x="354" y="92"/>
                  </a:lnTo>
                  <a:lnTo>
                    <a:pt x="360" y="92"/>
                  </a:lnTo>
                  <a:lnTo>
                    <a:pt x="368" y="92"/>
                  </a:lnTo>
                  <a:lnTo>
                    <a:pt x="368" y="92"/>
                  </a:lnTo>
                  <a:lnTo>
                    <a:pt x="374" y="94"/>
                  </a:lnTo>
                  <a:lnTo>
                    <a:pt x="380" y="96"/>
                  </a:lnTo>
                  <a:lnTo>
                    <a:pt x="384" y="94"/>
                  </a:lnTo>
                  <a:lnTo>
                    <a:pt x="384" y="92"/>
                  </a:lnTo>
                  <a:lnTo>
                    <a:pt x="384" y="92"/>
                  </a:lnTo>
                  <a:lnTo>
                    <a:pt x="386" y="92"/>
                  </a:lnTo>
                  <a:lnTo>
                    <a:pt x="388" y="92"/>
                  </a:lnTo>
                  <a:lnTo>
                    <a:pt x="388" y="92"/>
                  </a:lnTo>
                  <a:lnTo>
                    <a:pt x="390" y="88"/>
                  </a:lnTo>
                  <a:lnTo>
                    <a:pt x="392" y="84"/>
                  </a:lnTo>
                  <a:lnTo>
                    <a:pt x="392" y="84"/>
                  </a:lnTo>
                  <a:lnTo>
                    <a:pt x="396" y="82"/>
                  </a:lnTo>
                  <a:lnTo>
                    <a:pt x="398" y="80"/>
                  </a:lnTo>
                  <a:lnTo>
                    <a:pt x="398" y="80"/>
                  </a:lnTo>
                  <a:lnTo>
                    <a:pt x="398" y="74"/>
                  </a:lnTo>
                  <a:lnTo>
                    <a:pt x="398" y="74"/>
                  </a:lnTo>
                  <a:lnTo>
                    <a:pt x="396" y="72"/>
                  </a:lnTo>
                  <a:lnTo>
                    <a:pt x="396" y="72"/>
                  </a:lnTo>
                  <a:lnTo>
                    <a:pt x="396" y="72"/>
                  </a:lnTo>
                  <a:lnTo>
                    <a:pt x="394" y="72"/>
                  </a:lnTo>
                  <a:lnTo>
                    <a:pt x="394" y="72"/>
                  </a:lnTo>
                  <a:close/>
                  <a:moveTo>
                    <a:pt x="470" y="100"/>
                  </a:moveTo>
                  <a:lnTo>
                    <a:pt x="468" y="102"/>
                  </a:lnTo>
                  <a:lnTo>
                    <a:pt x="468" y="102"/>
                  </a:lnTo>
                  <a:lnTo>
                    <a:pt x="464" y="104"/>
                  </a:lnTo>
                  <a:lnTo>
                    <a:pt x="466" y="106"/>
                  </a:lnTo>
                  <a:lnTo>
                    <a:pt x="478" y="106"/>
                  </a:lnTo>
                  <a:lnTo>
                    <a:pt x="478" y="106"/>
                  </a:lnTo>
                  <a:lnTo>
                    <a:pt x="480" y="104"/>
                  </a:lnTo>
                  <a:lnTo>
                    <a:pt x="480" y="104"/>
                  </a:lnTo>
                  <a:lnTo>
                    <a:pt x="470" y="100"/>
                  </a:lnTo>
                  <a:lnTo>
                    <a:pt x="470" y="100"/>
                  </a:lnTo>
                  <a:close/>
                  <a:moveTo>
                    <a:pt x="142" y="126"/>
                  </a:moveTo>
                  <a:lnTo>
                    <a:pt x="142" y="126"/>
                  </a:lnTo>
                  <a:lnTo>
                    <a:pt x="140" y="130"/>
                  </a:lnTo>
                  <a:lnTo>
                    <a:pt x="138" y="134"/>
                  </a:lnTo>
                  <a:lnTo>
                    <a:pt x="138" y="134"/>
                  </a:lnTo>
                  <a:lnTo>
                    <a:pt x="144" y="136"/>
                  </a:lnTo>
                  <a:lnTo>
                    <a:pt x="144" y="136"/>
                  </a:lnTo>
                  <a:lnTo>
                    <a:pt x="144" y="138"/>
                  </a:lnTo>
                  <a:lnTo>
                    <a:pt x="144" y="142"/>
                  </a:lnTo>
                  <a:lnTo>
                    <a:pt x="144" y="142"/>
                  </a:lnTo>
                  <a:lnTo>
                    <a:pt x="146" y="144"/>
                  </a:lnTo>
                  <a:lnTo>
                    <a:pt x="150" y="146"/>
                  </a:lnTo>
                  <a:lnTo>
                    <a:pt x="150" y="146"/>
                  </a:lnTo>
                  <a:lnTo>
                    <a:pt x="152" y="150"/>
                  </a:lnTo>
                  <a:lnTo>
                    <a:pt x="154" y="148"/>
                  </a:lnTo>
                  <a:lnTo>
                    <a:pt x="154" y="148"/>
                  </a:lnTo>
                  <a:lnTo>
                    <a:pt x="152" y="138"/>
                  </a:lnTo>
                  <a:lnTo>
                    <a:pt x="148" y="132"/>
                  </a:lnTo>
                  <a:lnTo>
                    <a:pt x="148" y="132"/>
                  </a:lnTo>
                  <a:lnTo>
                    <a:pt x="146" y="128"/>
                  </a:lnTo>
                  <a:lnTo>
                    <a:pt x="142" y="126"/>
                  </a:lnTo>
                  <a:lnTo>
                    <a:pt x="142" y="126"/>
                  </a:lnTo>
                  <a:close/>
                  <a:moveTo>
                    <a:pt x="440" y="148"/>
                  </a:moveTo>
                  <a:lnTo>
                    <a:pt x="440" y="148"/>
                  </a:lnTo>
                  <a:lnTo>
                    <a:pt x="440" y="150"/>
                  </a:lnTo>
                  <a:lnTo>
                    <a:pt x="440" y="150"/>
                  </a:lnTo>
                  <a:lnTo>
                    <a:pt x="436" y="150"/>
                  </a:lnTo>
                  <a:lnTo>
                    <a:pt x="436" y="154"/>
                  </a:lnTo>
                  <a:lnTo>
                    <a:pt x="436" y="154"/>
                  </a:lnTo>
                  <a:lnTo>
                    <a:pt x="440" y="154"/>
                  </a:lnTo>
                  <a:lnTo>
                    <a:pt x="440" y="154"/>
                  </a:lnTo>
                  <a:lnTo>
                    <a:pt x="442" y="156"/>
                  </a:lnTo>
                  <a:lnTo>
                    <a:pt x="442" y="156"/>
                  </a:lnTo>
                  <a:lnTo>
                    <a:pt x="444" y="156"/>
                  </a:lnTo>
                  <a:lnTo>
                    <a:pt x="444" y="156"/>
                  </a:lnTo>
                  <a:lnTo>
                    <a:pt x="446" y="154"/>
                  </a:lnTo>
                  <a:lnTo>
                    <a:pt x="446" y="154"/>
                  </a:lnTo>
                  <a:lnTo>
                    <a:pt x="448" y="154"/>
                  </a:lnTo>
                  <a:lnTo>
                    <a:pt x="450" y="154"/>
                  </a:lnTo>
                  <a:lnTo>
                    <a:pt x="454" y="156"/>
                  </a:lnTo>
                  <a:lnTo>
                    <a:pt x="454" y="156"/>
                  </a:lnTo>
                  <a:lnTo>
                    <a:pt x="458" y="154"/>
                  </a:lnTo>
                  <a:lnTo>
                    <a:pt x="458" y="154"/>
                  </a:lnTo>
                  <a:lnTo>
                    <a:pt x="464" y="156"/>
                  </a:lnTo>
                  <a:lnTo>
                    <a:pt x="470" y="158"/>
                  </a:lnTo>
                  <a:lnTo>
                    <a:pt x="470" y="158"/>
                  </a:lnTo>
                  <a:lnTo>
                    <a:pt x="470" y="158"/>
                  </a:lnTo>
                  <a:lnTo>
                    <a:pt x="472" y="154"/>
                  </a:lnTo>
                  <a:lnTo>
                    <a:pt x="472" y="154"/>
                  </a:lnTo>
                  <a:lnTo>
                    <a:pt x="470" y="152"/>
                  </a:lnTo>
                  <a:lnTo>
                    <a:pt x="470" y="152"/>
                  </a:lnTo>
                  <a:lnTo>
                    <a:pt x="460" y="150"/>
                  </a:lnTo>
                  <a:lnTo>
                    <a:pt x="452" y="150"/>
                  </a:lnTo>
                  <a:lnTo>
                    <a:pt x="450" y="148"/>
                  </a:lnTo>
                  <a:lnTo>
                    <a:pt x="450" y="148"/>
                  </a:lnTo>
                  <a:lnTo>
                    <a:pt x="440" y="148"/>
                  </a:lnTo>
                  <a:lnTo>
                    <a:pt x="440" y="148"/>
                  </a:lnTo>
                  <a:close/>
                  <a:moveTo>
                    <a:pt x="422" y="150"/>
                  </a:moveTo>
                  <a:lnTo>
                    <a:pt x="422" y="150"/>
                  </a:lnTo>
                  <a:lnTo>
                    <a:pt x="408" y="152"/>
                  </a:lnTo>
                  <a:lnTo>
                    <a:pt x="408" y="152"/>
                  </a:lnTo>
                  <a:lnTo>
                    <a:pt x="408" y="154"/>
                  </a:lnTo>
                  <a:lnTo>
                    <a:pt x="408" y="154"/>
                  </a:lnTo>
                  <a:lnTo>
                    <a:pt x="414" y="156"/>
                  </a:lnTo>
                  <a:lnTo>
                    <a:pt x="414" y="156"/>
                  </a:lnTo>
                  <a:lnTo>
                    <a:pt x="416" y="160"/>
                  </a:lnTo>
                  <a:lnTo>
                    <a:pt x="416" y="160"/>
                  </a:lnTo>
                  <a:lnTo>
                    <a:pt x="422" y="160"/>
                  </a:lnTo>
                  <a:lnTo>
                    <a:pt x="428" y="158"/>
                  </a:lnTo>
                  <a:lnTo>
                    <a:pt x="428" y="158"/>
                  </a:lnTo>
                  <a:lnTo>
                    <a:pt x="428" y="154"/>
                  </a:lnTo>
                  <a:lnTo>
                    <a:pt x="428" y="154"/>
                  </a:lnTo>
                  <a:lnTo>
                    <a:pt x="424" y="154"/>
                  </a:lnTo>
                  <a:lnTo>
                    <a:pt x="424" y="154"/>
                  </a:lnTo>
                  <a:lnTo>
                    <a:pt x="424" y="150"/>
                  </a:lnTo>
                  <a:lnTo>
                    <a:pt x="422" y="150"/>
                  </a:lnTo>
                  <a:lnTo>
                    <a:pt x="422" y="150"/>
                  </a:lnTo>
                  <a:close/>
                  <a:moveTo>
                    <a:pt x="374" y="174"/>
                  </a:moveTo>
                  <a:lnTo>
                    <a:pt x="374" y="174"/>
                  </a:lnTo>
                  <a:lnTo>
                    <a:pt x="372" y="176"/>
                  </a:lnTo>
                  <a:lnTo>
                    <a:pt x="372" y="176"/>
                  </a:lnTo>
                  <a:lnTo>
                    <a:pt x="372" y="176"/>
                  </a:lnTo>
                  <a:lnTo>
                    <a:pt x="372" y="182"/>
                  </a:lnTo>
                  <a:lnTo>
                    <a:pt x="372" y="182"/>
                  </a:lnTo>
                  <a:lnTo>
                    <a:pt x="370" y="184"/>
                  </a:lnTo>
                  <a:lnTo>
                    <a:pt x="370" y="184"/>
                  </a:lnTo>
                  <a:lnTo>
                    <a:pt x="370" y="182"/>
                  </a:lnTo>
                  <a:lnTo>
                    <a:pt x="370" y="182"/>
                  </a:lnTo>
                  <a:lnTo>
                    <a:pt x="368" y="180"/>
                  </a:lnTo>
                  <a:lnTo>
                    <a:pt x="368" y="180"/>
                  </a:lnTo>
                  <a:lnTo>
                    <a:pt x="368" y="180"/>
                  </a:lnTo>
                  <a:lnTo>
                    <a:pt x="366" y="180"/>
                  </a:lnTo>
                  <a:lnTo>
                    <a:pt x="366" y="180"/>
                  </a:lnTo>
                  <a:lnTo>
                    <a:pt x="364" y="184"/>
                  </a:lnTo>
                  <a:lnTo>
                    <a:pt x="364" y="186"/>
                  </a:lnTo>
                  <a:lnTo>
                    <a:pt x="364" y="186"/>
                  </a:lnTo>
                  <a:lnTo>
                    <a:pt x="368" y="188"/>
                  </a:lnTo>
                  <a:lnTo>
                    <a:pt x="370" y="192"/>
                  </a:lnTo>
                  <a:lnTo>
                    <a:pt x="370" y="192"/>
                  </a:lnTo>
                  <a:lnTo>
                    <a:pt x="374" y="192"/>
                  </a:lnTo>
                  <a:lnTo>
                    <a:pt x="374" y="192"/>
                  </a:lnTo>
                  <a:lnTo>
                    <a:pt x="378" y="188"/>
                  </a:lnTo>
                  <a:lnTo>
                    <a:pt x="378" y="188"/>
                  </a:lnTo>
                  <a:lnTo>
                    <a:pt x="374" y="184"/>
                  </a:lnTo>
                  <a:lnTo>
                    <a:pt x="374" y="184"/>
                  </a:lnTo>
                  <a:lnTo>
                    <a:pt x="374" y="180"/>
                  </a:lnTo>
                  <a:lnTo>
                    <a:pt x="376" y="178"/>
                  </a:lnTo>
                  <a:lnTo>
                    <a:pt x="376" y="176"/>
                  </a:lnTo>
                  <a:lnTo>
                    <a:pt x="374" y="174"/>
                  </a:lnTo>
                  <a:lnTo>
                    <a:pt x="374" y="174"/>
                  </a:lnTo>
                  <a:close/>
                  <a:moveTo>
                    <a:pt x="158" y="190"/>
                  </a:moveTo>
                  <a:lnTo>
                    <a:pt x="156" y="192"/>
                  </a:lnTo>
                  <a:lnTo>
                    <a:pt x="156" y="192"/>
                  </a:lnTo>
                  <a:lnTo>
                    <a:pt x="140" y="190"/>
                  </a:lnTo>
                  <a:lnTo>
                    <a:pt x="140" y="190"/>
                  </a:lnTo>
                  <a:lnTo>
                    <a:pt x="138" y="200"/>
                  </a:lnTo>
                  <a:lnTo>
                    <a:pt x="134" y="206"/>
                  </a:lnTo>
                  <a:lnTo>
                    <a:pt x="134" y="206"/>
                  </a:lnTo>
                  <a:lnTo>
                    <a:pt x="134" y="208"/>
                  </a:lnTo>
                  <a:lnTo>
                    <a:pt x="134" y="208"/>
                  </a:lnTo>
                  <a:lnTo>
                    <a:pt x="148" y="208"/>
                  </a:lnTo>
                  <a:lnTo>
                    <a:pt x="148" y="208"/>
                  </a:lnTo>
                  <a:lnTo>
                    <a:pt x="148" y="210"/>
                  </a:lnTo>
                  <a:lnTo>
                    <a:pt x="146" y="212"/>
                  </a:lnTo>
                  <a:lnTo>
                    <a:pt x="146" y="212"/>
                  </a:lnTo>
                  <a:lnTo>
                    <a:pt x="146" y="216"/>
                  </a:lnTo>
                  <a:lnTo>
                    <a:pt x="146" y="216"/>
                  </a:lnTo>
                  <a:lnTo>
                    <a:pt x="156" y="216"/>
                  </a:lnTo>
                  <a:lnTo>
                    <a:pt x="164" y="218"/>
                  </a:lnTo>
                  <a:lnTo>
                    <a:pt x="164" y="218"/>
                  </a:lnTo>
                  <a:lnTo>
                    <a:pt x="168" y="222"/>
                  </a:lnTo>
                  <a:lnTo>
                    <a:pt x="188" y="222"/>
                  </a:lnTo>
                  <a:lnTo>
                    <a:pt x="188" y="222"/>
                  </a:lnTo>
                  <a:lnTo>
                    <a:pt x="190" y="220"/>
                  </a:lnTo>
                  <a:lnTo>
                    <a:pt x="194" y="222"/>
                  </a:lnTo>
                  <a:lnTo>
                    <a:pt x="194" y="222"/>
                  </a:lnTo>
                  <a:lnTo>
                    <a:pt x="208" y="226"/>
                  </a:lnTo>
                  <a:lnTo>
                    <a:pt x="208" y="226"/>
                  </a:lnTo>
                  <a:lnTo>
                    <a:pt x="214" y="230"/>
                  </a:lnTo>
                  <a:lnTo>
                    <a:pt x="214" y="230"/>
                  </a:lnTo>
                  <a:lnTo>
                    <a:pt x="218" y="230"/>
                  </a:lnTo>
                  <a:lnTo>
                    <a:pt x="224" y="228"/>
                  </a:lnTo>
                  <a:lnTo>
                    <a:pt x="224" y="228"/>
                  </a:lnTo>
                  <a:lnTo>
                    <a:pt x="228" y="232"/>
                  </a:lnTo>
                  <a:lnTo>
                    <a:pt x="232" y="232"/>
                  </a:lnTo>
                  <a:lnTo>
                    <a:pt x="236" y="232"/>
                  </a:lnTo>
                  <a:lnTo>
                    <a:pt x="236" y="232"/>
                  </a:lnTo>
                  <a:lnTo>
                    <a:pt x="238" y="232"/>
                  </a:lnTo>
                  <a:lnTo>
                    <a:pt x="242" y="230"/>
                  </a:lnTo>
                  <a:lnTo>
                    <a:pt x="242" y="230"/>
                  </a:lnTo>
                  <a:lnTo>
                    <a:pt x="246" y="234"/>
                  </a:lnTo>
                  <a:lnTo>
                    <a:pt x="246" y="236"/>
                  </a:lnTo>
                  <a:lnTo>
                    <a:pt x="246" y="236"/>
                  </a:lnTo>
                  <a:lnTo>
                    <a:pt x="252" y="238"/>
                  </a:lnTo>
                  <a:lnTo>
                    <a:pt x="258" y="238"/>
                  </a:lnTo>
                  <a:lnTo>
                    <a:pt x="258" y="238"/>
                  </a:lnTo>
                  <a:lnTo>
                    <a:pt x="262" y="242"/>
                  </a:lnTo>
                  <a:lnTo>
                    <a:pt x="262" y="242"/>
                  </a:lnTo>
                  <a:lnTo>
                    <a:pt x="260" y="232"/>
                  </a:lnTo>
                  <a:lnTo>
                    <a:pt x="260" y="232"/>
                  </a:lnTo>
                  <a:lnTo>
                    <a:pt x="256" y="230"/>
                  </a:lnTo>
                  <a:lnTo>
                    <a:pt x="256" y="230"/>
                  </a:lnTo>
                  <a:lnTo>
                    <a:pt x="258" y="222"/>
                  </a:lnTo>
                  <a:lnTo>
                    <a:pt x="258" y="222"/>
                  </a:lnTo>
                  <a:lnTo>
                    <a:pt x="248" y="218"/>
                  </a:lnTo>
                  <a:lnTo>
                    <a:pt x="236" y="218"/>
                  </a:lnTo>
                  <a:lnTo>
                    <a:pt x="236" y="218"/>
                  </a:lnTo>
                  <a:lnTo>
                    <a:pt x="236" y="210"/>
                  </a:lnTo>
                  <a:lnTo>
                    <a:pt x="236" y="210"/>
                  </a:lnTo>
                  <a:lnTo>
                    <a:pt x="234" y="208"/>
                  </a:lnTo>
                  <a:lnTo>
                    <a:pt x="234" y="208"/>
                  </a:lnTo>
                  <a:lnTo>
                    <a:pt x="234" y="202"/>
                  </a:lnTo>
                  <a:lnTo>
                    <a:pt x="234" y="202"/>
                  </a:lnTo>
                  <a:lnTo>
                    <a:pt x="226" y="204"/>
                  </a:lnTo>
                  <a:lnTo>
                    <a:pt x="226" y="204"/>
                  </a:lnTo>
                  <a:lnTo>
                    <a:pt x="226" y="202"/>
                  </a:lnTo>
                  <a:lnTo>
                    <a:pt x="226" y="202"/>
                  </a:lnTo>
                  <a:lnTo>
                    <a:pt x="222" y="202"/>
                  </a:lnTo>
                  <a:lnTo>
                    <a:pt x="218" y="198"/>
                  </a:lnTo>
                  <a:lnTo>
                    <a:pt x="218" y="198"/>
                  </a:lnTo>
                  <a:lnTo>
                    <a:pt x="214" y="198"/>
                  </a:lnTo>
                  <a:lnTo>
                    <a:pt x="208" y="196"/>
                  </a:lnTo>
                  <a:lnTo>
                    <a:pt x="208" y="196"/>
                  </a:lnTo>
                  <a:lnTo>
                    <a:pt x="206" y="202"/>
                  </a:lnTo>
                  <a:lnTo>
                    <a:pt x="206" y="202"/>
                  </a:lnTo>
                  <a:lnTo>
                    <a:pt x="192" y="202"/>
                  </a:lnTo>
                  <a:lnTo>
                    <a:pt x="188" y="200"/>
                  </a:lnTo>
                  <a:lnTo>
                    <a:pt x="188" y="200"/>
                  </a:lnTo>
                  <a:lnTo>
                    <a:pt x="180" y="198"/>
                  </a:lnTo>
                  <a:lnTo>
                    <a:pt x="176" y="192"/>
                  </a:lnTo>
                  <a:lnTo>
                    <a:pt x="176" y="192"/>
                  </a:lnTo>
                  <a:lnTo>
                    <a:pt x="166" y="192"/>
                  </a:lnTo>
                  <a:lnTo>
                    <a:pt x="166" y="190"/>
                  </a:lnTo>
                  <a:lnTo>
                    <a:pt x="166" y="190"/>
                  </a:lnTo>
                  <a:lnTo>
                    <a:pt x="158" y="190"/>
                  </a:lnTo>
                  <a:lnTo>
                    <a:pt x="158" y="190"/>
                  </a:lnTo>
                  <a:close/>
                  <a:moveTo>
                    <a:pt x="518" y="196"/>
                  </a:moveTo>
                  <a:lnTo>
                    <a:pt x="518" y="196"/>
                  </a:lnTo>
                  <a:lnTo>
                    <a:pt x="518" y="198"/>
                  </a:lnTo>
                  <a:lnTo>
                    <a:pt x="518" y="198"/>
                  </a:lnTo>
                  <a:lnTo>
                    <a:pt x="518" y="198"/>
                  </a:lnTo>
                  <a:lnTo>
                    <a:pt x="520" y="200"/>
                  </a:lnTo>
                  <a:lnTo>
                    <a:pt x="520" y="202"/>
                  </a:lnTo>
                  <a:lnTo>
                    <a:pt x="520" y="210"/>
                  </a:lnTo>
                  <a:lnTo>
                    <a:pt x="520" y="210"/>
                  </a:lnTo>
                  <a:lnTo>
                    <a:pt x="516" y="212"/>
                  </a:lnTo>
                  <a:lnTo>
                    <a:pt x="516" y="212"/>
                  </a:lnTo>
                  <a:lnTo>
                    <a:pt x="518" y="216"/>
                  </a:lnTo>
                  <a:lnTo>
                    <a:pt x="518" y="216"/>
                  </a:lnTo>
                  <a:lnTo>
                    <a:pt x="518" y="218"/>
                  </a:lnTo>
                  <a:lnTo>
                    <a:pt x="518" y="218"/>
                  </a:lnTo>
                  <a:lnTo>
                    <a:pt x="520" y="220"/>
                  </a:lnTo>
                  <a:lnTo>
                    <a:pt x="520" y="220"/>
                  </a:lnTo>
                  <a:lnTo>
                    <a:pt x="522" y="212"/>
                  </a:lnTo>
                  <a:lnTo>
                    <a:pt x="526" y="210"/>
                  </a:lnTo>
                  <a:lnTo>
                    <a:pt x="526" y="210"/>
                  </a:lnTo>
                  <a:lnTo>
                    <a:pt x="526" y="206"/>
                  </a:lnTo>
                  <a:lnTo>
                    <a:pt x="526" y="206"/>
                  </a:lnTo>
                  <a:lnTo>
                    <a:pt x="524" y="206"/>
                  </a:lnTo>
                  <a:lnTo>
                    <a:pt x="526" y="204"/>
                  </a:lnTo>
                  <a:lnTo>
                    <a:pt x="526" y="200"/>
                  </a:lnTo>
                  <a:lnTo>
                    <a:pt x="524" y="198"/>
                  </a:lnTo>
                  <a:lnTo>
                    <a:pt x="524" y="198"/>
                  </a:lnTo>
                  <a:lnTo>
                    <a:pt x="522" y="196"/>
                  </a:lnTo>
                  <a:lnTo>
                    <a:pt x="518" y="196"/>
                  </a:lnTo>
                  <a:lnTo>
                    <a:pt x="518" y="196"/>
                  </a:lnTo>
                  <a:close/>
                  <a:moveTo>
                    <a:pt x="262" y="230"/>
                  </a:moveTo>
                  <a:lnTo>
                    <a:pt x="262" y="230"/>
                  </a:lnTo>
                  <a:lnTo>
                    <a:pt x="262" y="236"/>
                  </a:lnTo>
                  <a:lnTo>
                    <a:pt x="262" y="236"/>
                  </a:lnTo>
                  <a:lnTo>
                    <a:pt x="262" y="236"/>
                  </a:lnTo>
                  <a:lnTo>
                    <a:pt x="264" y="236"/>
                  </a:lnTo>
                  <a:lnTo>
                    <a:pt x="264" y="236"/>
                  </a:lnTo>
                  <a:lnTo>
                    <a:pt x="266" y="240"/>
                  </a:lnTo>
                  <a:lnTo>
                    <a:pt x="266" y="244"/>
                  </a:lnTo>
                  <a:lnTo>
                    <a:pt x="266" y="244"/>
                  </a:lnTo>
                  <a:lnTo>
                    <a:pt x="268" y="242"/>
                  </a:lnTo>
                  <a:lnTo>
                    <a:pt x="268" y="242"/>
                  </a:lnTo>
                  <a:lnTo>
                    <a:pt x="268" y="242"/>
                  </a:lnTo>
                  <a:lnTo>
                    <a:pt x="272" y="236"/>
                  </a:lnTo>
                  <a:lnTo>
                    <a:pt x="272" y="236"/>
                  </a:lnTo>
                  <a:lnTo>
                    <a:pt x="272" y="234"/>
                  </a:lnTo>
                  <a:lnTo>
                    <a:pt x="272" y="232"/>
                  </a:lnTo>
                  <a:lnTo>
                    <a:pt x="272" y="232"/>
                  </a:lnTo>
                  <a:lnTo>
                    <a:pt x="266" y="232"/>
                  </a:lnTo>
                  <a:lnTo>
                    <a:pt x="262" y="230"/>
                  </a:lnTo>
                  <a:lnTo>
                    <a:pt x="262" y="230"/>
                  </a:lnTo>
                  <a:close/>
                  <a:moveTo>
                    <a:pt x="408" y="234"/>
                  </a:moveTo>
                  <a:lnTo>
                    <a:pt x="408" y="234"/>
                  </a:lnTo>
                  <a:lnTo>
                    <a:pt x="406" y="238"/>
                  </a:lnTo>
                  <a:lnTo>
                    <a:pt x="420" y="238"/>
                  </a:lnTo>
                  <a:lnTo>
                    <a:pt x="420" y="238"/>
                  </a:lnTo>
                  <a:lnTo>
                    <a:pt x="418" y="234"/>
                  </a:lnTo>
                  <a:lnTo>
                    <a:pt x="418" y="234"/>
                  </a:lnTo>
                  <a:lnTo>
                    <a:pt x="408" y="234"/>
                  </a:lnTo>
                  <a:lnTo>
                    <a:pt x="408" y="234"/>
                  </a:lnTo>
                  <a:close/>
                  <a:moveTo>
                    <a:pt x="282" y="238"/>
                  </a:moveTo>
                  <a:lnTo>
                    <a:pt x="282" y="238"/>
                  </a:lnTo>
                  <a:lnTo>
                    <a:pt x="278" y="246"/>
                  </a:lnTo>
                  <a:lnTo>
                    <a:pt x="278" y="246"/>
                  </a:lnTo>
                  <a:lnTo>
                    <a:pt x="286" y="246"/>
                  </a:lnTo>
                  <a:lnTo>
                    <a:pt x="286" y="238"/>
                  </a:lnTo>
                  <a:lnTo>
                    <a:pt x="286" y="238"/>
                  </a:lnTo>
                  <a:lnTo>
                    <a:pt x="282" y="238"/>
                  </a:lnTo>
                  <a:lnTo>
                    <a:pt x="282" y="238"/>
                  </a:lnTo>
                  <a:close/>
                  <a:moveTo>
                    <a:pt x="300" y="238"/>
                  </a:moveTo>
                  <a:lnTo>
                    <a:pt x="300" y="238"/>
                  </a:lnTo>
                  <a:lnTo>
                    <a:pt x="300" y="244"/>
                  </a:lnTo>
                  <a:lnTo>
                    <a:pt x="300" y="244"/>
                  </a:lnTo>
                  <a:lnTo>
                    <a:pt x="304" y="244"/>
                  </a:lnTo>
                  <a:lnTo>
                    <a:pt x="304" y="244"/>
                  </a:lnTo>
                  <a:lnTo>
                    <a:pt x="302" y="244"/>
                  </a:lnTo>
                  <a:lnTo>
                    <a:pt x="304" y="246"/>
                  </a:lnTo>
                  <a:lnTo>
                    <a:pt x="302" y="248"/>
                  </a:lnTo>
                  <a:lnTo>
                    <a:pt x="298" y="248"/>
                  </a:lnTo>
                  <a:lnTo>
                    <a:pt x="298" y="248"/>
                  </a:lnTo>
                  <a:lnTo>
                    <a:pt x="294" y="246"/>
                  </a:lnTo>
                  <a:lnTo>
                    <a:pt x="292" y="244"/>
                  </a:lnTo>
                  <a:lnTo>
                    <a:pt x="292" y="244"/>
                  </a:lnTo>
                  <a:lnTo>
                    <a:pt x="290" y="244"/>
                  </a:lnTo>
                  <a:lnTo>
                    <a:pt x="290" y="244"/>
                  </a:lnTo>
                  <a:lnTo>
                    <a:pt x="290" y="244"/>
                  </a:lnTo>
                  <a:lnTo>
                    <a:pt x="286" y="254"/>
                  </a:lnTo>
                  <a:lnTo>
                    <a:pt x="286" y="254"/>
                  </a:lnTo>
                  <a:lnTo>
                    <a:pt x="294" y="252"/>
                  </a:lnTo>
                  <a:lnTo>
                    <a:pt x="294" y="252"/>
                  </a:lnTo>
                  <a:lnTo>
                    <a:pt x="294" y="254"/>
                  </a:lnTo>
                  <a:lnTo>
                    <a:pt x="298" y="254"/>
                  </a:lnTo>
                  <a:lnTo>
                    <a:pt x="300" y="252"/>
                  </a:lnTo>
                  <a:lnTo>
                    <a:pt x="300" y="252"/>
                  </a:lnTo>
                  <a:lnTo>
                    <a:pt x="310" y="250"/>
                  </a:lnTo>
                  <a:lnTo>
                    <a:pt x="318" y="250"/>
                  </a:lnTo>
                  <a:lnTo>
                    <a:pt x="318" y="250"/>
                  </a:lnTo>
                  <a:lnTo>
                    <a:pt x="316" y="244"/>
                  </a:lnTo>
                  <a:lnTo>
                    <a:pt x="316" y="244"/>
                  </a:lnTo>
                  <a:lnTo>
                    <a:pt x="308" y="242"/>
                  </a:lnTo>
                  <a:lnTo>
                    <a:pt x="300" y="238"/>
                  </a:lnTo>
                  <a:lnTo>
                    <a:pt x="300" y="238"/>
                  </a:lnTo>
                  <a:close/>
                  <a:moveTo>
                    <a:pt x="332" y="242"/>
                  </a:moveTo>
                  <a:lnTo>
                    <a:pt x="332" y="242"/>
                  </a:lnTo>
                  <a:lnTo>
                    <a:pt x="326" y="244"/>
                  </a:lnTo>
                  <a:lnTo>
                    <a:pt x="326" y="244"/>
                  </a:lnTo>
                  <a:lnTo>
                    <a:pt x="326" y="246"/>
                  </a:lnTo>
                  <a:lnTo>
                    <a:pt x="328" y="248"/>
                  </a:lnTo>
                  <a:lnTo>
                    <a:pt x="328" y="248"/>
                  </a:lnTo>
                  <a:lnTo>
                    <a:pt x="338" y="250"/>
                  </a:lnTo>
                  <a:lnTo>
                    <a:pt x="348" y="250"/>
                  </a:lnTo>
                  <a:lnTo>
                    <a:pt x="348" y="252"/>
                  </a:lnTo>
                  <a:lnTo>
                    <a:pt x="348" y="252"/>
                  </a:lnTo>
                  <a:lnTo>
                    <a:pt x="352" y="252"/>
                  </a:lnTo>
                  <a:lnTo>
                    <a:pt x="358" y="250"/>
                  </a:lnTo>
                  <a:lnTo>
                    <a:pt x="362" y="248"/>
                  </a:lnTo>
                  <a:lnTo>
                    <a:pt x="366" y="248"/>
                  </a:lnTo>
                  <a:lnTo>
                    <a:pt x="366" y="248"/>
                  </a:lnTo>
                  <a:lnTo>
                    <a:pt x="368" y="250"/>
                  </a:lnTo>
                  <a:lnTo>
                    <a:pt x="368" y="250"/>
                  </a:lnTo>
                  <a:lnTo>
                    <a:pt x="370" y="246"/>
                  </a:lnTo>
                  <a:lnTo>
                    <a:pt x="370" y="246"/>
                  </a:lnTo>
                  <a:lnTo>
                    <a:pt x="368" y="244"/>
                  </a:lnTo>
                  <a:lnTo>
                    <a:pt x="364" y="244"/>
                  </a:lnTo>
                  <a:lnTo>
                    <a:pt x="364" y="244"/>
                  </a:lnTo>
                  <a:lnTo>
                    <a:pt x="360" y="244"/>
                  </a:lnTo>
                  <a:lnTo>
                    <a:pt x="356" y="246"/>
                  </a:lnTo>
                  <a:lnTo>
                    <a:pt x="356" y="246"/>
                  </a:lnTo>
                  <a:lnTo>
                    <a:pt x="352" y="242"/>
                  </a:lnTo>
                  <a:lnTo>
                    <a:pt x="352" y="242"/>
                  </a:lnTo>
                  <a:lnTo>
                    <a:pt x="348" y="242"/>
                  </a:lnTo>
                  <a:lnTo>
                    <a:pt x="344" y="244"/>
                  </a:lnTo>
                  <a:lnTo>
                    <a:pt x="344" y="244"/>
                  </a:lnTo>
                  <a:lnTo>
                    <a:pt x="338" y="242"/>
                  </a:lnTo>
                  <a:lnTo>
                    <a:pt x="332" y="242"/>
                  </a:lnTo>
                  <a:lnTo>
                    <a:pt x="332" y="242"/>
                  </a:lnTo>
                  <a:close/>
                  <a:moveTo>
                    <a:pt x="420" y="244"/>
                  </a:moveTo>
                  <a:lnTo>
                    <a:pt x="416" y="246"/>
                  </a:lnTo>
                  <a:lnTo>
                    <a:pt x="416" y="246"/>
                  </a:lnTo>
                  <a:lnTo>
                    <a:pt x="410" y="246"/>
                  </a:lnTo>
                  <a:lnTo>
                    <a:pt x="410" y="246"/>
                  </a:lnTo>
                  <a:lnTo>
                    <a:pt x="408" y="250"/>
                  </a:lnTo>
                  <a:lnTo>
                    <a:pt x="408" y="250"/>
                  </a:lnTo>
                  <a:lnTo>
                    <a:pt x="400" y="250"/>
                  </a:lnTo>
                  <a:lnTo>
                    <a:pt x="398" y="250"/>
                  </a:lnTo>
                  <a:lnTo>
                    <a:pt x="394" y="250"/>
                  </a:lnTo>
                  <a:lnTo>
                    <a:pt x="394" y="250"/>
                  </a:lnTo>
                  <a:lnTo>
                    <a:pt x="394" y="252"/>
                  </a:lnTo>
                  <a:lnTo>
                    <a:pt x="394" y="256"/>
                  </a:lnTo>
                  <a:lnTo>
                    <a:pt x="394" y="256"/>
                  </a:lnTo>
                  <a:lnTo>
                    <a:pt x="390" y="256"/>
                  </a:lnTo>
                  <a:lnTo>
                    <a:pt x="386" y="258"/>
                  </a:lnTo>
                  <a:lnTo>
                    <a:pt x="386" y="258"/>
                  </a:lnTo>
                  <a:lnTo>
                    <a:pt x="386" y="262"/>
                  </a:lnTo>
                  <a:lnTo>
                    <a:pt x="386" y="262"/>
                  </a:lnTo>
                  <a:lnTo>
                    <a:pt x="374" y="268"/>
                  </a:lnTo>
                  <a:lnTo>
                    <a:pt x="374" y="268"/>
                  </a:lnTo>
                  <a:lnTo>
                    <a:pt x="376" y="274"/>
                  </a:lnTo>
                  <a:lnTo>
                    <a:pt x="376" y="274"/>
                  </a:lnTo>
                  <a:lnTo>
                    <a:pt x="370" y="276"/>
                  </a:lnTo>
                  <a:lnTo>
                    <a:pt x="364" y="278"/>
                  </a:lnTo>
                  <a:lnTo>
                    <a:pt x="364" y="278"/>
                  </a:lnTo>
                  <a:lnTo>
                    <a:pt x="362" y="280"/>
                  </a:lnTo>
                  <a:lnTo>
                    <a:pt x="362" y="282"/>
                  </a:lnTo>
                  <a:lnTo>
                    <a:pt x="362" y="282"/>
                  </a:lnTo>
                  <a:lnTo>
                    <a:pt x="364" y="284"/>
                  </a:lnTo>
                  <a:lnTo>
                    <a:pt x="364" y="284"/>
                  </a:lnTo>
                  <a:lnTo>
                    <a:pt x="370" y="284"/>
                  </a:lnTo>
                  <a:lnTo>
                    <a:pt x="374" y="282"/>
                  </a:lnTo>
                  <a:lnTo>
                    <a:pt x="374" y="282"/>
                  </a:lnTo>
                  <a:lnTo>
                    <a:pt x="374" y="280"/>
                  </a:lnTo>
                  <a:lnTo>
                    <a:pt x="374" y="280"/>
                  </a:lnTo>
                  <a:lnTo>
                    <a:pt x="380" y="274"/>
                  </a:lnTo>
                  <a:lnTo>
                    <a:pt x="380" y="274"/>
                  </a:lnTo>
                  <a:lnTo>
                    <a:pt x="386" y="274"/>
                  </a:lnTo>
                  <a:lnTo>
                    <a:pt x="392" y="272"/>
                  </a:lnTo>
                  <a:lnTo>
                    <a:pt x="392" y="272"/>
                  </a:lnTo>
                  <a:lnTo>
                    <a:pt x="396" y="268"/>
                  </a:lnTo>
                  <a:lnTo>
                    <a:pt x="398" y="264"/>
                  </a:lnTo>
                  <a:lnTo>
                    <a:pt x="398" y="264"/>
                  </a:lnTo>
                  <a:lnTo>
                    <a:pt x="402" y="264"/>
                  </a:lnTo>
                  <a:lnTo>
                    <a:pt x="402" y="264"/>
                  </a:lnTo>
                  <a:lnTo>
                    <a:pt x="402" y="262"/>
                  </a:lnTo>
                  <a:lnTo>
                    <a:pt x="402" y="260"/>
                  </a:lnTo>
                  <a:lnTo>
                    <a:pt x="402" y="260"/>
                  </a:lnTo>
                  <a:lnTo>
                    <a:pt x="406" y="260"/>
                  </a:lnTo>
                  <a:lnTo>
                    <a:pt x="408" y="258"/>
                  </a:lnTo>
                  <a:lnTo>
                    <a:pt x="408" y="258"/>
                  </a:lnTo>
                  <a:lnTo>
                    <a:pt x="410" y="254"/>
                  </a:lnTo>
                  <a:lnTo>
                    <a:pt x="410" y="254"/>
                  </a:lnTo>
                  <a:lnTo>
                    <a:pt x="414" y="254"/>
                  </a:lnTo>
                  <a:lnTo>
                    <a:pt x="418" y="252"/>
                  </a:lnTo>
                  <a:lnTo>
                    <a:pt x="418" y="252"/>
                  </a:lnTo>
                  <a:lnTo>
                    <a:pt x="420" y="250"/>
                  </a:lnTo>
                  <a:lnTo>
                    <a:pt x="420" y="250"/>
                  </a:lnTo>
                  <a:lnTo>
                    <a:pt x="424" y="246"/>
                  </a:lnTo>
                  <a:lnTo>
                    <a:pt x="424" y="244"/>
                  </a:lnTo>
                  <a:lnTo>
                    <a:pt x="420" y="244"/>
                  </a:lnTo>
                  <a:lnTo>
                    <a:pt x="420" y="244"/>
                  </a:lnTo>
                  <a:close/>
                  <a:moveTo>
                    <a:pt x="320" y="262"/>
                  </a:moveTo>
                  <a:lnTo>
                    <a:pt x="318" y="268"/>
                  </a:lnTo>
                  <a:lnTo>
                    <a:pt x="318" y="268"/>
                  </a:lnTo>
                  <a:lnTo>
                    <a:pt x="328" y="272"/>
                  </a:lnTo>
                  <a:lnTo>
                    <a:pt x="334" y="274"/>
                  </a:lnTo>
                  <a:lnTo>
                    <a:pt x="340" y="276"/>
                  </a:lnTo>
                  <a:lnTo>
                    <a:pt x="340" y="276"/>
                  </a:lnTo>
                  <a:lnTo>
                    <a:pt x="340" y="272"/>
                  </a:lnTo>
                  <a:lnTo>
                    <a:pt x="340" y="270"/>
                  </a:lnTo>
                  <a:lnTo>
                    <a:pt x="340" y="270"/>
                  </a:lnTo>
                  <a:lnTo>
                    <a:pt x="338" y="268"/>
                  </a:lnTo>
                  <a:lnTo>
                    <a:pt x="338" y="268"/>
                  </a:lnTo>
                  <a:lnTo>
                    <a:pt x="320" y="262"/>
                  </a:lnTo>
                  <a:lnTo>
                    <a:pt x="320" y="262"/>
                  </a:lnTo>
                  <a:close/>
                  <a:moveTo>
                    <a:pt x="196" y="64"/>
                  </a:moveTo>
                  <a:lnTo>
                    <a:pt x="196" y="64"/>
                  </a:lnTo>
                  <a:lnTo>
                    <a:pt x="196" y="62"/>
                  </a:lnTo>
                  <a:lnTo>
                    <a:pt x="196" y="62"/>
                  </a:lnTo>
                  <a:lnTo>
                    <a:pt x="192" y="62"/>
                  </a:lnTo>
                  <a:lnTo>
                    <a:pt x="192" y="62"/>
                  </a:lnTo>
                  <a:lnTo>
                    <a:pt x="192" y="68"/>
                  </a:lnTo>
                  <a:lnTo>
                    <a:pt x="192" y="68"/>
                  </a:lnTo>
                  <a:lnTo>
                    <a:pt x="188" y="70"/>
                  </a:lnTo>
                  <a:lnTo>
                    <a:pt x="188" y="70"/>
                  </a:lnTo>
                  <a:lnTo>
                    <a:pt x="186" y="74"/>
                  </a:lnTo>
                  <a:lnTo>
                    <a:pt x="184" y="78"/>
                  </a:lnTo>
                  <a:lnTo>
                    <a:pt x="182" y="80"/>
                  </a:lnTo>
                  <a:lnTo>
                    <a:pt x="182" y="80"/>
                  </a:lnTo>
                  <a:lnTo>
                    <a:pt x="182" y="94"/>
                  </a:lnTo>
                  <a:lnTo>
                    <a:pt x="182" y="94"/>
                  </a:lnTo>
                  <a:lnTo>
                    <a:pt x="186" y="96"/>
                  </a:lnTo>
                  <a:lnTo>
                    <a:pt x="188" y="100"/>
                  </a:lnTo>
                  <a:lnTo>
                    <a:pt x="188" y="100"/>
                  </a:lnTo>
                  <a:lnTo>
                    <a:pt x="186" y="102"/>
                  </a:lnTo>
                  <a:lnTo>
                    <a:pt x="186" y="106"/>
                  </a:lnTo>
                  <a:lnTo>
                    <a:pt x="186" y="106"/>
                  </a:lnTo>
                  <a:lnTo>
                    <a:pt x="190" y="108"/>
                  </a:lnTo>
                  <a:lnTo>
                    <a:pt x="190" y="108"/>
                  </a:lnTo>
                  <a:lnTo>
                    <a:pt x="188" y="112"/>
                  </a:lnTo>
                  <a:lnTo>
                    <a:pt x="188" y="114"/>
                  </a:lnTo>
                  <a:lnTo>
                    <a:pt x="188" y="114"/>
                  </a:lnTo>
                  <a:lnTo>
                    <a:pt x="192" y="114"/>
                  </a:lnTo>
                  <a:lnTo>
                    <a:pt x="192" y="114"/>
                  </a:lnTo>
                  <a:lnTo>
                    <a:pt x="190" y="120"/>
                  </a:lnTo>
                  <a:lnTo>
                    <a:pt x="190" y="120"/>
                  </a:lnTo>
                  <a:lnTo>
                    <a:pt x="192" y="120"/>
                  </a:lnTo>
                  <a:lnTo>
                    <a:pt x="192" y="120"/>
                  </a:lnTo>
                  <a:lnTo>
                    <a:pt x="196" y="118"/>
                  </a:lnTo>
                  <a:lnTo>
                    <a:pt x="196" y="118"/>
                  </a:lnTo>
                  <a:lnTo>
                    <a:pt x="198" y="118"/>
                  </a:lnTo>
                  <a:lnTo>
                    <a:pt x="198" y="118"/>
                  </a:lnTo>
                  <a:lnTo>
                    <a:pt x="198" y="118"/>
                  </a:lnTo>
                  <a:lnTo>
                    <a:pt x="202" y="136"/>
                  </a:lnTo>
                  <a:lnTo>
                    <a:pt x="202" y="136"/>
                  </a:lnTo>
                  <a:lnTo>
                    <a:pt x="204" y="140"/>
                  </a:lnTo>
                  <a:lnTo>
                    <a:pt x="204" y="140"/>
                  </a:lnTo>
                  <a:lnTo>
                    <a:pt x="206" y="148"/>
                  </a:lnTo>
                  <a:lnTo>
                    <a:pt x="206" y="148"/>
                  </a:lnTo>
                  <a:lnTo>
                    <a:pt x="210" y="148"/>
                  </a:lnTo>
                  <a:lnTo>
                    <a:pt x="216" y="150"/>
                  </a:lnTo>
                  <a:lnTo>
                    <a:pt x="216" y="150"/>
                  </a:lnTo>
                  <a:lnTo>
                    <a:pt x="218" y="148"/>
                  </a:lnTo>
                  <a:lnTo>
                    <a:pt x="218" y="146"/>
                  </a:lnTo>
                  <a:lnTo>
                    <a:pt x="222" y="146"/>
                  </a:lnTo>
                  <a:lnTo>
                    <a:pt x="222" y="148"/>
                  </a:lnTo>
                  <a:lnTo>
                    <a:pt x="222" y="148"/>
                  </a:lnTo>
                  <a:lnTo>
                    <a:pt x="226" y="148"/>
                  </a:lnTo>
                  <a:lnTo>
                    <a:pt x="226" y="148"/>
                  </a:lnTo>
                  <a:lnTo>
                    <a:pt x="226" y="154"/>
                  </a:lnTo>
                  <a:lnTo>
                    <a:pt x="226" y="154"/>
                  </a:lnTo>
                  <a:lnTo>
                    <a:pt x="228" y="154"/>
                  </a:lnTo>
                  <a:lnTo>
                    <a:pt x="230" y="154"/>
                  </a:lnTo>
                  <a:lnTo>
                    <a:pt x="230" y="154"/>
                  </a:lnTo>
                  <a:lnTo>
                    <a:pt x="240" y="154"/>
                  </a:lnTo>
                  <a:lnTo>
                    <a:pt x="242" y="150"/>
                  </a:lnTo>
                  <a:lnTo>
                    <a:pt x="242" y="150"/>
                  </a:lnTo>
                  <a:lnTo>
                    <a:pt x="244" y="150"/>
                  </a:lnTo>
                  <a:lnTo>
                    <a:pt x="244" y="150"/>
                  </a:lnTo>
                  <a:lnTo>
                    <a:pt x="248" y="154"/>
                  </a:lnTo>
                  <a:lnTo>
                    <a:pt x="250" y="154"/>
                  </a:lnTo>
                  <a:lnTo>
                    <a:pt x="252" y="154"/>
                  </a:lnTo>
                  <a:lnTo>
                    <a:pt x="252" y="154"/>
                  </a:lnTo>
                  <a:lnTo>
                    <a:pt x="254" y="152"/>
                  </a:lnTo>
                  <a:lnTo>
                    <a:pt x="256" y="152"/>
                  </a:lnTo>
                  <a:lnTo>
                    <a:pt x="258" y="154"/>
                  </a:lnTo>
                  <a:lnTo>
                    <a:pt x="258" y="154"/>
                  </a:lnTo>
                  <a:lnTo>
                    <a:pt x="262" y="156"/>
                  </a:lnTo>
                  <a:lnTo>
                    <a:pt x="264" y="156"/>
                  </a:lnTo>
                  <a:lnTo>
                    <a:pt x="264" y="158"/>
                  </a:lnTo>
                  <a:lnTo>
                    <a:pt x="264" y="158"/>
                  </a:lnTo>
                  <a:lnTo>
                    <a:pt x="266" y="158"/>
                  </a:lnTo>
                  <a:lnTo>
                    <a:pt x="266" y="158"/>
                  </a:lnTo>
                  <a:lnTo>
                    <a:pt x="270" y="156"/>
                  </a:lnTo>
                  <a:lnTo>
                    <a:pt x="270" y="156"/>
                  </a:lnTo>
                  <a:lnTo>
                    <a:pt x="274" y="154"/>
                  </a:lnTo>
                  <a:lnTo>
                    <a:pt x="280" y="152"/>
                  </a:lnTo>
                  <a:lnTo>
                    <a:pt x="280" y="152"/>
                  </a:lnTo>
                  <a:lnTo>
                    <a:pt x="286" y="142"/>
                  </a:lnTo>
                  <a:lnTo>
                    <a:pt x="290" y="138"/>
                  </a:lnTo>
                  <a:lnTo>
                    <a:pt x="294" y="136"/>
                  </a:lnTo>
                  <a:lnTo>
                    <a:pt x="294" y="136"/>
                  </a:lnTo>
                  <a:lnTo>
                    <a:pt x="290" y="128"/>
                  </a:lnTo>
                  <a:lnTo>
                    <a:pt x="290" y="128"/>
                  </a:lnTo>
                  <a:lnTo>
                    <a:pt x="298" y="116"/>
                  </a:lnTo>
                  <a:lnTo>
                    <a:pt x="298" y="116"/>
                  </a:lnTo>
                  <a:lnTo>
                    <a:pt x="298" y="112"/>
                  </a:lnTo>
                  <a:lnTo>
                    <a:pt x="298" y="112"/>
                  </a:lnTo>
                  <a:lnTo>
                    <a:pt x="296" y="112"/>
                  </a:lnTo>
                  <a:lnTo>
                    <a:pt x="296" y="110"/>
                  </a:lnTo>
                  <a:lnTo>
                    <a:pt x="296" y="110"/>
                  </a:lnTo>
                  <a:lnTo>
                    <a:pt x="296" y="108"/>
                  </a:lnTo>
                  <a:lnTo>
                    <a:pt x="298" y="108"/>
                  </a:lnTo>
                  <a:lnTo>
                    <a:pt x="298" y="108"/>
                  </a:lnTo>
                  <a:lnTo>
                    <a:pt x="300" y="104"/>
                  </a:lnTo>
                  <a:lnTo>
                    <a:pt x="300" y="100"/>
                  </a:lnTo>
                  <a:lnTo>
                    <a:pt x="300" y="88"/>
                  </a:lnTo>
                  <a:lnTo>
                    <a:pt x="300" y="88"/>
                  </a:lnTo>
                  <a:lnTo>
                    <a:pt x="306" y="84"/>
                  </a:lnTo>
                  <a:lnTo>
                    <a:pt x="316" y="82"/>
                  </a:lnTo>
                  <a:lnTo>
                    <a:pt x="316" y="82"/>
                  </a:lnTo>
                  <a:lnTo>
                    <a:pt x="314" y="78"/>
                  </a:lnTo>
                  <a:lnTo>
                    <a:pt x="314" y="78"/>
                  </a:lnTo>
                  <a:lnTo>
                    <a:pt x="306" y="74"/>
                  </a:lnTo>
                  <a:lnTo>
                    <a:pt x="304" y="72"/>
                  </a:lnTo>
                  <a:lnTo>
                    <a:pt x="302" y="70"/>
                  </a:lnTo>
                  <a:lnTo>
                    <a:pt x="302" y="70"/>
                  </a:lnTo>
                  <a:lnTo>
                    <a:pt x="302" y="66"/>
                  </a:lnTo>
                  <a:lnTo>
                    <a:pt x="304" y="62"/>
                  </a:lnTo>
                  <a:lnTo>
                    <a:pt x="304" y="62"/>
                  </a:lnTo>
                  <a:lnTo>
                    <a:pt x="304" y="58"/>
                  </a:lnTo>
                  <a:lnTo>
                    <a:pt x="302" y="54"/>
                  </a:lnTo>
                  <a:lnTo>
                    <a:pt x="296" y="46"/>
                  </a:lnTo>
                  <a:lnTo>
                    <a:pt x="296" y="46"/>
                  </a:lnTo>
                  <a:lnTo>
                    <a:pt x="296" y="42"/>
                  </a:lnTo>
                  <a:lnTo>
                    <a:pt x="296" y="42"/>
                  </a:lnTo>
                  <a:lnTo>
                    <a:pt x="298" y="40"/>
                  </a:lnTo>
                  <a:lnTo>
                    <a:pt x="298" y="40"/>
                  </a:lnTo>
                  <a:lnTo>
                    <a:pt x="300" y="40"/>
                  </a:lnTo>
                  <a:lnTo>
                    <a:pt x="300" y="38"/>
                  </a:lnTo>
                  <a:lnTo>
                    <a:pt x="300" y="38"/>
                  </a:lnTo>
                  <a:lnTo>
                    <a:pt x="300" y="38"/>
                  </a:lnTo>
                  <a:lnTo>
                    <a:pt x="300" y="38"/>
                  </a:lnTo>
                  <a:lnTo>
                    <a:pt x="300" y="36"/>
                  </a:lnTo>
                  <a:lnTo>
                    <a:pt x="300" y="36"/>
                  </a:lnTo>
                  <a:lnTo>
                    <a:pt x="296" y="34"/>
                  </a:lnTo>
                  <a:lnTo>
                    <a:pt x="296" y="34"/>
                  </a:lnTo>
                  <a:lnTo>
                    <a:pt x="296" y="32"/>
                  </a:lnTo>
                  <a:lnTo>
                    <a:pt x="286" y="34"/>
                  </a:lnTo>
                  <a:lnTo>
                    <a:pt x="278" y="32"/>
                  </a:lnTo>
                  <a:lnTo>
                    <a:pt x="276" y="36"/>
                  </a:lnTo>
                  <a:lnTo>
                    <a:pt x="274" y="46"/>
                  </a:lnTo>
                  <a:lnTo>
                    <a:pt x="270" y="50"/>
                  </a:lnTo>
                  <a:lnTo>
                    <a:pt x="268" y="54"/>
                  </a:lnTo>
                  <a:lnTo>
                    <a:pt x="264" y="58"/>
                  </a:lnTo>
                  <a:lnTo>
                    <a:pt x="260" y="60"/>
                  </a:lnTo>
                  <a:lnTo>
                    <a:pt x="260" y="64"/>
                  </a:lnTo>
                  <a:lnTo>
                    <a:pt x="258" y="72"/>
                  </a:lnTo>
                  <a:lnTo>
                    <a:pt x="256" y="74"/>
                  </a:lnTo>
                  <a:lnTo>
                    <a:pt x="250" y="78"/>
                  </a:lnTo>
                  <a:lnTo>
                    <a:pt x="242" y="78"/>
                  </a:lnTo>
                  <a:lnTo>
                    <a:pt x="238" y="76"/>
                  </a:lnTo>
                  <a:lnTo>
                    <a:pt x="230" y="78"/>
                  </a:lnTo>
                  <a:lnTo>
                    <a:pt x="228" y="80"/>
                  </a:lnTo>
                  <a:lnTo>
                    <a:pt x="220" y="82"/>
                  </a:lnTo>
                  <a:lnTo>
                    <a:pt x="214" y="84"/>
                  </a:lnTo>
                  <a:lnTo>
                    <a:pt x="208" y="82"/>
                  </a:lnTo>
                  <a:lnTo>
                    <a:pt x="204" y="80"/>
                  </a:lnTo>
                  <a:lnTo>
                    <a:pt x="198" y="78"/>
                  </a:lnTo>
                  <a:lnTo>
                    <a:pt x="196" y="72"/>
                  </a:lnTo>
                  <a:lnTo>
                    <a:pt x="196" y="64"/>
                  </a:lnTo>
                  <a:close/>
                  <a:moveTo>
                    <a:pt x="486" y="116"/>
                  </a:moveTo>
                  <a:lnTo>
                    <a:pt x="486" y="116"/>
                  </a:lnTo>
                  <a:lnTo>
                    <a:pt x="478" y="116"/>
                  </a:lnTo>
                  <a:lnTo>
                    <a:pt x="478" y="116"/>
                  </a:lnTo>
                  <a:lnTo>
                    <a:pt x="478" y="124"/>
                  </a:lnTo>
                  <a:lnTo>
                    <a:pt x="478" y="124"/>
                  </a:lnTo>
                  <a:lnTo>
                    <a:pt x="476" y="124"/>
                  </a:lnTo>
                  <a:lnTo>
                    <a:pt x="476" y="126"/>
                  </a:lnTo>
                  <a:lnTo>
                    <a:pt x="478" y="128"/>
                  </a:lnTo>
                  <a:lnTo>
                    <a:pt x="478" y="128"/>
                  </a:lnTo>
                  <a:lnTo>
                    <a:pt x="482" y="128"/>
                  </a:lnTo>
                  <a:lnTo>
                    <a:pt x="486" y="128"/>
                  </a:lnTo>
                  <a:lnTo>
                    <a:pt x="486" y="128"/>
                  </a:lnTo>
                  <a:lnTo>
                    <a:pt x="490" y="130"/>
                  </a:lnTo>
                  <a:lnTo>
                    <a:pt x="490" y="130"/>
                  </a:lnTo>
                  <a:lnTo>
                    <a:pt x="490" y="132"/>
                  </a:lnTo>
                  <a:lnTo>
                    <a:pt x="490" y="136"/>
                  </a:lnTo>
                  <a:lnTo>
                    <a:pt x="490" y="136"/>
                  </a:lnTo>
                  <a:lnTo>
                    <a:pt x="490" y="136"/>
                  </a:lnTo>
                  <a:lnTo>
                    <a:pt x="488" y="136"/>
                  </a:lnTo>
                  <a:lnTo>
                    <a:pt x="488" y="136"/>
                  </a:lnTo>
                  <a:lnTo>
                    <a:pt x="488" y="136"/>
                  </a:lnTo>
                  <a:lnTo>
                    <a:pt x="492" y="136"/>
                  </a:lnTo>
                  <a:lnTo>
                    <a:pt x="496" y="136"/>
                  </a:lnTo>
                  <a:lnTo>
                    <a:pt x="504" y="136"/>
                  </a:lnTo>
                  <a:lnTo>
                    <a:pt x="504" y="136"/>
                  </a:lnTo>
                  <a:lnTo>
                    <a:pt x="514" y="138"/>
                  </a:lnTo>
                  <a:lnTo>
                    <a:pt x="514" y="140"/>
                  </a:lnTo>
                  <a:lnTo>
                    <a:pt x="514" y="140"/>
                  </a:lnTo>
                  <a:lnTo>
                    <a:pt x="504" y="142"/>
                  </a:lnTo>
                  <a:lnTo>
                    <a:pt x="502" y="144"/>
                  </a:lnTo>
                  <a:lnTo>
                    <a:pt x="502" y="144"/>
                  </a:lnTo>
                  <a:lnTo>
                    <a:pt x="494" y="144"/>
                  </a:lnTo>
                  <a:lnTo>
                    <a:pt x="486" y="144"/>
                  </a:lnTo>
                  <a:lnTo>
                    <a:pt x="488" y="148"/>
                  </a:lnTo>
                  <a:lnTo>
                    <a:pt x="488" y="148"/>
                  </a:lnTo>
                  <a:lnTo>
                    <a:pt x="494" y="146"/>
                  </a:lnTo>
                  <a:lnTo>
                    <a:pt x="494" y="146"/>
                  </a:lnTo>
                  <a:lnTo>
                    <a:pt x="496" y="152"/>
                  </a:lnTo>
                  <a:lnTo>
                    <a:pt x="500" y="154"/>
                  </a:lnTo>
                  <a:lnTo>
                    <a:pt x="500" y="154"/>
                  </a:lnTo>
                  <a:lnTo>
                    <a:pt x="500" y="156"/>
                  </a:lnTo>
                  <a:lnTo>
                    <a:pt x="500" y="160"/>
                  </a:lnTo>
                  <a:lnTo>
                    <a:pt x="500" y="160"/>
                  </a:lnTo>
                  <a:lnTo>
                    <a:pt x="502" y="162"/>
                  </a:lnTo>
                  <a:lnTo>
                    <a:pt x="502" y="162"/>
                  </a:lnTo>
                  <a:lnTo>
                    <a:pt x="504" y="162"/>
                  </a:lnTo>
                  <a:lnTo>
                    <a:pt x="504" y="162"/>
                  </a:lnTo>
                  <a:lnTo>
                    <a:pt x="508" y="154"/>
                  </a:lnTo>
                  <a:lnTo>
                    <a:pt x="508" y="154"/>
                  </a:lnTo>
                  <a:lnTo>
                    <a:pt x="510" y="154"/>
                  </a:lnTo>
                  <a:lnTo>
                    <a:pt x="510" y="154"/>
                  </a:lnTo>
                  <a:lnTo>
                    <a:pt x="510" y="156"/>
                  </a:lnTo>
                  <a:lnTo>
                    <a:pt x="516" y="160"/>
                  </a:lnTo>
                  <a:lnTo>
                    <a:pt x="516" y="160"/>
                  </a:lnTo>
                  <a:lnTo>
                    <a:pt x="516" y="160"/>
                  </a:lnTo>
                  <a:lnTo>
                    <a:pt x="522" y="162"/>
                  </a:lnTo>
                  <a:lnTo>
                    <a:pt x="522" y="162"/>
                  </a:lnTo>
                  <a:lnTo>
                    <a:pt x="522" y="162"/>
                  </a:lnTo>
                  <a:lnTo>
                    <a:pt x="522" y="166"/>
                  </a:lnTo>
                  <a:lnTo>
                    <a:pt x="524" y="170"/>
                  </a:lnTo>
                  <a:lnTo>
                    <a:pt x="526" y="172"/>
                  </a:lnTo>
                  <a:lnTo>
                    <a:pt x="526" y="172"/>
                  </a:lnTo>
                  <a:lnTo>
                    <a:pt x="530" y="172"/>
                  </a:lnTo>
                  <a:lnTo>
                    <a:pt x="534" y="172"/>
                  </a:lnTo>
                  <a:lnTo>
                    <a:pt x="536" y="174"/>
                  </a:lnTo>
                  <a:lnTo>
                    <a:pt x="536" y="174"/>
                  </a:lnTo>
                  <a:lnTo>
                    <a:pt x="538" y="172"/>
                  </a:lnTo>
                  <a:lnTo>
                    <a:pt x="542" y="172"/>
                  </a:lnTo>
                  <a:lnTo>
                    <a:pt x="542" y="174"/>
                  </a:lnTo>
                  <a:lnTo>
                    <a:pt x="542" y="174"/>
                  </a:lnTo>
                  <a:lnTo>
                    <a:pt x="548" y="178"/>
                  </a:lnTo>
                  <a:lnTo>
                    <a:pt x="552" y="184"/>
                  </a:lnTo>
                  <a:lnTo>
                    <a:pt x="552" y="184"/>
                  </a:lnTo>
                  <a:lnTo>
                    <a:pt x="560" y="184"/>
                  </a:lnTo>
                  <a:lnTo>
                    <a:pt x="564" y="186"/>
                  </a:lnTo>
                  <a:lnTo>
                    <a:pt x="564" y="186"/>
                  </a:lnTo>
                  <a:lnTo>
                    <a:pt x="566" y="186"/>
                  </a:lnTo>
                  <a:lnTo>
                    <a:pt x="570" y="188"/>
                  </a:lnTo>
                  <a:lnTo>
                    <a:pt x="574" y="194"/>
                  </a:lnTo>
                  <a:lnTo>
                    <a:pt x="574" y="206"/>
                  </a:lnTo>
                  <a:lnTo>
                    <a:pt x="574" y="206"/>
                  </a:lnTo>
                  <a:lnTo>
                    <a:pt x="572" y="206"/>
                  </a:lnTo>
                  <a:lnTo>
                    <a:pt x="572" y="208"/>
                  </a:lnTo>
                  <a:lnTo>
                    <a:pt x="572" y="208"/>
                  </a:lnTo>
                  <a:lnTo>
                    <a:pt x="576" y="210"/>
                  </a:lnTo>
                  <a:lnTo>
                    <a:pt x="576" y="210"/>
                  </a:lnTo>
                  <a:lnTo>
                    <a:pt x="576" y="214"/>
                  </a:lnTo>
                  <a:lnTo>
                    <a:pt x="576" y="216"/>
                  </a:lnTo>
                  <a:lnTo>
                    <a:pt x="576" y="216"/>
                  </a:lnTo>
                  <a:lnTo>
                    <a:pt x="580" y="220"/>
                  </a:lnTo>
                  <a:lnTo>
                    <a:pt x="580" y="220"/>
                  </a:lnTo>
                  <a:lnTo>
                    <a:pt x="580" y="226"/>
                  </a:lnTo>
                  <a:lnTo>
                    <a:pt x="580" y="232"/>
                  </a:lnTo>
                  <a:lnTo>
                    <a:pt x="580" y="232"/>
                  </a:lnTo>
                  <a:lnTo>
                    <a:pt x="576" y="228"/>
                  </a:lnTo>
                  <a:lnTo>
                    <a:pt x="576" y="228"/>
                  </a:lnTo>
                  <a:lnTo>
                    <a:pt x="574" y="230"/>
                  </a:lnTo>
                  <a:lnTo>
                    <a:pt x="570" y="230"/>
                  </a:lnTo>
                  <a:lnTo>
                    <a:pt x="570" y="230"/>
                  </a:lnTo>
                  <a:lnTo>
                    <a:pt x="562" y="240"/>
                  </a:lnTo>
                  <a:lnTo>
                    <a:pt x="562" y="240"/>
                  </a:lnTo>
                  <a:lnTo>
                    <a:pt x="578" y="238"/>
                  </a:lnTo>
                  <a:lnTo>
                    <a:pt x="578" y="238"/>
                  </a:lnTo>
                  <a:lnTo>
                    <a:pt x="578" y="234"/>
                  </a:lnTo>
                  <a:lnTo>
                    <a:pt x="578" y="234"/>
                  </a:lnTo>
                  <a:lnTo>
                    <a:pt x="580" y="234"/>
                  </a:lnTo>
                  <a:lnTo>
                    <a:pt x="580" y="236"/>
                  </a:lnTo>
                  <a:lnTo>
                    <a:pt x="580" y="236"/>
                  </a:lnTo>
                  <a:lnTo>
                    <a:pt x="584" y="236"/>
                  </a:lnTo>
                  <a:lnTo>
                    <a:pt x="586" y="236"/>
                  </a:lnTo>
                  <a:lnTo>
                    <a:pt x="592" y="236"/>
                  </a:lnTo>
                  <a:lnTo>
                    <a:pt x="592" y="236"/>
                  </a:lnTo>
                  <a:lnTo>
                    <a:pt x="596" y="240"/>
                  </a:lnTo>
                  <a:lnTo>
                    <a:pt x="600" y="244"/>
                  </a:lnTo>
                  <a:lnTo>
                    <a:pt x="600" y="244"/>
                  </a:lnTo>
                  <a:lnTo>
                    <a:pt x="600" y="248"/>
                  </a:lnTo>
                  <a:lnTo>
                    <a:pt x="602" y="248"/>
                  </a:lnTo>
                  <a:lnTo>
                    <a:pt x="602" y="248"/>
                  </a:lnTo>
                  <a:lnTo>
                    <a:pt x="604" y="252"/>
                  </a:lnTo>
                  <a:lnTo>
                    <a:pt x="604" y="252"/>
                  </a:lnTo>
                  <a:lnTo>
                    <a:pt x="606" y="252"/>
                  </a:lnTo>
                  <a:lnTo>
                    <a:pt x="606" y="218"/>
                  </a:lnTo>
                  <a:lnTo>
                    <a:pt x="604" y="212"/>
                  </a:lnTo>
                  <a:lnTo>
                    <a:pt x="606" y="206"/>
                  </a:lnTo>
                  <a:lnTo>
                    <a:pt x="606" y="146"/>
                  </a:lnTo>
                  <a:lnTo>
                    <a:pt x="606" y="146"/>
                  </a:lnTo>
                  <a:lnTo>
                    <a:pt x="604" y="146"/>
                  </a:lnTo>
                  <a:lnTo>
                    <a:pt x="604" y="146"/>
                  </a:lnTo>
                  <a:lnTo>
                    <a:pt x="602" y="142"/>
                  </a:lnTo>
                  <a:lnTo>
                    <a:pt x="600" y="140"/>
                  </a:lnTo>
                  <a:lnTo>
                    <a:pt x="600" y="140"/>
                  </a:lnTo>
                  <a:lnTo>
                    <a:pt x="598" y="140"/>
                  </a:lnTo>
                  <a:lnTo>
                    <a:pt x="594" y="142"/>
                  </a:lnTo>
                  <a:lnTo>
                    <a:pt x="594" y="142"/>
                  </a:lnTo>
                  <a:lnTo>
                    <a:pt x="586" y="140"/>
                  </a:lnTo>
                  <a:lnTo>
                    <a:pt x="580" y="138"/>
                  </a:lnTo>
                  <a:lnTo>
                    <a:pt x="580" y="138"/>
                  </a:lnTo>
                  <a:lnTo>
                    <a:pt x="572" y="132"/>
                  </a:lnTo>
                  <a:lnTo>
                    <a:pt x="566" y="128"/>
                  </a:lnTo>
                  <a:lnTo>
                    <a:pt x="562" y="128"/>
                  </a:lnTo>
                  <a:lnTo>
                    <a:pt x="562" y="130"/>
                  </a:lnTo>
                  <a:lnTo>
                    <a:pt x="562" y="130"/>
                  </a:lnTo>
                  <a:lnTo>
                    <a:pt x="558" y="130"/>
                  </a:lnTo>
                  <a:lnTo>
                    <a:pt x="558" y="130"/>
                  </a:lnTo>
                  <a:lnTo>
                    <a:pt x="552" y="138"/>
                  </a:lnTo>
                  <a:lnTo>
                    <a:pt x="552" y="138"/>
                  </a:lnTo>
                  <a:lnTo>
                    <a:pt x="546" y="140"/>
                  </a:lnTo>
                  <a:lnTo>
                    <a:pt x="546" y="140"/>
                  </a:lnTo>
                  <a:lnTo>
                    <a:pt x="542" y="146"/>
                  </a:lnTo>
                  <a:lnTo>
                    <a:pt x="540" y="152"/>
                  </a:lnTo>
                  <a:lnTo>
                    <a:pt x="540" y="152"/>
                  </a:lnTo>
                  <a:lnTo>
                    <a:pt x="532" y="156"/>
                  </a:lnTo>
                  <a:lnTo>
                    <a:pt x="532" y="156"/>
                  </a:lnTo>
                  <a:lnTo>
                    <a:pt x="530" y="154"/>
                  </a:lnTo>
                  <a:lnTo>
                    <a:pt x="530" y="154"/>
                  </a:lnTo>
                  <a:lnTo>
                    <a:pt x="530" y="154"/>
                  </a:lnTo>
                  <a:lnTo>
                    <a:pt x="528" y="150"/>
                  </a:lnTo>
                  <a:lnTo>
                    <a:pt x="524" y="150"/>
                  </a:lnTo>
                  <a:lnTo>
                    <a:pt x="524" y="150"/>
                  </a:lnTo>
                  <a:lnTo>
                    <a:pt x="524" y="144"/>
                  </a:lnTo>
                  <a:lnTo>
                    <a:pt x="522" y="142"/>
                  </a:lnTo>
                  <a:lnTo>
                    <a:pt x="522" y="142"/>
                  </a:lnTo>
                  <a:lnTo>
                    <a:pt x="522" y="144"/>
                  </a:lnTo>
                  <a:lnTo>
                    <a:pt x="520" y="146"/>
                  </a:lnTo>
                  <a:lnTo>
                    <a:pt x="520" y="146"/>
                  </a:lnTo>
                  <a:lnTo>
                    <a:pt x="518" y="136"/>
                  </a:lnTo>
                  <a:lnTo>
                    <a:pt x="518" y="132"/>
                  </a:lnTo>
                  <a:lnTo>
                    <a:pt x="518" y="126"/>
                  </a:lnTo>
                  <a:lnTo>
                    <a:pt x="518" y="126"/>
                  </a:lnTo>
                  <a:lnTo>
                    <a:pt x="518" y="124"/>
                  </a:lnTo>
                  <a:lnTo>
                    <a:pt x="520" y="120"/>
                  </a:lnTo>
                  <a:lnTo>
                    <a:pt x="520" y="120"/>
                  </a:lnTo>
                  <a:lnTo>
                    <a:pt x="518" y="116"/>
                  </a:lnTo>
                  <a:lnTo>
                    <a:pt x="514" y="112"/>
                  </a:lnTo>
                  <a:lnTo>
                    <a:pt x="512" y="112"/>
                  </a:lnTo>
                  <a:lnTo>
                    <a:pt x="512" y="112"/>
                  </a:lnTo>
                  <a:lnTo>
                    <a:pt x="510" y="114"/>
                  </a:lnTo>
                  <a:lnTo>
                    <a:pt x="510" y="114"/>
                  </a:lnTo>
                  <a:lnTo>
                    <a:pt x="508" y="112"/>
                  </a:lnTo>
                  <a:lnTo>
                    <a:pt x="508" y="112"/>
                  </a:lnTo>
                  <a:lnTo>
                    <a:pt x="506" y="112"/>
                  </a:lnTo>
                  <a:lnTo>
                    <a:pt x="506" y="112"/>
                  </a:lnTo>
                  <a:lnTo>
                    <a:pt x="506" y="112"/>
                  </a:lnTo>
                  <a:lnTo>
                    <a:pt x="504" y="114"/>
                  </a:lnTo>
                  <a:lnTo>
                    <a:pt x="504" y="114"/>
                  </a:lnTo>
                  <a:lnTo>
                    <a:pt x="500" y="112"/>
                  </a:lnTo>
                  <a:lnTo>
                    <a:pt x="494" y="110"/>
                  </a:lnTo>
                  <a:lnTo>
                    <a:pt x="494" y="110"/>
                  </a:lnTo>
                  <a:lnTo>
                    <a:pt x="490" y="110"/>
                  </a:lnTo>
                  <a:lnTo>
                    <a:pt x="488" y="112"/>
                  </a:lnTo>
                  <a:lnTo>
                    <a:pt x="486" y="116"/>
                  </a:lnTo>
                  <a:lnTo>
                    <a:pt x="486" y="11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29" name="Freeform 169"/>
            <p:cNvSpPr>
              <a:spLocks noChangeAspect="1"/>
            </p:cNvSpPr>
            <p:nvPr/>
          </p:nvSpPr>
          <p:spPr bwMode="gray">
            <a:xfrm>
              <a:off x="5846413" y="3414309"/>
              <a:ext cx="663045" cy="792875"/>
            </a:xfrm>
            <a:custGeom>
              <a:avLst/>
              <a:gdLst/>
              <a:ahLst/>
              <a:cxnLst>
                <a:cxn ang="0">
                  <a:pos x="2" y="226"/>
                </a:cxn>
                <a:cxn ang="0">
                  <a:pos x="28" y="232"/>
                </a:cxn>
                <a:cxn ang="0">
                  <a:pos x="26" y="238"/>
                </a:cxn>
                <a:cxn ang="0">
                  <a:pos x="14" y="246"/>
                </a:cxn>
                <a:cxn ang="0">
                  <a:pos x="12" y="254"/>
                </a:cxn>
                <a:cxn ang="0">
                  <a:pos x="36" y="270"/>
                </a:cxn>
                <a:cxn ang="0">
                  <a:pos x="50" y="244"/>
                </a:cxn>
                <a:cxn ang="0">
                  <a:pos x="54" y="248"/>
                </a:cxn>
                <a:cxn ang="0">
                  <a:pos x="56" y="256"/>
                </a:cxn>
                <a:cxn ang="0">
                  <a:pos x="56" y="260"/>
                </a:cxn>
                <a:cxn ang="0">
                  <a:pos x="58" y="272"/>
                </a:cxn>
                <a:cxn ang="0">
                  <a:pos x="56" y="298"/>
                </a:cxn>
                <a:cxn ang="0">
                  <a:pos x="58" y="318"/>
                </a:cxn>
                <a:cxn ang="0">
                  <a:pos x="64" y="332"/>
                </a:cxn>
                <a:cxn ang="0">
                  <a:pos x="76" y="378"/>
                </a:cxn>
                <a:cxn ang="0">
                  <a:pos x="84" y="414"/>
                </a:cxn>
                <a:cxn ang="0">
                  <a:pos x="90" y="424"/>
                </a:cxn>
                <a:cxn ang="0">
                  <a:pos x="104" y="452"/>
                </a:cxn>
                <a:cxn ang="0">
                  <a:pos x="122" y="480"/>
                </a:cxn>
                <a:cxn ang="0">
                  <a:pos x="132" y="468"/>
                </a:cxn>
                <a:cxn ang="0">
                  <a:pos x="148" y="450"/>
                </a:cxn>
                <a:cxn ang="0">
                  <a:pos x="152" y="420"/>
                </a:cxn>
                <a:cxn ang="0">
                  <a:pos x="152" y="402"/>
                </a:cxn>
                <a:cxn ang="0">
                  <a:pos x="154" y="368"/>
                </a:cxn>
                <a:cxn ang="0">
                  <a:pos x="160" y="354"/>
                </a:cxn>
                <a:cxn ang="0">
                  <a:pos x="178" y="344"/>
                </a:cxn>
                <a:cxn ang="0">
                  <a:pos x="190" y="328"/>
                </a:cxn>
                <a:cxn ang="0">
                  <a:pos x="208" y="320"/>
                </a:cxn>
                <a:cxn ang="0">
                  <a:pos x="216" y="304"/>
                </a:cxn>
                <a:cxn ang="0">
                  <a:pos x="226" y="292"/>
                </a:cxn>
                <a:cxn ang="0">
                  <a:pos x="248" y="282"/>
                </a:cxn>
                <a:cxn ang="0">
                  <a:pos x="252" y="262"/>
                </a:cxn>
                <a:cxn ang="0">
                  <a:pos x="262" y="258"/>
                </a:cxn>
                <a:cxn ang="0">
                  <a:pos x="270" y="224"/>
                </a:cxn>
                <a:cxn ang="0">
                  <a:pos x="270" y="190"/>
                </a:cxn>
                <a:cxn ang="0">
                  <a:pos x="288" y="204"/>
                </a:cxn>
                <a:cxn ang="0">
                  <a:pos x="320" y="212"/>
                </a:cxn>
                <a:cxn ang="0">
                  <a:pos x="318" y="240"/>
                </a:cxn>
                <a:cxn ang="0">
                  <a:pos x="338" y="256"/>
                </a:cxn>
                <a:cxn ang="0">
                  <a:pos x="348" y="220"/>
                </a:cxn>
                <a:cxn ang="0">
                  <a:pos x="368" y="190"/>
                </a:cxn>
                <a:cxn ang="0">
                  <a:pos x="388" y="156"/>
                </a:cxn>
                <a:cxn ang="0">
                  <a:pos x="366" y="138"/>
                </a:cxn>
                <a:cxn ang="0">
                  <a:pos x="324" y="144"/>
                </a:cxn>
                <a:cxn ang="0">
                  <a:pos x="290" y="164"/>
                </a:cxn>
                <a:cxn ang="0">
                  <a:pos x="264" y="150"/>
                </a:cxn>
                <a:cxn ang="0">
                  <a:pos x="256" y="176"/>
                </a:cxn>
                <a:cxn ang="0">
                  <a:pos x="204" y="156"/>
                </a:cxn>
                <a:cxn ang="0">
                  <a:pos x="158" y="132"/>
                </a:cxn>
                <a:cxn ang="0">
                  <a:pos x="146" y="96"/>
                </a:cxn>
                <a:cxn ang="0">
                  <a:pos x="138" y="68"/>
                </a:cxn>
                <a:cxn ang="0">
                  <a:pos x="134" y="34"/>
                </a:cxn>
                <a:cxn ang="0">
                  <a:pos x="136" y="2"/>
                </a:cxn>
                <a:cxn ang="0">
                  <a:pos x="102" y="20"/>
                </a:cxn>
                <a:cxn ang="0">
                  <a:pos x="68" y="36"/>
                </a:cxn>
                <a:cxn ang="0">
                  <a:pos x="70" y="72"/>
                </a:cxn>
                <a:cxn ang="0">
                  <a:pos x="60" y="120"/>
                </a:cxn>
                <a:cxn ang="0">
                  <a:pos x="24" y="148"/>
                </a:cxn>
                <a:cxn ang="0">
                  <a:pos x="16" y="186"/>
                </a:cxn>
                <a:cxn ang="0">
                  <a:pos x="2" y="212"/>
                </a:cxn>
              </a:cxnLst>
              <a:rect l="0" t="0" r="r" b="b"/>
              <a:pathLst>
                <a:path w="390" h="482">
                  <a:moveTo>
                    <a:pt x="0" y="218"/>
                  </a:moveTo>
                  <a:lnTo>
                    <a:pt x="2" y="218"/>
                  </a:lnTo>
                  <a:lnTo>
                    <a:pt x="2" y="218"/>
                  </a:lnTo>
                  <a:lnTo>
                    <a:pt x="2" y="218"/>
                  </a:lnTo>
                  <a:lnTo>
                    <a:pt x="0" y="220"/>
                  </a:lnTo>
                  <a:lnTo>
                    <a:pt x="0" y="220"/>
                  </a:lnTo>
                  <a:lnTo>
                    <a:pt x="2" y="226"/>
                  </a:lnTo>
                  <a:lnTo>
                    <a:pt x="2" y="230"/>
                  </a:lnTo>
                  <a:lnTo>
                    <a:pt x="2" y="230"/>
                  </a:lnTo>
                  <a:lnTo>
                    <a:pt x="12" y="234"/>
                  </a:lnTo>
                  <a:lnTo>
                    <a:pt x="18" y="236"/>
                  </a:lnTo>
                  <a:lnTo>
                    <a:pt x="26" y="234"/>
                  </a:lnTo>
                  <a:lnTo>
                    <a:pt x="26" y="234"/>
                  </a:lnTo>
                  <a:lnTo>
                    <a:pt x="28" y="232"/>
                  </a:lnTo>
                  <a:lnTo>
                    <a:pt x="30" y="228"/>
                  </a:lnTo>
                  <a:lnTo>
                    <a:pt x="30" y="228"/>
                  </a:lnTo>
                  <a:lnTo>
                    <a:pt x="34" y="228"/>
                  </a:lnTo>
                  <a:lnTo>
                    <a:pt x="34" y="228"/>
                  </a:lnTo>
                  <a:lnTo>
                    <a:pt x="30" y="236"/>
                  </a:lnTo>
                  <a:lnTo>
                    <a:pt x="30" y="236"/>
                  </a:lnTo>
                  <a:lnTo>
                    <a:pt x="26" y="238"/>
                  </a:lnTo>
                  <a:lnTo>
                    <a:pt x="26" y="238"/>
                  </a:lnTo>
                  <a:lnTo>
                    <a:pt x="24" y="240"/>
                  </a:lnTo>
                  <a:lnTo>
                    <a:pt x="22" y="244"/>
                  </a:lnTo>
                  <a:lnTo>
                    <a:pt x="22" y="244"/>
                  </a:lnTo>
                  <a:lnTo>
                    <a:pt x="18" y="244"/>
                  </a:lnTo>
                  <a:lnTo>
                    <a:pt x="18" y="244"/>
                  </a:lnTo>
                  <a:lnTo>
                    <a:pt x="14" y="246"/>
                  </a:lnTo>
                  <a:lnTo>
                    <a:pt x="14" y="246"/>
                  </a:lnTo>
                  <a:lnTo>
                    <a:pt x="12" y="246"/>
                  </a:lnTo>
                  <a:lnTo>
                    <a:pt x="10" y="246"/>
                  </a:lnTo>
                  <a:lnTo>
                    <a:pt x="10" y="246"/>
                  </a:lnTo>
                  <a:lnTo>
                    <a:pt x="8" y="248"/>
                  </a:lnTo>
                  <a:lnTo>
                    <a:pt x="8" y="248"/>
                  </a:lnTo>
                  <a:lnTo>
                    <a:pt x="12" y="254"/>
                  </a:lnTo>
                  <a:lnTo>
                    <a:pt x="12" y="254"/>
                  </a:lnTo>
                  <a:lnTo>
                    <a:pt x="20" y="264"/>
                  </a:lnTo>
                  <a:lnTo>
                    <a:pt x="28" y="274"/>
                  </a:lnTo>
                  <a:lnTo>
                    <a:pt x="28" y="274"/>
                  </a:lnTo>
                  <a:lnTo>
                    <a:pt x="34" y="274"/>
                  </a:lnTo>
                  <a:lnTo>
                    <a:pt x="34" y="274"/>
                  </a:lnTo>
                  <a:lnTo>
                    <a:pt x="36" y="270"/>
                  </a:lnTo>
                  <a:lnTo>
                    <a:pt x="36" y="270"/>
                  </a:lnTo>
                  <a:lnTo>
                    <a:pt x="44" y="266"/>
                  </a:lnTo>
                  <a:lnTo>
                    <a:pt x="48" y="264"/>
                  </a:lnTo>
                  <a:lnTo>
                    <a:pt x="50" y="258"/>
                  </a:lnTo>
                  <a:lnTo>
                    <a:pt x="50" y="258"/>
                  </a:lnTo>
                  <a:lnTo>
                    <a:pt x="50" y="250"/>
                  </a:lnTo>
                  <a:lnTo>
                    <a:pt x="50" y="244"/>
                  </a:lnTo>
                  <a:lnTo>
                    <a:pt x="52" y="244"/>
                  </a:lnTo>
                  <a:lnTo>
                    <a:pt x="52" y="244"/>
                  </a:lnTo>
                  <a:lnTo>
                    <a:pt x="54" y="244"/>
                  </a:lnTo>
                  <a:lnTo>
                    <a:pt x="54" y="244"/>
                  </a:lnTo>
                  <a:lnTo>
                    <a:pt x="54" y="244"/>
                  </a:lnTo>
                  <a:lnTo>
                    <a:pt x="54" y="246"/>
                  </a:lnTo>
                  <a:lnTo>
                    <a:pt x="54" y="248"/>
                  </a:lnTo>
                  <a:lnTo>
                    <a:pt x="54" y="248"/>
                  </a:lnTo>
                  <a:lnTo>
                    <a:pt x="56" y="250"/>
                  </a:lnTo>
                  <a:lnTo>
                    <a:pt x="56" y="250"/>
                  </a:lnTo>
                  <a:lnTo>
                    <a:pt x="54" y="254"/>
                  </a:lnTo>
                  <a:lnTo>
                    <a:pt x="54" y="254"/>
                  </a:lnTo>
                  <a:lnTo>
                    <a:pt x="56" y="256"/>
                  </a:lnTo>
                  <a:lnTo>
                    <a:pt x="56" y="256"/>
                  </a:lnTo>
                  <a:lnTo>
                    <a:pt x="56" y="256"/>
                  </a:lnTo>
                  <a:lnTo>
                    <a:pt x="56" y="258"/>
                  </a:lnTo>
                  <a:lnTo>
                    <a:pt x="54" y="258"/>
                  </a:lnTo>
                  <a:lnTo>
                    <a:pt x="54" y="258"/>
                  </a:lnTo>
                  <a:lnTo>
                    <a:pt x="54" y="260"/>
                  </a:lnTo>
                  <a:lnTo>
                    <a:pt x="56" y="260"/>
                  </a:lnTo>
                  <a:lnTo>
                    <a:pt x="56" y="260"/>
                  </a:lnTo>
                  <a:lnTo>
                    <a:pt x="56" y="264"/>
                  </a:lnTo>
                  <a:lnTo>
                    <a:pt x="56" y="264"/>
                  </a:lnTo>
                  <a:lnTo>
                    <a:pt x="58" y="266"/>
                  </a:lnTo>
                  <a:lnTo>
                    <a:pt x="60" y="268"/>
                  </a:lnTo>
                  <a:lnTo>
                    <a:pt x="60" y="270"/>
                  </a:lnTo>
                  <a:lnTo>
                    <a:pt x="58" y="272"/>
                  </a:lnTo>
                  <a:lnTo>
                    <a:pt x="58" y="272"/>
                  </a:lnTo>
                  <a:lnTo>
                    <a:pt x="52" y="290"/>
                  </a:lnTo>
                  <a:lnTo>
                    <a:pt x="52" y="290"/>
                  </a:lnTo>
                  <a:lnTo>
                    <a:pt x="56" y="292"/>
                  </a:lnTo>
                  <a:lnTo>
                    <a:pt x="58" y="296"/>
                  </a:lnTo>
                  <a:lnTo>
                    <a:pt x="58" y="296"/>
                  </a:lnTo>
                  <a:lnTo>
                    <a:pt x="58" y="298"/>
                  </a:lnTo>
                  <a:lnTo>
                    <a:pt x="56" y="298"/>
                  </a:lnTo>
                  <a:lnTo>
                    <a:pt x="56" y="298"/>
                  </a:lnTo>
                  <a:lnTo>
                    <a:pt x="58" y="300"/>
                  </a:lnTo>
                  <a:lnTo>
                    <a:pt x="58" y="304"/>
                  </a:lnTo>
                  <a:lnTo>
                    <a:pt x="56" y="308"/>
                  </a:lnTo>
                  <a:lnTo>
                    <a:pt x="60" y="308"/>
                  </a:lnTo>
                  <a:lnTo>
                    <a:pt x="60" y="308"/>
                  </a:lnTo>
                  <a:lnTo>
                    <a:pt x="58" y="318"/>
                  </a:lnTo>
                  <a:lnTo>
                    <a:pt x="60" y="322"/>
                  </a:lnTo>
                  <a:lnTo>
                    <a:pt x="62" y="324"/>
                  </a:lnTo>
                  <a:lnTo>
                    <a:pt x="62" y="324"/>
                  </a:lnTo>
                  <a:lnTo>
                    <a:pt x="60" y="328"/>
                  </a:lnTo>
                  <a:lnTo>
                    <a:pt x="60" y="328"/>
                  </a:lnTo>
                  <a:lnTo>
                    <a:pt x="64" y="332"/>
                  </a:lnTo>
                  <a:lnTo>
                    <a:pt x="64" y="332"/>
                  </a:lnTo>
                  <a:lnTo>
                    <a:pt x="64" y="340"/>
                  </a:lnTo>
                  <a:lnTo>
                    <a:pt x="64" y="346"/>
                  </a:lnTo>
                  <a:lnTo>
                    <a:pt x="64" y="346"/>
                  </a:lnTo>
                  <a:lnTo>
                    <a:pt x="66" y="354"/>
                  </a:lnTo>
                  <a:lnTo>
                    <a:pt x="70" y="362"/>
                  </a:lnTo>
                  <a:lnTo>
                    <a:pt x="76" y="378"/>
                  </a:lnTo>
                  <a:lnTo>
                    <a:pt x="76" y="378"/>
                  </a:lnTo>
                  <a:lnTo>
                    <a:pt x="78" y="390"/>
                  </a:lnTo>
                  <a:lnTo>
                    <a:pt x="80" y="402"/>
                  </a:lnTo>
                  <a:lnTo>
                    <a:pt x="80" y="402"/>
                  </a:lnTo>
                  <a:lnTo>
                    <a:pt x="82" y="406"/>
                  </a:lnTo>
                  <a:lnTo>
                    <a:pt x="82" y="406"/>
                  </a:lnTo>
                  <a:lnTo>
                    <a:pt x="84" y="410"/>
                  </a:lnTo>
                  <a:lnTo>
                    <a:pt x="84" y="414"/>
                  </a:lnTo>
                  <a:lnTo>
                    <a:pt x="84" y="414"/>
                  </a:lnTo>
                  <a:lnTo>
                    <a:pt x="86" y="416"/>
                  </a:lnTo>
                  <a:lnTo>
                    <a:pt x="88" y="418"/>
                  </a:lnTo>
                  <a:lnTo>
                    <a:pt x="88" y="418"/>
                  </a:lnTo>
                  <a:lnTo>
                    <a:pt x="90" y="422"/>
                  </a:lnTo>
                  <a:lnTo>
                    <a:pt x="90" y="424"/>
                  </a:lnTo>
                  <a:lnTo>
                    <a:pt x="90" y="424"/>
                  </a:lnTo>
                  <a:lnTo>
                    <a:pt x="96" y="432"/>
                  </a:lnTo>
                  <a:lnTo>
                    <a:pt x="96" y="432"/>
                  </a:lnTo>
                  <a:lnTo>
                    <a:pt x="98" y="440"/>
                  </a:lnTo>
                  <a:lnTo>
                    <a:pt x="98" y="440"/>
                  </a:lnTo>
                  <a:lnTo>
                    <a:pt x="102" y="446"/>
                  </a:lnTo>
                  <a:lnTo>
                    <a:pt x="104" y="452"/>
                  </a:lnTo>
                  <a:lnTo>
                    <a:pt x="104" y="452"/>
                  </a:lnTo>
                  <a:lnTo>
                    <a:pt x="104" y="454"/>
                  </a:lnTo>
                  <a:lnTo>
                    <a:pt x="102" y="456"/>
                  </a:lnTo>
                  <a:lnTo>
                    <a:pt x="102" y="456"/>
                  </a:lnTo>
                  <a:lnTo>
                    <a:pt x="116" y="482"/>
                  </a:lnTo>
                  <a:lnTo>
                    <a:pt x="116" y="482"/>
                  </a:lnTo>
                  <a:lnTo>
                    <a:pt x="120" y="482"/>
                  </a:lnTo>
                  <a:lnTo>
                    <a:pt x="122" y="480"/>
                  </a:lnTo>
                  <a:lnTo>
                    <a:pt x="122" y="480"/>
                  </a:lnTo>
                  <a:lnTo>
                    <a:pt x="124" y="478"/>
                  </a:lnTo>
                  <a:lnTo>
                    <a:pt x="126" y="476"/>
                  </a:lnTo>
                  <a:lnTo>
                    <a:pt x="128" y="472"/>
                  </a:lnTo>
                  <a:lnTo>
                    <a:pt x="130" y="470"/>
                  </a:lnTo>
                  <a:lnTo>
                    <a:pt x="130" y="470"/>
                  </a:lnTo>
                  <a:lnTo>
                    <a:pt x="132" y="468"/>
                  </a:lnTo>
                  <a:lnTo>
                    <a:pt x="134" y="468"/>
                  </a:lnTo>
                  <a:lnTo>
                    <a:pt x="134" y="468"/>
                  </a:lnTo>
                  <a:lnTo>
                    <a:pt x="134" y="464"/>
                  </a:lnTo>
                  <a:lnTo>
                    <a:pt x="134" y="464"/>
                  </a:lnTo>
                  <a:lnTo>
                    <a:pt x="142" y="452"/>
                  </a:lnTo>
                  <a:lnTo>
                    <a:pt x="142" y="452"/>
                  </a:lnTo>
                  <a:lnTo>
                    <a:pt x="148" y="450"/>
                  </a:lnTo>
                  <a:lnTo>
                    <a:pt x="148" y="450"/>
                  </a:lnTo>
                  <a:lnTo>
                    <a:pt x="146" y="438"/>
                  </a:lnTo>
                  <a:lnTo>
                    <a:pt x="146" y="432"/>
                  </a:lnTo>
                  <a:lnTo>
                    <a:pt x="146" y="426"/>
                  </a:lnTo>
                  <a:lnTo>
                    <a:pt x="146" y="426"/>
                  </a:lnTo>
                  <a:lnTo>
                    <a:pt x="150" y="424"/>
                  </a:lnTo>
                  <a:lnTo>
                    <a:pt x="152" y="420"/>
                  </a:lnTo>
                  <a:lnTo>
                    <a:pt x="152" y="420"/>
                  </a:lnTo>
                  <a:lnTo>
                    <a:pt x="152" y="416"/>
                  </a:lnTo>
                  <a:lnTo>
                    <a:pt x="152" y="412"/>
                  </a:lnTo>
                  <a:lnTo>
                    <a:pt x="154" y="410"/>
                  </a:lnTo>
                  <a:lnTo>
                    <a:pt x="154" y="410"/>
                  </a:lnTo>
                  <a:lnTo>
                    <a:pt x="154" y="406"/>
                  </a:lnTo>
                  <a:lnTo>
                    <a:pt x="152" y="402"/>
                  </a:lnTo>
                  <a:lnTo>
                    <a:pt x="152" y="402"/>
                  </a:lnTo>
                  <a:lnTo>
                    <a:pt x="152" y="390"/>
                  </a:lnTo>
                  <a:lnTo>
                    <a:pt x="152" y="378"/>
                  </a:lnTo>
                  <a:lnTo>
                    <a:pt x="152" y="378"/>
                  </a:lnTo>
                  <a:lnTo>
                    <a:pt x="154" y="374"/>
                  </a:lnTo>
                  <a:lnTo>
                    <a:pt x="154" y="368"/>
                  </a:lnTo>
                  <a:lnTo>
                    <a:pt x="154" y="368"/>
                  </a:lnTo>
                  <a:lnTo>
                    <a:pt x="154" y="368"/>
                  </a:lnTo>
                  <a:lnTo>
                    <a:pt x="152" y="364"/>
                  </a:lnTo>
                  <a:lnTo>
                    <a:pt x="152" y="358"/>
                  </a:lnTo>
                  <a:lnTo>
                    <a:pt x="152" y="358"/>
                  </a:lnTo>
                  <a:lnTo>
                    <a:pt x="156" y="356"/>
                  </a:lnTo>
                  <a:lnTo>
                    <a:pt x="156" y="356"/>
                  </a:lnTo>
                  <a:lnTo>
                    <a:pt x="160" y="354"/>
                  </a:lnTo>
                  <a:lnTo>
                    <a:pt x="164" y="354"/>
                  </a:lnTo>
                  <a:lnTo>
                    <a:pt x="164" y="354"/>
                  </a:lnTo>
                  <a:lnTo>
                    <a:pt x="166" y="350"/>
                  </a:lnTo>
                  <a:lnTo>
                    <a:pt x="170" y="348"/>
                  </a:lnTo>
                  <a:lnTo>
                    <a:pt x="170" y="348"/>
                  </a:lnTo>
                  <a:lnTo>
                    <a:pt x="174" y="346"/>
                  </a:lnTo>
                  <a:lnTo>
                    <a:pt x="178" y="344"/>
                  </a:lnTo>
                  <a:lnTo>
                    <a:pt x="178" y="344"/>
                  </a:lnTo>
                  <a:lnTo>
                    <a:pt x="180" y="340"/>
                  </a:lnTo>
                  <a:lnTo>
                    <a:pt x="182" y="336"/>
                  </a:lnTo>
                  <a:lnTo>
                    <a:pt x="182" y="332"/>
                  </a:lnTo>
                  <a:lnTo>
                    <a:pt x="184" y="330"/>
                  </a:lnTo>
                  <a:lnTo>
                    <a:pt x="184" y="330"/>
                  </a:lnTo>
                  <a:lnTo>
                    <a:pt x="190" y="328"/>
                  </a:lnTo>
                  <a:lnTo>
                    <a:pt x="194" y="328"/>
                  </a:lnTo>
                  <a:lnTo>
                    <a:pt x="194" y="326"/>
                  </a:lnTo>
                  <a:lnTo>
                    <a:pt x="194" y="326"/>
                  </a:lnTo>
                  <a:lnTo>
                    <a:pt x="200" y="322"/>
                  </a:lnTo>
                  <a:lnTo>
                    <a:pt x="200" y="322"/>
                  </a:lnTo>
                  <a:lnTo>
                    <a:pt x="204" y="322"/>
                  </a:lnTo>
                  <a:lnTo>
                    <a:pt x="208" y="320"/>
                  </a:lnTo>
                  <a:lnTo>
                    <a:pt x="208" y="320"/>
                  </a:lnTo>
                  <a:lnTo>
                    <a:pt x="208" y="318"/>
                  </a:lnTo>
                  <a:lnTo>
                    <a:pt x="210" y="314"/>
                  </a:lnTo>
                  <a:lnTo>
                    <a:pt x="210" y="314"/>
                  </a:lnTo>
                  <a:lnTo>
                    <a:pt x="214" y="310"/>
                  </a:lnTo>
                  <a:lnTo>
                    <a:pt x="214" y="310"/>
                  </a:lnTo>
                  <a:lnTo>
                    <a:pt x="216" y="304"/>
                  </a:lnTo>
                  <a:lnTo>
                    <a:pt x="218" y="304"/>
                  </a:lnTo>
                  <a:lnTo>
                    <a:pt x="218" y="302"/>
                  </a:lnTo>
                  <a:lnTo>
                    <a:pt x="218" y="302"/>
                  </a:lnTo>
                  <a:lnTo>
                    <a:pt x="222" y="300"/>
                  </a:lnTo>
                  <a:lnTo>
                    <a:pt x="224" y="298"/>
                  </a:lnTo>
                  <a:lnTo>
                    <a:pt x="226" y="292"/>
                  </a:lnTo>
                  <a:lnTo>
                    <a:pt x="226" y="292"/>
                  </a:lnTo>
                  <a:lnTo>
                    <a:pt x="234" y="292"/>
                  </a:lnTo>
                  <a:lnTo>
                    <a:pt x="234" y="292"/>
                  </a:lnTo>
                  <a:lnTo>
                    <a:pt x="240" y="288"/>
                  </a:lnTo>
                  <a:lnTo>
                    <a:pt x="240" y="288"/>
                  </a:lnTo>
                  <a:lnTo>
                    <a:pt x="244" y="286"/>
                  </a:lnTo>
                  <a:lnTo>
                    <a:pt x="244" y="286"/>
                  </a:lnTo>
                  <a:lnTo>
                    <a:pt x="248" y="282"/>
                  </a:lnTo>
                  <a:lnTo>
                    <a:pt x="248" y="278"/>
                  </a:lnTo>
                  <a:lnTo>
                    <a:pt x="248" y="270"/>
                  </a:lnTo>
                  <a:lnTo>
                    <a:pt x="248" y="270"/>
                  </a:lnTo>
                  <a:lnTo>
                    <a:pt x="252" y="264"/>
                  </a:lnTo>
                  <a:lnTo>
                    <a:pt x="252" y="264"/>
                  </a:lnTo>
                  <a:lnTo>
                    <a:pt x="252" y="262"/>
                  </a:lnTo>
                  <a:lnTo>
                    <a:pt x="252" y="262"/>
                  </a:lnTo>
                  <a:lnTo>
                    <a:pt x="256" y="260"/>
                  </a:lnTo>
                  <a:lnTo>
                    <a:pt x="258" y="260"/>
                  </a:lnTo>
                  <a:lnTo>
                    <a:pt x="258" y="260"/>
                  </a:lnTo>
                  <a:lnTo>
                    <a:pt x="262" y="256"/>
                  </a:lnTo>
                  <a:lnTo>
                    <a:pt x="262" y="256"/>
                  </a:lnTo>
                  <a:lnTo>
                    <a:pt x="264" y="256"/>
                  </a:lnTo>
                  <a:lnTo>
                    <a:pt x="262" y="258"/>
                  </a:lnTo>
                  <a:lnTo>
                    <a:pt x="262" y="258"/>
                  </a:lnTo>
                  <a:lnTo>
                    <a:pt x="270" y="258"/>
                  </a:lnTo>
                  <a:lnTo>
                    <a:pt x="270" y="254"/>
                  </a:lnTo>
                  <a:lnTo>
                    <a:pt x="272" y="248"/>
                  </a:lnTo>
                  <a:lnTo>
                    <a:pt x="272" y="238"/>
                  </a:lnTo>
                  <a:lnTo>
                    <a:pt x="268" y="234"/>
                  </a:lnTo>
                  <a:lnTo>
                    <a:pt x="270" y="224"/>
                  </a:lnTo>
                  <a:lnTo>
                    <a:pt x="268" y="218"/>
                  </a:lnTo>
                  <a:lnTo>
                    <a:pt x="260" y="214"/>
                  </a:lnTo>
                  <a:lnTo>
                    <a:pt x="258" y="212"/>
                  </a:lnTo>
                  <a:lnTo>
                    <a:pt x="256" y="202"/>
                  </a:lnTo>
                  <a:lnTo>
                    <a:pt x="262" y="198"/>
                  </a:lnTo>
                  <a:lnTo>
                    <a:pt x="268" y="196"/>
                  </a:lnTo>
                  <a:lnTo>
                    <a:pt x="270" y="190"/>
                  </a:lnTo>
                  <a:lnTo>
                    <a:pt x="264" y="182"/>
                  </a:lnTo>
                  <a:lnTo>
                    <a:pt x="268" y="176"/>
                  </a:lnTo>
                  <a:lnTo>
                    <a:pt x="276" y="182"/>
                  </a:lnTo>
                  <a:lnTo>
                    <a:pt x="282" y="182"/>
                  </a:lnTo>
                  <a:lnTo>
                    <a:pt x="288" y="184"/>
                  </a:lnTo>
                  <a:lnTo>
                    <a:pt x="286" y="192"/>
                  </a:lnTo>
                  <a:lnTo>
                    <a:pt x="288" y="204"/>
                  </a:lnTo>
                  <a:lnTo>
                    <a:pt x="292" y="204"/>
                  </a:lnTo>
                  <a:lnTo>
                    <a:pt x="300" y="204"/>
                  </a:lnTo>
                  <a:lnTo>
                    <a:pt x="308" y="202"/>
                  </a:lnTo>
                  <a:lnTo>
                    <a:pt x="316" y="200"/>
                  </a:lnTo>
                  <a:lnTo>
                    <a:pt x="326" y="200"/>
                  </a:lnTo>
                  <a:lnTo>
                    <a:pt x="318" y="206"/>
                  </a:lnTo>
                  <a:lnTo>
                    <a:pt x="320" y="212"/>
                  </a:lnTo>
                  <a:lnTo>
                    <a:pt x="320" y="212"/>
                  </a:lnTo>
                  <a:lnTo>
                    <a:pt x="318" y="216"/>
                  </a:lnTo>
                  <a:lnTo>
                    <a:pt x="316" y="218"/>
                  </a:lnTo>
                  <a:lnTo>
                    <a:pt x="312" y="226"/>
                  </a:lnTo>
                  <a:lnTo>
                    <a:pt x="310" y="236"/>
                  </a:lnTo>
                  <a:lnTo>
                    <a:pt x="312" y="240"/>
                  </a:lnTo>
                  <a:lnTo>
                    <a:pt x="318" y="240"/>
                  </a:lnTo>
                  <a:lnTo>
                    <a:pt x="320" y="234"/>
                  </a:lnTo>
                  <a:lnTo>
                    <a:pt x="326" y="244"/>
                  </a:lnTo>
                  <a:lnTo>
                    <a:pt x="326" y="250"/>
                  </a:lnTo>
                  <a:lnTo>
                    <a:pt x="326" y="256"/>
                  </a:lnTo>
                  <a:lnTo>
                    <a:pt x="330" y="256"/>
                  </a:lnTo>
                  <a:lnTo>
                    <a:pt x="334" y="258"/>
                  </a:lnTo>
                  <a:lnTo>
                    <a:pt x="338" y="256"/>
                  </a:lnTo>
                  <a:lnTo>
                    <a:pt x="340" y="252"/>
                  </a:lnTo>
                  <a:lnTo>
                    <a:pt x="340" y="248"/>
                  </a:lnTo>
                  <a:lnTo>
                    <a:pt x="340" y="242"/>
                  </a:lnTo>
                  <a:lnTo>
                    <a:pt x="338" y="236"/>
                  </a:lnTo>
                  <a:lnTo>
                    <a:pt x="338" y="224"/>
                  </a:lnTo>
                  <a:lnTo>
                    <a:pt x="346" y="228"/>
                  </a:lnTo>
                  <a:lnTo>
                    <a:pt x="348" y="220"/>
                  </a:lnTo>
                  <a:lnTo>
                    <a:pt x="354" y="212"/>
                  </a:lnTo>
                  <a:lnTo>
                    <a:pt x="354" y="208"/>
                  </a:lnTo>
                  <a:lnTo>
                    <a:pt x="350" y="206"/>
                  </a:lnTo>
                  <a:lnTo>
                    <a:pt x="352" y="204"/>
                  </a:lnTo>
                  <a:lnTo>
                    <a:pt x="358" y="200"/>
                  </a:lnTo>
                  <a:lnTo>
                    <a:pt x="362" y="196"/>
                  </a:lnTo>
                  <a:lnTo>
                    <a:pt x="368" y="190"/>
                  </a:lnTo>
                  <a:lnTo>
                    <a:pt x="368" y="186"/>
                  </a:lnTo>
                  <a:lnTo>
                    <a:pt x="372" y="176"/>
                  </a:lnTo>
                  <a:lnTo>
                    <a:pt x="380" y="176"/>
                  </a:lnTo>
                  <a:lnTo>
                    <a:pt x="384" y="178"/>
                  </a:lnTo>
                  <a:lnTo>
                    <a:pt x="390" y="170"/>
                  </a:lnTo>
                  <a:lnTo>
                    <a:pt x="390" y="160"/>
                  </a:lnTo>
                  <a:lnTo>
                    <a:pt x="388" y="156"/>
                  </a:lnTo>
                  <a:lnTo>
                    <a:pt x="386" y="152"/>
                  </a:lnTo>
                  <a:lnTo>
                    <a:pt x="382" y="150"/>
                  </a:lnTo>
                  <a:lnTo>
                    <a:pt x="376" y="148"/>
                  </a:lnTo>
                  <a:lnTo>
                    <a:pt x="374" y="146"/>
                  </a:lnTo>
                  <a:lnTo>
                    <a:pt x="368" y="148"/>
                  </a:lnTo>
                  <a:lnTo>
                    <a:pt x="366" y="144"/>
                  </a:lnTo>
                  <a:lnTo>
                    <a:pt x="366" y="138"/>
                  </a:lnTo>
                  <a:lnTo>
                    <a:pt x="358" y="134"/>
                  </a:lnTo>
                  <a:lnTo>
                    <a:pt x="352" y="134"/>
                  </a:lnTo>
                  <a:lnTo>
                    <a:pt x="348" y="138"/>
                  </a:lnTo>
                  <a:lnTo>
                    <a:pt x="344" y="136"/>
                  </a:lnTo>
                  <a:lnTo>
                    <a:pt x="336" y="138"/>
                  </a:lnTo>
                  <a:lnTo>
                    <a:pt x="332" y="142"/>
                  </a:lnTo>
                  <a:lnTo>
                    <a:pt x="324" y="144"/>
                  </a:lnTo>
                  <a:lnTo>
                    <a:pt x="318" y="146"/>
                  </a:lnTo>
                  <a:lnTo>
                    <a:pt x="320" y="156"/>
                  </a:lnTo>
                  <a:lnTo>
                    <a:pt x="320" y="162"/>
                  </a:lnTo>
                  <a:lnTo>
                    <a:pt x="316" y="164"/>
                  </a:lnTo>
                  <a:lnTo>
                    <a:pt x="304" y="164"/>
                  </a:lnTo>
                  <a:lnTo>
                    <a:pt x="296" y="162"/>
                  </a:lnTo>
                  <a:lnTo>
                    <a:pt x="290" y="164"/>
                  </a:lnTo>
                  <a:lnTo>
                    <a:pt x="284" y="164"/>
                  </a:lnTo>
                  <a:lnTo>
                    <a:pt x="280" y="160"/>
                  </a:lnTo>
                  <a:lnTo>
                    <a:pt x="280" y="154"/>
                  </a:lnTo>
                  <a:lnTo>
                    <a:pt x="278" y="156"/>
                  </a:lnTo>
                  <a:lnTo>
                    <a:pt x="274" y="150"/>
                  </a:lnTo>
                  <a:lnTo>
                    <a:pt x="268" y="148"/>
                  </a:lnTo>
                  <a:lnTo>
                    <a:pt x="264" y="150"/>
                  </a:lnTo>
                  <a:lnTo>
                    <a:pt x="264" y="152"/>
                  </a:lnTo>
                  <a:lnTo>
                    <a:pt x="264" y="160"/>
                  </a:lnTo>
                  <a:lnTo>
                    <a:pt x="262" y="164"/>
                  </a:lnTo>
                  <a:lnTo>
                    <a:pt x="266" y="168"/>
                  </a:lnTo>
                  <a:lnTo>
                    <a:pt x="264" y="172"/>
                  </a:lnTo>
                  <a:lnTo>
                    <a:pt x="262" y="174"/>
                  </a:lnTo>
                  <a:lnTo>
                    <a:pt x="256" y="176"/>
                  </a:lnTo>
                  <a:lnTo>
                    <a:pt x="250" y="174"/>
                  </a:lnTo>
                  <a:lnTo>
                    <a:pt x="242" y="174"/>
                  </a:lnTo>
                  <a:lnTo>
                    <a:pt x="230" y="168"/>
                  </a:lnTo>
                  <a:lnTo>
                    <a:pt x="220" y="168"/>
                  </a:lnTo>
                  <a:lnTo>
                    <a:pt x="214" y="162"/>
                  </a:lnTo>
                  <a:lnTo>
                    <a:pt x="208" y="160"/>
                  </a:lnTo>
                  <a:lnTo>
                    <a:pt x="204" y="156"/>
                  </a:lnTo>
                  <a:lnTo>
                    <a:pt x="198" y="152"/>
                  </a:lnTo>
                  <a:lnTo>
                    <a:pt x="190" y="152"/>
                  </a:lnTo>
                  <a:lnTo>
                    <a:pt x="182" y="146"/>
                  </a:lnTo>
                  <a:lnTo>
                    <a:pt x="174" y="144"/>
                  </a:lnTo>
                  <a:lnTo>
                    <a:pt x="166" y="140"/>
                  </a:lnTo>
                  <a:lnTo>
                    <a:pt x="166" y="136"/>
                  </a:lnTo>
                  <a:lnTo>
                    <a:pt x="158" y="132"/>
                  </a:lnTo>
                  <a:lnTo>
                    <a:pt x="156" y="124"/>
                  </a:lnTo>
                  <a:lnTo>
                    <a:pt x="160" y="116"/>
                  </a:lnTo>
                  <a:lnTo>
                    <a:pt x="168" y="110"/>
                  </a:lnTo>
                  <a:lnTo>
                    <a:pt x="164" y="106"/>
                  </a:lnTo>
                  <a:lnTo>
                    <a:pt x="160" y="102"/>
                  </a:lnTo>
                  <a:lnTo>
                    <a:pt x="152" y="100"/>
                  </a:lnTo>
                  <a:lnTo>
                    <a:pt x="146" y="96"/>
                  </a:lnTo>
                  <a:lnTo>
                    <a:pt x="140" y="94"/>
                  </a:lnTo>
                  <a:lnTo>
                    <a:pt x="138" y="88"/>
                  </a:lnTo>
                  <a:lnTo>
                    <a:pt x="140" y="86"/>
                  </a:lnTo>
                  <a:lnTo>
                    <a:pt x="140" y="82"/>
                  </a:lnTo>
                  <a:lnTo>
                    <a:pt x="142" y="74"/>
                  </a:lnTo>
                  <a:lnTo>
                    <a:pt x="142" y="70"/>
                  </a:lnTo>
                  <a:lnTo>
                    <a:pt x="138" y="68"/>
                  </a:lnTo>
                  <a:lnTo>
                    <a:pt x="134" y="66"/>
                  </a:lnTo>
                  <a:lnTo>
                    <a:pt x="134" y="58"/>
                  </a:lnTo>
                  <a:lnTo>
                    <a:pt x="132" y="52"/>
                  </a:lnTo>
                  <a:lnTo>
                    <a:pt x="126" y="48"/>
                  </a:lnTo>
                  <a:lnTo>
                    <a:pt x="128" y="44"/>
                  </a:lnTo>
                  <a:lnTo>
                    <a:pt x="132" y="40"/>
                  </a:lnTo>
                  <a:lnTo>
                    <a:pt x="134" y="34"/>
                  </a:lnTo>
                  <a:lnTo>
                    <a:pt x="138" y="30"/>
                  </a:lnTo>
                  <a:lnTo>
                    <a:pt x="140" y="26"/>
                  </a:lnTo>
                  <a:lnTo>
                    <a:pt x="142" y="22"/>
                  </a:lnTo>
                  <a:lnTo>
                    <a:pt x="146" y="18"/>
                  </a:lnTo>
                  <a:lnTo>
                    <a:pt x="142" y="12"/>
                  </a:lnTo>
                  <a:lnTo>
                    <a:pt x="140" y="8"/>
                  </a:lnTo>
                  <a:lnTo>
                    <a:pt x="136" y="2"/>
                  </a:lnTo>
                  <a:lnTo>
                    <a:pt x="130" y="2"/>
                  </a:lnTo>
                  <a:lnTo>
                    <a:pt x="124" y="0"/>
                  </a:lnTo>
                  <a:lnTo>
                    <a:pt x="118" y="0"/>
                  </a:lnTo>
                  <a:lnTo>
                    <a:pt x="116" y="2"/>
                  </a:lnTo>
                  <a:lnTo>
                    <a:pt x="108" y="8"/>
                  </a:lnTo>
                  <a:lnTo>
                    <a:pt x="106" y="14"/>
                  </a:lnTo>
                  <a:lnTo>
                    <a:pt x="102" y="20"/>
                  </a:lnTo>
                  <a:lnTo>
                    <a:pt x="98" y="22"/>
                  </a:lnTo>
                  <a:lnTo>
                    <a:pt x="92" y="28"/>
                  </a:lnTo>
                  <a:lnTo>
                    <a:pt x="82" y="30"/>
                  </a:lnTo>
                  <a:lnTo>
                    <a:pt x="76" y="34"/>
                  </a:lnTo>
                  <a:lnTo>
                    <a:pt x="76" y="36"/>
                  </a:lnTo>
                  <a:lnTo>
                    <a:pt x="72" y="40"/>
                  </a:lnTo>
                  <a:lnTo>
                    <a:pt x="68" y="36"/>
                  </a:lnTo>
                  <a:lnTo>
                    <a:pt x="62" y="40"/>
                  </a:lnTo>
                  <a:lnTo>
                    <a:pt x="56" y="42"/>
                  </a:lnTo>
                  <a:lnTo>
                    <a:pt x="56" y="46"/>
                  </a:lnTo>
                  <a:lnTo>
                    <a:pt x="62" y="52"/>
                  </a:lnTo>
                  <a:lnTo>
                    <a:pt x="64" y="66"/>
                  </a:lnTo>
                  <a:lnTo>
                    <a:pt x="66" y="68"/>
                  </a:lnTo>
                  <a:lnTo>
                    <a:pt x="70" y="72"/>
                  </a:lnTo>
                  <a:lnTo>
                    <a:pt x="76" y="78"/>
                  </a:lnTo>
                  <a:lnTo>
                    <a:pt x="76" y="86"/>
                  </a:lnTo>
                  <a:lnTo>
                    <a:pt x="72" y="92"/>
                  </a:lnTo>
                  <a:lnTo>
                    <a:pt x="68" y="98"/>
                  </a:lnTo>
                  <a:lnTo>
                    <a:pt x="68" y="108"/>
                  </a:lnTo>
                  <a:lnTo>
                    <a:pt x="66" y="116"/>
                  </a:lnTo>
                  <a:lnTo>
                    <a:pt x="60" y="120"/>
                  </a:lnTo>
                  <a:lnTo>
                    <a:pt x="56" y="124"/>
                  </a:lnTo>
                  <a:lnTo>
                    <a:pt x="52" y="130"/>
                  </a:lnTo>
                  <a:lnTo>
                    <a:pt x="44" y="134"/>
                  </a:lnTo>
                  <a:lnTo>
                    <a:pt x="38" y="144"/>
                  </a:lnTo>
                  <a:lnTo>
                    <a:pt x="32" y="150"/>
                  </a:lnTo>
                  <a:lnTo>
                    <a:pt x="26" y="152"/>
                  </a:lnTo>
                  <a:lnTo>
                    <a:pt x="24" y="148"/>
                  </a:lnTo>
                  <a:lnTo>
                    <a:pt x="20" y="156"/>
                  </a:lnTo>
                  <a:lnTo>
                    <a:pt x="16" y="160"/>
                  </a:lnTo>
                  <a:lnTo>
                    <a:pt x="12" y="168"/>
                  </a:lnTo>
                  <a:lnTo>
                    <a:pt x="16" y="172"/>
                  </a:lnTo>
                  <a:lnTo>
                    <a:pt x="18" y="174"/>
                  </a:lnTo>
                  <a:lnTo>
                    <a:pt x="16" y="180"/>
                  </a:lnTo>
                  <a:lnTo>
                    <a:pt x="16" y="186"/>
                  </a:lnTo>
                  <a:lnTo>
                    <a:pt x="22" y="188"/>
                  </a:lnTo>
                  <a:lnTo>
                    <a:pt x="24" y="194"/>
                  </a:lnTo>
                  <a:lnTo>
                    <a:pt x="24" y="210"/>
                  </a:lnTo>
                  <a:lnTo>
                    <a:pt x="20" y="208"/>
                  </a:lnTo>
                  <a:lnTo>
                    <a:pt x="12" y="208"/>
                  </a:lnTo>
                  <a:lnTo>
                    <a:pt x="8" y="208"/>
                  </a:lnTo>
                  <a:lnTo>
                    <a:pt x="2" y="212"/>
                  </a:lnTo>
                  <a:lnTo>
                    <a:pt x="0" y="2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0" name="Freeform 170"/>
            <p:cNvSpPr>
              <a:spLocks noChangeAspect="1"/>
            </p:cNvSpPr>
            <p:nvPr/>
          </p:nvSpPr>
          <p:spPr bwMode="gray">
            <a:xfrm>
              <a:off x="3746771" y="2374689"/>
              <a:ext cx="176812" cy="118437"/>
            </a:xfrm>
            <a:custGeom>
              <a:avLst/>
              <a:gdLst/>
              <a:ahLst/>
              <a:cxnLst>
                <a:cxn ang="0">
                  <a:pos x="76" y="8"/>
                </a:cxn>
                <a:cxn ang="0">
                  <a:pos x="72" y="8"/>
                </a:cxn>
                <a:cxn ang="0">
                  <a:pos x="68" y="10"/>
                </a:cxn>
                <a:cxn ang="0">
                  <a:pos x="58" y="8"/>
                </a:cxn>
                <a:cxn ang="0">
                  <a:pos x="54" y="10"/>
                </a:cxn>
                <a:cxn ang="0">
                  <a:pos x="54" y="6"/>
                </a:cxn>
                <a:cxn ang="0">
                  <a:pos x="48" y="10"/>
                </a:cxn>
                <a:cxn ang="0">
                  <a:pos x="44" y="16"/>
                </a:cxn>
                <a:cxn ang="0">
                  <a:pos x="40" y="8"/>
                </a:cxn>
                <a:cxn ang="0">
                  <a:pos x="38" y="24"/>
                </a:cxn>
                <a:cxn ang="0">
                  <a:pos x="32" y="28"/>
                </a:cxn>
                <a:cxn ang="0">
                  <a:pos x="28" y="26"/>
                </a:cxn>
                <a:cxn ang="0">
                  <a:pos x="28" y="14"/>
                </a:cxn>
                <a:cxn ang="0">
                  <a:pos x="26" y="10"/>
                </a:cxn>
                <a:cxn ang="0">
                  <a:pos x="16" y="8"/>
                </a:cxn>
                <a:cxn ang="0">
                  <a:pos x="20" y="16"/>
                </a:cxn>
                <a:cxn ang="0">
                  <a:pos x="12" y="8"/>
                </a:cxn>
                <a:cxn ang="0">
                  <a:pos x="10" y="10"/>
                </a:cxn>
                <a:cxn ang="0">
                  <a:pos x="10" y="10"/>
                </a:cxn>
                <a:cxn ang="0">
                  <a:pos x="10" y="12"/>
                </a:cxn>
                <a:cxn ang="0">
                  <a:pos x="4" y="26"/>
                </a:cxn>
                <a:cxn ang="0">
                  <a:pos x="0" y="28"/>
                </a:cxn>
                <a:cxn ang="0">
                  <a:pos x="6" y="28"/>
                </a:cxn>
                <a:cxn ang="0">
                  <a:pos x="18" y="24"/>
                </a:cxn>
                <a:cxn ang="0">
                  <a:pos x="16" y="26"/>
                </a:cxn>
                <a:cxn ang="0">
                  <a:pos x="20" y="30"/>
                </a:cxn>
                <a:cxn ang="0">
                  <a:pos x="14" y="32"/>
                </a:cxn>
                <a:cxn ang="0">
                  <a:pos x="4" y="38"/>
                </a:cxn>
                <a:cxn ang="0">
                  <a:pos x="10" y="40"/>
                </a:cxn>
                <a:cxn ang="0">
                  <a:pos x="20" y="46"/>
                </a:cxn>
                <a:cxn ang="0">
                  <a:pos x="22" y="52"/>
                </a:cxn>
                <a:cxn ang="0">
                  <a:pos x="14" y="58"/>
                </a:cxn>
                <a:cxn ang="0">
                  <a:pos x="30" y="60"/>
                </a:cxn>
                <a:cxn ang="0">
                  <a:pos x="34" y="62"/>
                </a:cxn>
                <a:cxn ang="0">
                  <a:pos x="38" y="70"/>
                </a:cxn>
                <a:cxn ang="0">
                  <a:pos x="54" y="70"/>
                </a:cxn>
                <a:cxn ang="0">
                  <a:pos x="56" y="70"/>
                </a:cxn>
                <a:cxn ang="0">
                  <a:pos x="60" y="64"/>
                </a:cxn>
                <a:cxn ang="0">
                  <a:pos x="64" y="60"/>
                </a:cxn>
                <a:cxn ang="0">
                  <a:pos x="70" y="58"/>
                </a:cxn>
                <a:cxn ang="0">
                  <a:pos x="80" y="54"/>
                </a:cxn>
                <a:cxn ang="0">
                  <a:pos x="90" y="48"/>
                </a:cxn>
                <a:cxn ang="0">
                  <a:pos x="94" y="40"/>
                </a:cxn>
                <a:cxn ang="0">
                  <a:pos x="98" y="36"/>
                </a:cxn>
                <a:cxn ang="0">
                  <a:pos x="102" y="38"/>
                </a:cxn>
                <a:cxn ang="0">
                  <a:pos x="104" y="32"/>
                </a:cxn>
                <a:cxn ang="0">
                  <a:pos x="102" y="26"/>
                </a:cxn>
                <a:cxn ang="0">
                  <a:pos x="98" y="24"/>
                </a:cxn>
                <a:cxn ang="0">
                  <a:pos x="94" y="20"/>
                </a:cxn>
                <a:cxn ang="0">
                  <a:pos x="90" y="12"/>
                </a:cxn>
                <a:cxn ang="0">
                  <a:pos x="94" y="6"/>
                </a:cxn>
                <a:cxn ang="0">
                  <a:pos x="88" y="8"/>
                </a:cxn>
                <a:cxn ang="0">
                  <a:pos x="80" y="0"/>
                </a:cxn>
              </a:cxnLst>
              <a:rect l="0" t="0" r="r" b="b"/>
              <a:pathLst>
                <a:path w="104" h="72">
                  <a:moveTo>
                    <a:pt x="80" y="0"/>
                  </a:moveTo>
                  <a:lnTo>
                    <a:pt x="80" y="0"/>
                  </a:lnTo>
                  <a:lnTo>
                    <a:pt x="76" y="0"/>
                  </a:lnTo>
                  <a:lnTo>
                    <a:pt x="76" y="0"/>
                  </a:lnTo>
                  <a:lnTo>
                    <a:pt x="76" y="8"/>
                  </a:lnTo>
                  <a:lnTo>
                    <a:pt x="76" y="8"/>
                  </a:lnTo>
                  <a:lnTo>
                    <a:pt x="74" y="10"/>
                  </a:lnTo>
                  <a:lnTo>
                    <a:pt x="72" y="10"/>
                  </a:lnTo>
                  <a:lnTo>
                    <a:pt x="72" y="10"/>
                  </a:lnTo>
                  <a:lnTo>
                    <a:pt x="72" y="8"/>
                  </a:lnTo>
                  <a:lnTo>
                    <a:pt x="70" y="6"/>
                  </a:lnTo>
                  <a:lnTo>
                    <a:pt x="70" y="6"/>
                  </a:lnTo>
                  <a:lnTo>
                    <a:pt x="70" y="6"/>
                  </a:lnTo>
                  <a:lnTo>
                    <a:pt x="68" y="10"/>
                  </a:lnTo>
                  <a:lnTo>
                    <a:pt x="68" y="10"/>
                  </a:lnTo>
                  <a:lnTo>
                    <a:pt x="66" y="10"/>
                  </a:lnTo>
                  <a:lnTo>
                    <a:pt x="64" y="12"/>
                  </a:lnTo>
                  <a:lnTo>
                    <a:pt x="64" y="12"/>
                  </a:lnTo>
                  <a:lnTo>
                    <a:pt x="60" y="10"/>
                  </a:lnTo>
                  <a:lnTo>
                    <a:pt x="58" y="8"/>
                  </a:lnTo>
                  <a:lnTo>
                    <a:pt x="58" y="8"/>
                  </a:lnTo>
                  <a:lnTo>
                    <a:pt x="58" y="16"/>
                  </a:lnTo>
                  <a:lnTo>
                    <a:pt x="58" y="16"/>
                  </a:lnTo>
                  <a:lnTo>
                    <a:pt x="56" y="14"/>
                  </a:lnTo>
                  <a:lnTo>
                    <a:pt x="54" y="10"/>
                  </a:lnTo>
                  <a:lnTo>
                    <a:pt x="54" y="10"/>
                  </a:lnTo>
                  <a:lnTo>
                    <a:pt x="54" y="8"/>
                  </a:lnTo>
                  <a:lnTo>
                    <a:pt x="54" y="8"/>
                  </a:lnTo>
                  <a:lnTo>
                    <a:pt x="54" y="6"/>
                  </a:lnTo>
                  <a:lnTo>
                    <a:pt x="54" y="6"/>
                  </a:lnTo>
                  <a:lnTo>
                    <a:pt x="52" y="6"/>
                  </a:lnTo>
                  <a:lnTo>
                    <a:pt x="52" y="6"/>
                  </a:lnTo>
                  <a:lnTo>
                    <a:pt x="50" y="8"/>
                  </a:lnTo>
                  <a:lnTo>
                    <a:pt x="50" y="8"/>
                  </a:lnTo>
                  <a:lnTo>
                    <a:pt x="48" y="10"/>
                  </a:lnTo>
                  <a:lnTo>
                    <a:pt x="46" y="10"/>
                  </a:lnTo>
                  <a:lnTo>
                    <a:pt x="44" y="12"/>
                  </a:lnTo>
                  <a:lnTo>
                    <a:pt x="46" y="16"/>
                  </a:lnTo>
                  <a:lnTo>
                    <a:pt x="46" y="16"/>
                  </a:lnTo>
                  <a:lnTo>
                    <a:pt x="44" y="16"/>
                  </a:lnTo>
                  <a:lnTo>
                    <a:pt x="44" y="18"/>
                  </a:lnTo>
                  <a:lnTo>
                    <a:pt x="44" y="18"/>
                  </a:lnTo>
                  <a:lnTo>
                    <a:pt x="42" y="12"/>
                  </a:lnTo>
                  <a:lnTo>
                    <a:pt x="42" y="12"/>
                  </a:lnTo>
                  <a:lnTo>
                    <a:pt x="40" y="8"/>
                  </a:lnTo>
                  <a:lnTo>
                    <a:pt x="40" y="8"/>
                  </a:lnTo>
                  <a:lnTo>
                    <a:pt x="38" y="10"/>
                  </a:lnTo>
                  <a:lnTo>
                    <a:pt x="38" y="10"/>
                  </a:lnTo>
                  <a:lnTo>
                    <a:pt x="38" y="16"/>
                  </a:lnTo>
                  <a:lnTo>
                    <a:pt x="38" y="24"/>
                  </a:lnTo>
                  <a:lnTo>
                    <a:pt x="38" y="24"/>
                  </a:lnTo>
                  <a:lnTo>
                    <a:pt x="34" y="22"/>
                  </a:lnTo>
                  <a:lnTo>
                    <a:pt x="32" y="22"/>
                  </a:lnTo>
                  <a:lnTo>
                    <a:pt x="32" y="22"/>
                  </a:lnTo>
                  <a:lnTo>
                    <a:pt x="32" y="28"/>
                  </a:lnTo>
                  <a:lnTo>
                    <a:pt x="32" y="28"/>
                  </a:lnTo>
                  <a:lnTo>
                    <a:pt x="28" y="30"/>
                  </a:lnTo>
                  <a:lnTo>
                    <a:pt x="28" y="30"/>
                  </a:lnTo>
                  <a:lnTo>
                    <a:pt x="28" y="26"/>
                  </a:lnTo>
                  <a:lnTo>
                    <a:pt x="28" y="26"/>
                  </a:lnTo>
                  <a:lnTo>
                    <a:pt x="28" y="20"/>
                  </a:lnTo>
                  <a:lnTo>
                    <a:pt x="28" y="18"/>
                  </a:lnTo>
                  <a:lnTo>
                    <a:pt x="28" y="16"/>
                  </a:lnTo>
                  <a:lnTo>
                    <a:pt x="28" y="16"/>
                  </a:lnTo>
                  <a:lnTo>
                    <a:pt x="28" y="14"/>
                  </a:lnTo>
                  <a:lnTo>
                    <a:pt x="28" y="12"/>
                  </a:lnTo>
                  <a:lnTo>
                    <a:pt x="26" y="12"/>
                  </a:lnTo>
                  <a:lnTo>
                    <a:pt x="26" y="12"/>
                  </a:lnTo>
                  <a:lnTo>
                    <a:pt x="26" y="10"/>
                  </a:lnTo>
                  <a:lnTo>
                    <a:pt x="26" y="10"/>
                  </a:lnTo>
                  <a:lnTo>
                    <a:pt x="24" y="6"/>
                  </a:lnTo>
                  <a:lnTo>
                    <a:pt x="24" y="6"/>
                  </a:lnTo>
                  <a:lnTo>
                    <a:pt x="16" y="6"/>
                  </a:lnTo>
                  <a:lnTo>
                    <a:pt x="16" y="8"/>
                  </a:lnTo>
                  <a:lnTo>
                    <a:pt x="16" y="8"/>
                  </a:lnTo>
                  <a:lnTo>
                    <a:pt x="20" y="10"/>
                  </a:lnTo>
                  <a:lnTo>
                    <a:pt x="20" y="10"/>
                  </a:lnTo>
                  <a:lnTo>
                    <a:pt x="20" y="14"/>
                  </a:lnTo>
                  <a:lnTo>
                    <a:pt x="22" y="16"/>
                  </a:lnTo>
                  <a:lnTo>
                    <a:pt x="20" y="16"/>
                  </a:lnTo>
                  <a:lnTo>
                    <a:pt x="20" y="16"/>
                  </a:lnTo>
                  <a:lnTo>
                    <a:pt x="18" y="14"/>
                  </a:lnTo>
                  <a:lnTo>
                    <a:pt x="18" y="14"/>
                  </a:lnTo>
                  <a:lnTo>
                    <a:pt x="14" y="12"/>
                  </a:lnTo>
                  <a:lnTo>
                    <a:pt x="12" y="8"/>
                  </a:lnTo>
                  <a:lnTo>
                    <a:pt x="12" y="8"/>
                  </a:lnTo>
                  <a:lnTo>
                    <a:pt x="12" y="8"/>
                  </a:lnTo>
                  <a:lnTo>
                    <a:pt x="12" y="8"/>
                  </a:lnTo>
                  <a:lnTo>
                    <a:pt x="10" y="6"/>
                  </a:lnTo>
                  <a:lnTo>
                    <a:pt x="10" y="10"/>
                  </a:lnTo>
                  <a:lnTo>
                    <a:pt x="10" y="10"/>
                  </a:lnTo>
                  <a:lnTo>
                    <a:pt x="10" y="10"/>
                  </a:lnTo>
                  <a:lnTo>
                    <a:pt x="10" y="10"/>
                  </a:lnTo>
                  <a:lnTo>
                    <a:pt x="10" y="10"/>
                  </a:lnTo>
                  <a:lnTo>
                    <a:pt x="10" y="10"/>
                  </a:lnTo>
                  <a:lnTo>
                    <a:pt x="10" y="10"/>
                  </a:lnTo>
                  <a:lnTo>
                    <a:pt x="6" y="12"/>
                  </a:lnTo>
                  <a:lnTo>
                    <a:pt x="6" y="12"/>
                  </a:lnTo>
                  <a:lnTo>
                    <a:pt x="8" y="12"/>
                  </a:lnTo>
                  <a:lnTo>
                    <a:pt x="10" y="12"/>
                  </a:lnTo>
                  <a:lnTo>
                    <a:pt x="10" y="12"/>
                  </a:lnTo>
                  <a:lnTo>
                    <a:pt x="10" y="18"/>
                  </a:lnTo>
                  <a:lnTo>
                    <a:pt x="8" y="20"/>
                  </a:lnTo>
                  <a:lnTo>
                    <a:pt x="8" y="20"/>
                  </a:lnTo>
                  <a:lnTo>
                    <a:pt x="4" y="26"/>
                  </a:lnTo>
                  <a:lnTo>
                    <a:pt x="4" y="26"/>
                  </a:lnTo>
                  <a:lnTo>
                    <a:pt x="2" y="26"/>
                  </a:lnTo>
                  <a:lnTo>
                    <a:pt x="0" y="24"/>
                  </a:lnTo>
                  <a:lnTo>
                    <a:pt x="0" y="28"/>
                  </a:lnTo>
                  <a:lnTo>
                    <a:pt x="0" y="28"/>
                  </a:lnTo>
                  <a:lnTo>
                    <a:pt x="4" y="28"/>
                  </a:lnTo>
                  <a:lnTo>
                    <a:pt x="4" y="28"/>
                  </a:lnTo>
                  <a:lnTo>
                    <a:pt x="4" y="28"/>
                  </a:lnTo>
                  <a:lnTo>
                    <a:pt x="6" y="28"/>
                  </a:lnTo>
                  <a:lnTo>
                    <a:pt x="6" y="28"/>
                  </a:lnTo>
                  <a:lnTo>
                    <a:pt x="8" y="26"/>
                  </a:lnTo>
                  <a:lnTo>
                    <a:pt x="8" y="26"/>
                  </a:lnTo>
                  <a:lnTo>
                    <a:pt x="16" y="22"/>
                  </a:lnTo>
                  <a:lnTo>
                    <a:pt x="16" y="22"/>
                  </a:lnTo>
                  <a:lnTo>
                    <a:pt x="18" y="24"/>
                  </a:lnTo>
                  <a:lnTo>
                    <a:pt x="18" y="24"/>
                  </a:lnTo>
                  <a:lnTo>
                    <a:pt x="20" y="24"/>
                  </a:lnTo>
                  <a:lnTo>
                    <a:pt x="20" y="26"/>
                  </a:lnTo>
                  <a:lnTo>
                    <a:pt x="16" y="26"/>
                  </a:lnTo>
                  <a:lnTo>
                    <a:pt x="16" y="26"/>
                  </a:lnTo>
                  <a:lnTo>
                    <a:pt x="18" y="32"/>
                  </a:lnTo>
                  <a:lnTo>
                    <a:pt x="18" y="32"/>
                  </a:lnTo>
                  <a:lnTo>
                    <a:pt x="20" y="30"/>
                  </a:lnTo>
                  <a:lnTo>
                    <a:pt x="20" y="30"/>
                  </a:lnTo>
                  <a:lnTo>
                    <a:pt x="20" y="30"/>
                  </a:lnTo>
                  <a:lnTo>
                    <a:pt x="20" y="32"/>
                  </a:lnTo>
                  <a:lnTo>
                    <a:pt x="20" y="34"/>
                  </a:lnTo>
                  <a:lnTo>
                    <a:pt x="20" y="34"/>
                  </a:lnTo>
                  <a:lnTo>
                    <a:pt x="14" y="32"/>
                  </a:lnTo>
                  <a:lnTo>
                    <a:pt x="14" y="32"/>
                  </a:lnTo>
                  <a:lnTo>
                    <a:pt x="12" y="34"/>
                  </a:lnTo>
                  <a:lnTo>
                    <a:pt x="8" y="38"/>
                  </a:lnTo>
                  <a:lnTo>
                    <a:pt x="8" y="38"/>
                  </a:lnTo>
                  <a:lnTo>
                    <a:pt x="4" y="38"/>
                  </a:lnTo>
                  <a:lnTo>
                    <a:pt x="4" y="38"/>
                  </a:lnTo>
                  <a:lnTo>
                    <a:pt x="4" y="40"/>
                  </a:lnTo>
                  <a:lnTo>
                    <a:pt x="4" y="42"/>
                  </a:lnTo>
                  <a:lnTo>
                    <a:pt x="4" y="42"/>
                  </a:lnTo>
                  <a:lnTo>
                    <a:pt x="8" y="42"/>
                  </a:lnTo>
                  <a:lnTo>
                    <a:pt x="10" y="40"/>
                  </a:lnTo>
                  <a:lnTo>
                    <a:pt x="10" y="40"/>
                  </a:lnTo>
                  <a:lnTo>
                    <a:pt x="18" y="42"/>
                  </a:lnTo>
                  <a:lnTo>
                    <a:pt x="18" y="42"/>
                  </a:lnTo>
                  <a:lnTo>
                    <a:pt x="20" y="46"/>
                  </a:lnTo>
                  <a:lnTo>
                    <a:pt x="20" y="46"/>
                  </a:lnTo>
                  <a:lnTo>
                    <a:pt x="20" y="46"/>
                  </a:lnTo>
                  <a:lnTo>
                    <a:pt x="22" y="46"/>
                  </a:lnTo>
                  <a:lnTo>
                    <a:pt x="22" y="46"/>
                  </a:lnTo>
                  <a:lnTo>
                    <a:pt x="22" y="50"/>
                  </a:lnTo>
                  <a:lnTo>
                    <a:pt x="22" y="52"/>
                  </a:lnTo>
                  <a:lnTo>
                    <a:pt x="22" y="52"/>
                  </a:lnTo>
                  <a:lnTo>
                    <a:pt x="22" y="56"/>
                  </a:lnTo>
                  <a:lnTo>
                    <a:pt x="22" y="56"/>
                  </a:lnTo>
                  <a:lnTo>
                    <a:pt x="18" y="56"/>
                  </a:lnTo>
                  <a:lnTo>
                    <a:pt x="14" y="58"/>
                  </a:lnTo>
                  <a:lnTo>
                    <a:pt x="14" y="60"/>
                  </a:lnTo>
                  <a:lnTo>
                    <a:pt x="14" y="60"/>
                  </a:lnTo>
                  <a:lnTo>
                    <a:pt x="22" y="60"/>
                  </a:lnTo>
                  <a:lnTo>
                    <a:pt x="30" y="58"/>
                  </a:lnTo>
                  <a:lnTo>
                    <a:pt x="30" y="60"/>
                  </a:lnTo>
                  <a:lnTo>
                    <a:pt x="30" y="60"/>
                  </a:lnTo>
                  <a:lnTo>
                    <a:pt x="32" y="60"/>
                  </a:lnTo>
                  <a:lnTo>
                    <a:pt x="34" y="60"/>
                  </a:lnTo>
                  <a:lnTo>
                    <a:pt x="34" y="62"/>
                  </a:lnTo>
                  <a:lnTo>
                    <a:pt x="34" y="62"/>
                  </a:lnTo>
                  <a:lnTo>
                    <a:pt x="40" y="64"/>
                  </a:lnTo>
                  <a:lnTo>
                    <a:pt x="42" y="64"/>
                  </a:lnTo>
                  <a:lnTo>
                    <a:pt x="42" y="64"/>
                  </a:lnTo>
                  <a:lnTo>
                    <a:pt x="38" y="70"/>
                  </a:lnTo>
                  <a:lnTo>
                    <a:pt x="38" y="70"/>
                  </a:lnTo>
                  <a:lnTo>
                    <a:pt x="42" y="68"/>
                  </a:lnTo>
                  <a:lnTo>
                    <a:pt x="42" y="68"/>
                  </a:lnTo>
                  <a:lnTo>
                    <a:pt x="48" y="70"/>
                  </a:lnTo>
                  <a:lnTo>
                    <a:pt x="50" y="72"/>
                  </a:lnTo>
                  <a:lnTo>
                    <a:pt x="54" y="70"/>
                  </a:lnTo>
                  <a:lnTo>
                    <a:pt x="54" y="70"/>
                  </a:lnTo>
                  <a:lnTo>
                    <a:pt x="56" y="68"/>
                  </a:lnTo>
                  <a:lnTo>
                    <a:pt x="56" y="68"/>
                  </a:lnTo>
                  <a:lnTo>
                    <a:pt x="56" y="68"/>
                  </a:lnTo>
                  <a:lnTo>
                    <a:pt x="56" y="70"/>
                  </a:lnTo>
                  <a:lnTo>
                    <a:pt x="58" y="70"/>
                  </a:lnTo>
                  <a:lnTo>
                    <a:pt x="58" y="70"/>
                  </a:lnTo>
                  <a:lnTo>
                    <a:pt x="60" y="68"/>
                  </a:lnTo>
                  <a:lnTo>
                    <a:pt x="60" y="68"/>
                  </a:lnTo>
                  <a:lnTo>
                    <a:pt x="60" y="64"/>
                  </a:lnTo>
                  <a:lnTo>
                    <a:pt x="60" y="62"/>
                  </a:lnTo>
                  <a:lnTo>
                    <a:pt x="60" y="62"/>
                  </a:lnTo>
                  <a:lnTo>
                    <a:pt x="60" y="58"/>
                  </a:lnTo>
                  <a:lnTo>
                    <a:pt x="60" y="58"/>
                  </a:lnTo>
                  <a:lnTo>
                    <a:pt x="64" y="60"/>
                  </a:lnTo>
                  <a:lnTo>
                    <a:pt x="68" y="62"/>
                  </a:lnTo>
                  <a:lnTo>
                    <a:pt x="68" y="62"/>
                  </a:lnTo>
                  <a:lnTo>
                    <a:pt x="70" y="62"/>
                  </a:lnTo>
                  <a:lnTo>
                    <a:pt x="70" y="62"/>
                  </a:lnTo>
                  <a:lnTo>
                    <a:pt x="70" y="58"/>
                  </a:lnTo>
                  <a:lnTo>
                    <a:pt x="72" y="58"/>
                  </a:lnTo>
                  <a:lnTo>
                    <a:pt x="72" y="58"/>
                  </a:lnTo>
                  <a:lnTo>
                    <a:pt x="76" y="60"/>
                  </a:lnTo>
                  <a:lnTo>
                    <a:pt x="76" y="60"/>
                  </a:lnTo>
                  <a:lnTo>
                    <a:pt x="80" y="54"/>
                  </a:lnTo>
                  <a:lnTo>
                    <a:pt x="80" y="54"/>
                  </a:lnTo>
                  <a:lnTo>
                    <a:pt x="84" y="52"/>
                  </a:lnTo>
                  <a:lnTo>
                    <a:pt x="88" y="52"/>
                  </a:lnTo>
                  <a:lnTo>
                    <a:pt x="88" y="52"/>
                  </a:lnTo>
                  <a:lnTo>
                    <a:pt x="90" y="48"/>
                  </a:lnTo>
                  <a:lnTo>
                    <a:pt x="90" y="48"/>
                  </a:lnTo>
                  <a:lnTo>
                    <a:pt x="92" y="48"/>
                  </a:lnTo>
                  <a:lnTo>
                    <a:pt x="92" y="48"/>
                  </a:lnTo>
                  <a:lnTo>
                    <a:pt x="94" y="40"/>
                  </a:lnTo>
                  <a:lnTo>
                    <a:pt x="94" y="40"/>
                  </a:lnTo>
                  <a:lnTo>
                    <a:pt x="98" y="40"/>
                  </a:lnTo>
                  <a:lnTo>
                    <a:pt x="98" y="38"/>
                  </a:lnTo>
                  <a:lnTo>
                    <a:pt x="98" y="36"/>
                  </a:lnTo>
                  <a:lnTo>
                    <a:pt x="98" y="36"/>
                  </a:lnTo>
                  <a:lnTo>
                    <a:pt x="98" y="36"/>
                  </a:lnTo>
                  <a:lnTo>
                    <a:pt x="100" y="36"/>
                  </a:lnTo>
                  <a:lnTo>
                    <a:pt x="98" y="38"/>
                  </a:lnTo>
                  <a:lnTo>
                    <a:pt x="98" y="38"/>
                  </a:lnTo>
                  <a:lnTo>
                    <a:pt x="100" y="38"/>
                  </a:lnTo>
                  <a:lnTo>
                    <a:pt x="102" y="38"/>
                  </a:lnTo>
                  <a:lnTo>
                    <a:pt x="102" y="38"/>
                  </a:lnTo>
                  <a:lnTo>
                    <a:pt x="104" y="36"/>
                  </a:lnTo>
                  <a:lnTo>
                    <a:pt x="102" y="34"/>
                  </a:lnTo>
                  <a:lnTo>
                    <a:pt x="104" y="32"/>
                  </a:lnTo>
                  <a:lnTo>
                    <a:pt x="104" y="32"/>
                  </a:lnTo>
                  <a:lnTo>
                    <a:pt x="102" y="32"/>
                  </a:lnTo>
                  <a:lnTo>
                    <a:pt x="102" y="30"/>
                  </a:lnTo>
                  <a:lnTo>
                    <a:pt x="102" y="30"/>
                  </a:lnTo>
                  <a:lnTo>
                    <a:pt x="102" y="28"/>
                  </a:lnTo>
                  <a:lnTo>
                    <a:pt x="102" y="26"/>
                  </a:lnTo>
                  <a:lnTo>
                    <a:pt x="102" y="26"/>
                  </a:lnTo>
                  <a:lnTo>
                    <a:pt x="100" y="22"/>
                  </a:lnTo>
                  <a:lnTo>
                    <a:pt x="100" y="22"/>
                  </a:lnTo>
                  <a:lnTo>
                    <a:pt x="100" y="22"/>
                  </a:lnTo>
                  <a:lnTo>
                    <a:pt x="98" y="24"/>
                  </a:lnTo>
                  <a:lnTo>
                    <a:pt x="98" y="22"/>
                  </a:lnTo>
                  <a:lnTo>
                    <a:pt x="98" y="22"/>
                  </a:lnTo>
                  <a:lnTo>
                    <a:pt x="96" y="20"/>
                  </a:lnTo>
                  <a:lnTo>
                    <a:pt x="94" y="20"/>
                  </a:lnTo>
                  <a:lnTo>
                    <a:pt x="94" y="20"/>
                  </a:lnTo>
                  <a:lnTo>
                    <a:pt x="92" y="22"/>
                  </a:lnTo>
                  <a:lnTo>
                    <a:pt x="92" y="22"/>
                  </a:lnTo>
                  <a:lnTo>
                    <a:pt x="92" y="14"/>
                  </a:lnTo>
                  <a:lnTo>
                    <a:pt x="92" y="14"/>
                  </a:lnTo>
                  <a:lnTo>
                    <a:pt x="90" y="12"/>
                  </a:lnTo>
                  <a:lnTo>
                    <a:pt x="90" y="12"/>
                  </a:lnTo>
                  <a:lnTo>
                    <a:pt x="90" y="8"/>
                  </a:lnTo>
                  <a:lnTo>
                    <a:pt x="90" y="8"/>
                  </a:lnTo>
                  <a:lnTo>
                    <a:pt x="94" y="6"/>
                  </a:lnTo>
                  <a:lnTo>
                    <a:pt x="94" y="6"/>
                  </a:lnTo>
                  <a:lnTo>
                    <a:pt x="96" y="4"/>
                  </a:lnTo>
                  <a:lnTo>
                    <a:pt x="96" y="4"/>
                  </a:lnTo>
                  <a:lnTo>
                    <a:pt x="88" y="6"/>
                  </a:lnTo>
                  <a:lnTo>
                    <a:pt x="88" y="6"/>
                  </a:lnTo>
                  <a:lnTo>
                    <a:pt x="88" y="8"/>
                  </a:lnTo>
                  <a:lnTo>
                    <a:pt x="86" y="8"/>
                  </a:lnTo>
                  <a:lnTo>
                    <a:pt x="86" y="8"/>
                  </a:lnTo>
                  <a:lnTo>
                    <a:pt x="82" y="0"/>
                  </a:lnTo>
                  <a:lnTo>
                    <a:pt x="82" y="0"/>
                  </a:lnTo>
                  <a:lnTo>
                    <a:pt x="80" y="0"/>
                  </a:lnTo>
                  <a:lnTo>
                    <a:pt x="8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1" name="Freeform 171"/>
            <p:cNvSpPr>
              <a:spLocks noChangeAspect="1"/>
            </p:cNvSpPr>
            <p:nvPr/>
          </p:nvSpPr>
          <p:spPr bwMode="gray">
            <a:xfrm>
              <a:off x="4663133" y="3022807"/>
              <a:ext cx="159811" cy="105278"/>
            </a:xfrm>
            <a:custGeom>
              <a:avLst/>
              <a:gdLst/>
              <a:ahLst/>
              <a:cxnLst>
                <a:cxn ang="0">
                  <a:pos x="40" y="64"/>
                </a:cxn>
                <a:cxn ang="0">
                  <a:pos x="34" y="64"/>
                </a:cxn>
                <a:cxn ang="0">
                  <a:pos x="30" y="62"/>
                </a:cxn>
                <a:cxn ang="0">
                  <a:pos x="20" y="56"/>
                </a:cxn>
                <a:cxn ang="0">
                  <a:pos x="14" y="50"/>
                </a:cxn>
                <a:cxn ang="0">
                  <a:pos x="10" y="44"/>
                </a:cxn>
                <a:cxn ang="0">
                  <a:pos x="6" y="38"/>
                </a:cxn>
                <a:cxn ang="0">
                  <a:pos x="2" y="34"/>
                </a:cxn>
                <a:cxn ang="0">
                  <a:pos x="2" y="30"/>
                </a:cxn>
                <a:cxn ang="0">
                  <a:pos x="0" y="26"/>
                </a:cxn>
                <a:cxn ang="0">
                  <a:pos x="0" y="24"/>
                </a:cxn>
                <a:cxn ang="0">
                  <a:pos x="2" y="20"/>
                </a:cxn>
                <a:cxn ang="0">
                  <a:pos x="4" y="20"/>
                </a:cxn>
                <a:cxn ang="0">
                  <a:pos x="6" y="16"/>
                </a:cxn>
                <a:cxn ang="0">
                  <a:pos x="8" y="12"/>
                </a:cxn>
                <a:cxn ang="0">
                  <a:pos x="8" y="6"/>
                </a:cxn>
                <a:cxn ang="0">
                  <a:pos x="10" y="6"/>
                </a:cxn>
                <a:cxn ang="0">
                  <a:pos x="20" y="10"/>
                </a:cxn>
                <a:cxn ang="0">
                  <a:pos x="24" y="10"/>
                </a:cxn>
                <a:cxn ang="0">
                  <a:pos x="32" y="12"/>
                </a:cxn>
                <a:cxn ang="0">
                  <a:pos x="38" y="12"/>
                </a:cxn>
                <a:cxn ang="0">
                  <a:pos x="38" y="8"/>
                </a:cxn>
                <a:cxn ang="0">
                  <a:pos x="44" y="6"/>
                </a:cxn>
                <a:cxn ang="0">
                  <a:pos x="52" y="4"/>
                </a:cxn>
                <a:cxn ang="0">
                  <a:pos x="54" y="6"/>
                </a:cxn>
                <a:cxn ang="0">
                  <a:pos x="56" y="6"/>
                </a:cxn>
                <a:cxn ang="0">
                  <a:pos x="60" y="6"/>
                </a:cxn>
                <a:cxn ang="0">
                  <a:pos x="62" y="6"/>
                </a:cxn>
                <a:cxn ang="0">
                  <a:pos x="66" y="2"/>
                </a:cxn>
                <a:cxn ang="0">
                  <a:pos x="78" y="2"/>
                </a:cxn>
                <a:cxn ang="0">
                  <a:pos x="84" y="0"/>
                </a:cxn>
                <a:cxn ang="0">
                  <a:pos x="88" y="2"/>
                </a:cxn>
                <a:cxn ang="0">
                  <a:pos x="92" y="4"/>
                </a:cxn>
                <a:cxn ang="0">
                  <a:pos x="94" y="4"/>
                </a:cxn>
                <a:cxn ang="0">
                  <a:pos x="92" y="16"/>
                </a:cxn>
                <a:cxn ang="0">
                  <a:pos x="84" y="24"/>
                </a:cxn>
                <a:cxn ang="0">
                  <a:pos x="82" y="28"/>
                </a:cxn>
                <a:cxn ang="0">
                  <a:pos x="80" y="42"/>
                </a:cxn>
                <a:cxn ang="0">
                  <a:pos x="78" y="48"/>
                </a:cxn>
                <a:cxn ang="0">
                  <a:pos x="72" y="54"/>
                </a:cxn>
                <a:cxn ang="0">
                  <a:pos x="68" y="56"/>
                </a:cxn>
                <a:cxn ang="0">
                  <a:pos x="66" y="56"/>
                </a:cxn>
                <a:cxn ang="0">
                  <a:pos x="58" y="56"/>
                </a:cxn>
                <a:cxn ang="0">
                  <a:pos x="48" y="60"/>
                </a:cxn>
                <a:cxn ang="0">
                  <a:pos x="44" y="64"/>
                </a:cxn>
                <a:cxn ang="0">
                  <a:pos x="40" y="64"/>
                </a:cxn>
              </a:cxnLst>
              <a:rect l="0" t="0" r="r" b="b"/>
              <a:pathLst>
                <a:path w="94" h="64">
                  <a:moveTo>
                    <a:pt x="40" y="64"/>
                  </a:moveTo>
                  <a:lnTo>
                    <a:pt x="40" y="64"/>
                  </a:lnTo>
                  <a:lnTo>
                    <a:pt x="36" y="64"/>
                  </a:lnTo>
                  <a:lnTo>
                    <a:pt x="34" y="64"/>
                  </a:lnTo>
                  <a:lnTo>
                    <a:pt x="30" y="62"/>
                  </a:lnTo>
                  <a:lnTo>
                    <a:pt x="30" y="62"/>
                  </a:lnTo>
                  <a:lnTo>
                    <a:pt x="26" y="60"/>
                  </a:lnTo>
                  <a:lnTo>
                    <a:pt x="20" y="56"/>
                  </a:lnTo>
                  <a:lnTo>
                    <a:pt x="20" y="56"/>
                  </a:lnTo>
                  <a:lnTo>
                    <a:pt x="14" y="50"/>
                  </a:lnTo>
                  <a:lnTo>
                    <a:pt x="10" y="44"/>
                  </a:lnTo>
                  <a:lnTo>
                    <a:pt x="10" y="44"/>
                  </a:lnTo>
                  <a:lnTo>
                    <a:pt x="8" y="40"/>
                  </a:lnTo>
                  <a:lnTo>
                    <a:pt x="6" y="38"/>
                  </a:lnTo>
                  <a:lnTo>
                    <a:pt x="2" y="34"/>
                  </a:lnTo>
                  <a:lnTo>
                    <a:pt x="2" y="34"/>
                  </a:lnTo>
                  <a:lnTo>
                    <a:pt x="2" y="34"/>
                  </a:lnTo>
                  <a:lnTo>
                    <a:pt x="2" y="30"/>
                  </a:lnTo>
                  <a:lnTo>
                    <a:pt x="2" y="30"/>
                  </a:lnTo>
                  <a:lnTo>
                    <a:pt x="0" y="26"/>
                  </a:lnTo>
                  <a:lnTo>
                    <a:pt x="0" y="24"/>
                  </a:lnTo>
                  <a:lnTo>
                    <a:pt x="0" y="24"/>
                  </a:lnTo>
                  <a:lnTo>
                    <a:pt x="0" y="22"/>
                  </a:lnTo>
                  <a:lnTo>
                    <a:pt x="2" y="20"/>
                  </a:lnTo>
                  <a:lnTo>
                    <a:pt x="4" y="20"/>
                  </a:lnTo>
                  <a:lnTo>
                    <a:pt x="4" y="20"/>
                  </a:lnTo>
                  <a:lnTo>
                    <a:pt x="6" y="20"/>
                  </a:lnTo>
                  <a:lnTo>
                    <a:pt x="6" y="16"/>
                  </a:lnTo>
                  <a:lnTo>
                    <a:pt x="8" y="12"/>
                  </a:lnTo>
                  <a:lnTo>
                    <a:pt x="8" y="12"/>
                  </a:lnTo>
                  <a:lnTo>
                    <a:pt x="6" y="8"/>
                  </a:lnTo>
                  <a:lnTo>
                    <a:pt x="8" y="6"/>
                  </a:lnTo>
                  <a:lnTo>
                    <a:pt x="10" y="6"/>
                  </a:lnTo>
                  <a:lnTo>
                    <a:pt x="10" y="6"/>
                  </a:lnTo>
                  <a:lnTo>
                    <a:pt x="14" y="8"/>
                  </a:lnTo>
                  <a:lnTo>
                    <a:pt x="20" y="10"/>
                  </a:lnTo>
                  <a:lnTo>
                    <a:pt x="20" y="10"/>
                  </a:lnTo>
                  <a:lnTo>
                    <a:pt x="24" y="10"/>
                  </a:lnTo>
                  <a:lnTo>
                    <a:pt x="32" y="12"/>
                  </a:lnTo>
                  <a:lnTo>
                    <a:pt x="32" y="12"/>
                  </a:lnTo>
                  <a:lnTo>
                    <a:pt x="38" y="12"/>
                  </a:lnTo>
                  <a:lnTo>
                    <a:pt x="38" y="12"/>
                  </a:lnTo>
                  <a:lnTo>
                    <a:pt x="38" y="8"/>
                  </a:lnTo>
                  <a:lnTo>
                    <a:pt x="38" y="8"/>
                  </a:lnTo>
                  <a:lnTo>
                    <a:pt x="38" y="8"/>
                  </a:lnTo>
                  <a:lnTo>
                    <a:pt x="44" y="6"/>
                  </a:lnTo>
                  <a:lnTo>
                    <a:pt x="44" y="6"/>
                  </a:lnTo>
                  <a:lnTo>
                    <a:pt x="52" y="4"/>
                  </a:lnTo>
                  <a:lnTo>
                    <a:pt x="54" y="4"/>
                  </a:lnTo>
                  <a:lnTo>
                    <a:pt x="54" y="6"/>
                  </a:lnTo>
                  <a:lnTo>
                    <a:pt x="54" y="6"/>
                  </a:lnTo>
                  <a:lnTo>
                    <a:pt x="56" y="6"/>
                  </a:lnTo>
                  <a:lnTo>
                    <a:pt x="58" y="8"/>
                  </a:lnTo>
                  <a:lnTo>
                    <a:pt x="60" y="6"/>
                  </a:lnTo>
                  <a:lnTo>
                    <a:pt x="60" y="6"/>
                  </a:lnTo>
                  <a:lnTo>
                    <a:pt x="62" y="6"/>
                  </a:lnTo>
                  <a:lnTo>
                    <a:pt x="66" y="2"/>
                  </a:lnTo>
                  <a:lnTo>
                    <a:pt x="66" y="2"/>
                  </a:lnTo>
                  <a:lnTo>
                    <a:pt x="72" y="2"/>
                  </a:lnTo>
                  <a:lnTo>
                    <a:pt x="78" y="2"/>
                  </a:lnTo>
                  <a:lnTo>
                    <a:pt x="78" y="2"/>
                  </a:lnTo>
                  <a:lnTo>
                    <a:pt x="84" y="0"/>
                  </a:lnTo>
                  <a:lnTo>
                    <a:pt x="86" y="0"/>
                  </a:lnTo>
                  <a:lnTo>
                    <a:pt x="88" y="2"/>
                  </a:lnTo>
                  <a:lnTo>
                    <a:pt x="88" y="2"/>
                  </a:lnTo>
                  <a:lnTo>
                    <a:pt x="92" y="4"/>
                  </a:lnTo>
                  <a:lnTo>
                    <a:pt x="94" y="4"/>
                  </a:lnTo>
                  <a:lnTo>
                    <a:pt x="94" y="4"/>
                  </a:lnTo>
                  <a:lnTo>
                    <a:pt x="92" y="16"/>
                  </a:lnTo>
                  <a:lnTo>
                    <a:pt x="92" y="16"/>
                  </a:lnTo>
                  <a:lnTo>
                    <a:pt x="90" y="20"/>
                  </a:lnTo>
                  <a:lnTo>
                    <a:pt x="84" y="24"/>
                  </a:lnTo>
                  <a:lnTo>
                    <a:pt x="84" y="24"/>
                  </a:lnTo>
                  <a:lnTo>
                    <a:pt x="82" y="28"/>
                  </a:lnTo>
                  <a:lnTo>
                    <a:pt x="80" y="34"/>
                  </a:lnTo>
                  <a:lnTo>
                    <a:pt x="80" y="42"/>
                  </a:lnTo>
                  <a:lnTo>
                    <a:pt x="78" y="48"/>
                  </a:lnTo>
                  <a:lnTo>
                    <a:pt x="78" y="48"/>
                  </a:lnTo>
                  <a:lnTo>
                    <a:pt x="74" y="52"/>
                  </a:lnTo>
                  <a:lnTo>
                    <a:pt x="72" y="54"/>
                  </a:lnTo>
                  <a:lnTo>
                    <a:pt x="68" y="56"/>
                  </a:lnTo>
                  <a:lnTo>
                    <a:pt x="68" y="56"/>
                  </a:lnTo>
                  <a:lnTo>
                    <a:pt x="66" y="56"/>
                  </a:lnTo>
                  <a:lnTo>
                    <a:pt x="66" y="56"/>
                  </a:lnTo>
                  <a:lnTo>
                    <a:pt x="58" y="56"/>
                  </a:lnTo>
                  <a:lnTo>
                    <a:pt x="58" y="56"/>
                  </a:lnTo>
                  <a:lnTo>
                    <a:pt x="52" y="56"/>
                  </a:lnTo>
                  <a:lnTo>
                    <a:pt x="48" y="60"/>
                  </a:lnTo>
                  <a:lnTo>
                    <a:pt x="48" y="60"/>
                  </a:lnTo>
                  <a:lnTo>
                    <a:pt x="44" y="64"/>
                  </a:lnTo>
                  <a:lnTo>
                    <a:pt x="42" y="64"/>
                  </a:lnTo>
                  <a:lnTo>
                    <a:pt x="40" y="6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2" name="Freeform 172"/>
            <p:cNvSpPr>
              <a:spLocks noChangeAspect="1"/>
            </p:cNvSpPr>
            <p:nvPr/>
          </p:nvSpPr>
          <p:spPr bwMode="gray">
            <a:xfrm>
              <a:off x="6886883" y="3809102"/>
              <a:ext cx="10201" cy="6580"/>
            </a:xfrm>
            <a:custGeom>
              <a:avLst/>
              <a:gdLst/>
              <a:ahLst/>
              <a:cxnLst>
                <a:cxn ang="0">
                  <a:pos x="6" y="2"/>
                </a:cxn>
                <a:cxn ang="0">
                  <a:pos x="6" y="2"/>
                </a:cxn>
                <a:cxn ang="0">
                  <a:pos x="6" y="2"/>
                </a:cxn>
                <a:cxn ang="0">
                  <a:pos x="2" y="4"/>
                </a:cxn>
                <a:cxn ang="0">
                  <a:pos x="2" y="4"/>
                </a:cxn>
                <a:cxn ang="0">
                  <a:pos x="0" y="0"/>
                </a:cxn>
                <a:cxn ang="0">
                  <a:pos x="0" y="0"/>
                </a:cxn>
                <a:cxn ang="0">
                  <a:pos x="4" y="0"/>
                </a:cxn>
                <a:cxn ang="0">
                  <a:pos x="4" y="0"/>
                </a:cxn>
                <a:cxn ang="0">
                  <a:pos x="6" y="0"/>
                </a:cxn>
                <a:cxn ang="0">
                  <a:pos x="6" y="2"/>
                </a:cxn>
              </a:cxnLst>
              <a:rect l="0" t="0" r="r" b="b"/>
              <a:pathLst>
                <a:path w="6" h="4">
                  <a:moveTo>
                    <a:pt x="6" y="2"/>
                  </a:moveTo>
                  <a:lnTo>
                    <a:pt x="6" y="2"/>
                  </a:lnTo>
                  <a:lnTo>
                    <a:pt x="6" y="2"/>
                  </a:lnTo>
                  <a:lnTo>
                    <a:pt x="2" y="4"/>
                  </a:lnTo>
                  <a:lnTo>
                    <a:pt x="2" y="4"/>
                  </a:lnTo>
                  <a:lnTo>
                    <a:pt x="0" y="0"/>
                  </a:lnTo>
                  <a:lnTo>
                    <a:pt x="0" y="0"/>
                  </a:lnTo>
                  <a:lnTo>
                    <a:pt x="4" y="0"/>
                  </a:lnTo>
                  <a:lnTo>
                    <a:pt x="4" y="0"/>
                  </a:lnTo>
                  <a:lnTo>
                    <a:pt x="6" y="0"/>
                  </a:lnTo>
                  <a:lnTo>
                    <a:pt x="6"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3" name="Freeform 173"/>
            <p:cNvSpPr>
              <a:spLocks noChangeAspect="1"/>
            </p:cNvSpPr>
            <p:nvPr/>
          </p:nvSpPr>
          <p:spPr bwMode="gray">
            <a:xfrm>
              <a:off x="2254070" y="3983469"/>
              <a:ext cx="139410" cy="82249"/>
            </a:xfrm>
            <a:custGeom>
              <a:avLst/>
              <a:gdLst/>
              <a:ahLst/>
              <a:cxnLst>
                <a:cxn ang="0">
                  <a:pos x="82" y="20"/>
                </a:cxn>
                <a:cxn ang="0">
                  <a:pos x="82" y="16"/>
                </a:cxn>
                <a:cxn ang="0">
                  <a:pos x="76" y="16"/>
                </a:cxn>
                <a:cxn ang="0">
                  <a:pos x="72" y="14"/>
                </a:cxn>
                <a:cxn ang="0">
                  <a:pos x="70" y="6"/>
                </a:cxn>
                <a:cxn ang="0">
                  <a:pos x="66" y="6"/>
                </a:cxn>
                <a:cxn ang="0">
                  <a:pos x="66" y="4"/>
                </a:cxn>
                <a:cxn ang="0">
                  <a:pos x="52" y="2"/>
                </a:cxn>
                <a:cxn ang="0">
                  <a:pos x="50" y="0"/>
                </a:cxn>
                <a:cxn ang="0">
                  <a:pos x="48" y="0"/>
                </a:cxn>
                <a:cxn ang="0">
                  <a:pos x="48" y="4"/>
                </a:cxn>
                <a:cxn ang="0">
                  <a:pos x="34" y="4"/>
                </a:cxn>
                <a:cxn ang="0">
                  <a:pos x="34" y="6"/>
                </a:cxn>
                <a:cxn ang="0">
                  <a:pos x="14" y="6"/>
                </a:cxn>
                <a:cxn ang="0">
                  <a:pos x="12" y="8"/>
                </a:cxn>
                <a:cxn ang="0">
                  <a:pos x="10" y="10"/>
                </a:cxn>
                <a:cxn ang="0">
                  <a:pos x="4" y="12"/>
                </a:cxn>
                <a:cxn ang="0">
                  <a:pos x="4" y="16"/>
                </a:cxn>
                <a:cxn ang="0">
                  <a:pos x="0" y="24"/>
                </a:cxn>
                <a:cxn ang="0">
                  <a:pos x="6" y="26"/>
                </a:cxn>
                <a:cxn ang="0">
                  <a:pos x="14" y="28"/>
                </a:cxn>
                <a:cxn ang="0">
                  <a:pos x="20" y="32"/>
                </a:cxn>
                <a:cxn ang="0">
                  <a:pos x="26" y="34"/>
                </a:cxn>
                <a:cxn ang="0">
                  <a:pos x="26" y="44"/>
                </a:cxn>
                <a:cxn ang="0">
                  <a:pos x="30" y="44"/>
                </a:cxn>
                <a:cxn ang="0">
                  <a:pos x="28" y="50"/>
                </a:cxn>
                <a:cxn ang="0">
                  <a:pos x="30" y="50"/>
                </a:cxn>
                <a:cxn ang="0">
                  <a:pos x="34" y="48"/>
                </a:cxn>
                <a:cxn ang="0">
                  <a:pos x="34" y="40"/>
                </a:cxn>
                <a:cxn ang="0">
                  <a:pos x="34" y="34"/>
                </a:cxn>
                <a:cxn ang="0">
                  <a:pos x="44" y="30"/>
                </a:cxn>
                <a:cxn ang="0">
                  <a:pos x="52" y="32"/>
                </a:cxn>
                <a:cxn ang="0">
                  <a:pos x="54" y="34"/>
                </a:cxn>
                <a:cxn ang="0">
                  <a:pos x="58" y="32"/>
                </a:cxn>
                <a:cxn ang="0">
                  <a:pos x="64" y="30"/>
                </a:cxn>
                <a:cxn ang="0">
                  <a:pos x="68" y="28"/>
                </a:cxn>
                <a:cxn ang="0">
                  <a:pos x="70" y="24"/>
                </a:cxn>
                <a:cxn ang="0">
                  <a:pos x="82" y="20"/>
                </a:cxn>
              </a:cxnLst>
              <a:rect l="0" t="0" r="r" b="b"/>
              <a:pathLst>
                <a:path w="82" h="50">
                  <a:moveTo>
                    <a:pt x="82" y="20"/>
                  </a:moveTo>
                  <a:lnTo>
                    <a:pt x="82" y="20"/>
                  </a:lnTo>
                  <a:lnTo>
                    <a:pt x="82" y="18"/>
                  </a:lnTo>
                  <a:lnTo>
                    <a:pt x="82" y="16"/>
                  </a:lnTo>
                  <a:lnTo>
                    <a:pt x="82" y="16"/>
                  </a:lnTo>
                  <a:lnTo>
                    <a:pt x="76" y="16"/>
                  </a:lnTo>
                  <a:lnTo>
                    <a:pt x="72" y="14"/>
                  </a:lnTo>
                  <a:lnTo>
                    <a:pt x="72" y="14"/>
                  </a:lnTo>
                  <a:lnTo>
                    <a:pt x="72" y="10"/>
                  </a:lnTo>
                  <a:lnTo>
                    <a:pt x="70" y="6"/>
                  </a:lnTo>
                  <a:lnTo>
                    <a:pt x="70" y="6"/>
                  </a:lnTo>
                  <a:lnTo>
                    <a:pt x="66" y="6"/>
                  </a:lnTo>
                  <a:lnTo>
                    <a:pt x="66" y="4"/>
                  </a:lnTo>
                  <a:lnTo>
                    <a:pt x="66" y="4"/>
                  </a:lnTo>
                  <a:lnTo>
                    <a:pt x="58" y="2"/>
                  </a:lnTo>
                  <a:lnTo>
                    <a:pt x="52" y="2"/>
                  </a:lnTo>
                  <a:lnTo>
                    <a:pt x="52" y="2"/>
                  </a:lnTo>
                  <a:lnTo>
                    <a:pt x="50" y="0"/>
                  </a:lnTo>
                  <a:lnTo>
                    <a:pt x="48" y="0"/>
                  </a:lnTo>
                  <a:lnTo>
                    <a:pt x="48" y="0"/>
                  </a:lnTo>
                  <a:lnTo>
                    <a:pt x="48" y="4"/>
                  </a:lnTo>
                  <a:lnTo>
                    <a:pt x="48" y="4"/>
                  </a:lnTo>
                  <a:lnTo>
                    <a:pt x="40" y="4"/>
                  </a:lnTo>
                  <a:lnTo>
                    <a:pt x="34" y="4"/>
                  </a:lnTo>
                  <a:lnTo>
                    <a:pt x="34" y="6"/>
                  </a:lnTo>
                  <a:lnTo>
                    <a:pt x="34" y="6"/>
                  </a:lnTo>
                  <a:lnTo>
                    <a:pt x="24" y="6"/>
                  </a:lnTo>
                  <a:lnTo>
                    <a:pt x="14" y="6"/>
                  </a:lnTo>
                  <a:lnTo>
                    <a:pt x="14" y="6"/>
                  </a:lnTo>
                  <a:lnTo>
                    <a:pt x="12" y="8"/>
                  </a:lnTo>
                  <a:lnTo>
                    <a:pt x="12" y="10"/>
                  </a:lnTo>
                  <a:lnTo>
                    <a:pt x="10" y="10"/>
                  </a:lnTo>
                  <a:lnTo>
                    <a:pt x="10" y="10"/>
                  </a:lnTo>
                  <a:lnTo>
                    <a:pt x="4" y="12"/>
                  </a:lnTo>
                  <a:lnTo>
                    <a:pt x="4" y="16"/>
                  </a:lnTo>
                  <a:lnTo>
                    <a:pt x="4" y="16"/>
                  </a:lnTo>
                  <a:lnTo>
                    <a:pt x="2" y="22"/>
                  </a:lnTo>
                  <a:lnTo>
                    <a:pt x="0" y="24"/>
                  </a:lnTo>
                  <a:lnTo>
                    <a:pt x="0" y="24"/>
                  </a:lnTo>
                  <a:lnTo>
                    <a:pt x="6" y="26"/>
                  </a:lnTo>
                  <a:lnTo>
                    <a:pt x="14" y="28"/>
                  </a:lnTo>
                  <a:lnTo>
                    <a:pt x="14" y="28"/>
                  </a:lnTo>
                  <a:lnTo>
                    <a:pt x="16" y="30"/>
                  </a:lnTo>
                  <a:lnTo>
                    <a:pt x="20" y="32"/>
                  </a:lnTo>
                  <a:lnTo>
                    <a:pt x="20" y="32"/>
                  </a:lnTo>
                  <a:lnTo>
                    <a:pt x="26" y="34"/>
                  </a:lnTo>
                  <a:lnTo>
                    <a:pt x="26" y="34"/>
                  </a:lnTo>
                  <a:lnTo>
                    <a:pt x="26" y="44"/>
                  </a:lnTo>
                  <a:lnTo>
                    <a:pt x="26" y="44"/>
                  </a:lnTo>
                  <a:lnTo>
                    <a:pt x="30" y="44"/>
                  </a:lnTo>
                  <a:lnTo>
                    <a:pt x="30" y="44"/>
                  </a:lnTo>
                  <a:lnTo>
                    <a:pt x="28" y="50"/>
                  </a:lnTo>
                  <a:lnTo>
                    <a:pt x="28" y="50"/>
                  </a:lnTo>
                  <a:lnTo>
                    <a:pt x="30" y="50"/>
                  </a:lnTo>
                  <a:lnTo>
                    <a:pt x="32" y="48"/>
                  </a:lnTo>
                  <a:lnTo>
                    <a:pt x="34" y="48"/>
                  </a:lnTo>
                  <a:lnTo>
                    <a:pt x="34" y="48"/>
                  </a:lnTo>
                  <a:lnTo>
                    <a:pt x="34" y="40"/>
                  </a:lnTo>
                  <a:lnTo>
                    <a:pt x="34" y="34"/>
                  </a:lnTo>
                  <a:lnTo>
                    <a:pt x="34" y="34"/>
                  </a:lnTo>
                  <a:lnTo>
                    <a:pt x="44" y="30"/>
                  </a:lnTo>
                  <a:lnTo>
                    <a:pt x="44" y="30"/>
                  </a:lnTo>
                  <a:lnTo>
                    <a:pt x="50" y="30"/>
                  </a:lnTo>
                  <a:lnTo>
                    <a:pt x="52" y="32"/>
                  </a:lnTo>
                  <a:lnTo>
                    <a:pt x="52" y="32"/>
                  </a:lnTo>
                  <a:lnTo>
                    <a:pt x="54" y="34"/>
                  </a:lnTo>
                  <a:lnTo>
                    <a:pt x="54" y="32"/>
                  </a:lnTo>
                  <a:lnTo>
                    <a:pt x="58" y="32"/>
                  </a:lnTo>
                  <a:lnTo>
                    <a:pt x="58" y="32"/>
                  </a:lnTo>
                  <a:lnTo>
                    <a:pt x="64" y="30"/>
                  </a:lnTo>
                  <a:lnTo>
                    <a:pt x="68" y="30"/>
                  </a:lnTo>
                  <a:lnTo>
                    <a:pt x="68" y="28"/>
                  </a:lnTo>
                  <a:lnTo>
                    <a:pt x="68" y="28"/>
                  </a:lnTo>
                  <a:lnTo>
                    <a:pt x="70" y="24"/>
                  </a:lnTo>
                  <a:lnTo>
                    <a:pt x="74" y="22"/>
                  </a:lnTo>
                  <a:lnTo>
                    <a:pt x="82" y="2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4" name="Freeform 174"/>
            <p:cNvSpPr>
              <a:spLocks noChangeAspect="1"/>
            </p:cNvSpPr>
            <p:nvPr/>
          </p:nvSpPr>
          <p:spPr bwMode="gray">
            <a:xfrm>
              <a:off x="2597493" y="3874900"/>
              <a:ext cx="64604" cy="42769"/>
            </a:xfrm>
            <a:custGeom>
              <a:avLst/>
              <a:gdLst/>
              <a:ahLst/>
              <a:cxnLst>
                <a:cxn ang="0">
                  <a:pos x="38" y="26"/>
                </a:cxn>
                <a:cxn ang="0">
                  <a:pos x="38" y="26"/>
                </a:cxn>
                <a:cxn ang="0">
                  <a:pos x="38" y="22"/>
                </a:cxn>
                <a:cxn ang="0">
                  <a:pos x="38" y="22"/>
                </a:cxn>
                <a:cxn ang="0">
                  <a:pos x="36" y="18"/>
                </a:cxn>
                <a:cxn ang="0">
                  <a:pos x="36" y="16"/>
                </a:cxn>
                <a:cxn ang="0">
                  <a:pos x="38" y="12"/>
                </a:cxn>
                <a:cxn ang="0">
                  <a:pos x="36" y="2"/>
                </a:cxn>
                <a:cxn ang="0">
                  <a:pos x="36" y="2"/>
                </a:cxn>
                <a:cxn ang="0">
                  <a:pos x="32" y="2"/>
                </a:cxn>
                <a:cxn ang="0">
                  <a:pos x="30" y="2"/>
                </a:cxn>
                <a:cxn ang="0">
                  <a:pos x="26" y="0"/>
                </a:cxn>
                <a:cxn ang="0">
                  <a:pos x="26" y="0"/>
                </a:cxn>
                <a:cxn ang="0">
                  <a:pos x="20" y="0"/>
                </a:cxn>
                <a:cxn ang="0">
                  <a:pos x="20" y="0"/>
                </a:cxn>
                <a:cxn ang="0">
                  <a:pos x="26" y="4"/>
                </a:cxn>
                <a:cxn ang="0">
                  <a:pos x="26" y="4"/>
                </a:cxn>
                <a:cxn ang="0">
                  <a:pos x="26" y="6"/>
                </a:cxn>
                <a:cxn ang="0">
                  <a:pos x="26" y="12"/>
                </a:cxn>
                <a:cxn ang="0">
                  <a:pos x="26" y="12"/>
                </a:cxn>
                <a:cxn ang="0">
                  <a:pos x="30" y="16"/>
                </a:cxn>
                <a:cxn ang="0">
                  <a:pos x="30" y="16"/>
                </a:cxn>
                <a:cxn ang="0">
                  <a:pos x="30" y="20"/>
                </a:cxn>
                <a:cxn ang="0">
                  <a:pos x="30" y="20"/>
                </a:cxn>
                <a:cxn ang="0">
                  <a:pos x="28" y="22"/>
                </a:cxn>
                <a:cxn ang="0">
                  <a:pos x="26" y="22"/>
                </a:cxn>
                <a:cxn ang="0">
                  <a:pos x="26" y="22"/>
                </a:cxn>
                <a:cxn ang="0">
                  <a:pos x="16" y="18"/>
                </a:cxn>
                <a:cxn ang="0">
                  <a:pos x="16" y="18"/>
                </a:cxn>
                <a:cxn ang="0">
                  <a:pos x="12" y="20"/>
                </a:cxn>
                <a:cxn ang="0">
                  <a:pos x="10" y="20"/>
                </a:cxn>
                <a:cxn ang="0">
                  <a:pos x="10" y="20"/>
                </a:cxn>
                <a:cxn ang="0">
                  <a:pos x="8" y="18"/>
                </a:cxn>
                <a:cxn ang="0">
                  <a:pos x="4" y="16"/>
                </a:cxn>
                <a:cxn ang="0">
                  <a:pos x="4" y="16"/>
                </a:cxn>
                <a:cxn ang="0">
                  <a:pos x="0" y="18"/>
                </a:cxn>
                <a:cxn ang="0">
                  <a:pos x="0" y="18"/>
                </a:cxn>
                <a:cxn ang="0">
                  <a:pos x="0" y="22"/>
                </a:cxn>
                <a:cxn ang="0">
                  <a:pos x="0" y="22"/>
                </a:cxn>
                <a:cxn ang="0">
                  <a:pos x="6" y="26"/>
                </a:cxn>
                <a:cxn ang="0">
                  <a:pos x="6" y="26"/>
                </a:cxn>
                <a:cxn ang="0">
                  <a:pos x="10" y="26"/>
                </a:cxn>
                <a:cxn ang="0">
                  <a:pos x="14" y="24"/>
                </a:cxn>
                <a:cxn ang="0">
                  <a:pos x="14" y="24"/>
                </a:cxn>
                <a:cxn ang="0">
                  <a:pos x="38" y="26"/>
                </a:cxn>
                <a:cxn ang="0">
                  <a:pos x="38" y="26"/>
                </a:cxn>
              </a:cxnLst>
              <a:rect l="0" t="0" r="r" b="b"/>
              <a:pathLst>
                <a:path w="38" h="26">
                  <a:moveTo>
                    <a:pt x="38" y="26"/>
                  </a:moveTo>
                  <a:lnTo>
                    <a:pt x="38" y="26"/>
                  </a:lnTo>
                  <a:lnTo>
                    <a:pt x="38" y="22"/>
                  </a:lnTo>
                  <a:lnTo>
                    <a:pt x="38" y="22"/>
                  </a:lnTo>
                  <a:lnTo>
                    <a:pt x="36" y="18"/>
                  </a:lnTo>
                  <a:lnTo>
                    <a:pt x="36" y="16"/>
                  </a:lnTo>
                  <a:lnTo>
                    <a:pt x="38" y="12"/>
                  </a:lnTo>
                  <a:lnTo>
                    <a:pt x="36" y="2"/>
                  </a:lnTo>
                  <a:lnTo>
                    <a:pt x="36" y="2"/>
                  </a:lnTo>
                  <a:lnTo>
                    <a:pt x="32" y="2"/>
                  </a:lnTo>
                  <a:lnTo>
                    <a:pt x="30" y="2"/>
                  </a:lnTo>
                  <a:lnTo>
                    <a:pt x="26" y="0"/>
                  </a:lnTo>
                  <a:lnTo>
                    <a:pt x="26" y="0"/>
                  </a:lnTo>
                  <a:lnTo>
                    <a:pt x="20" y="0"/>
                  </a:lnTo>
                  <a:lnTo>
                    <a:pt x="20" y="0"/>
                  </a:lnTo>
                  <a:lnTo>
                    <a:pt x="26" y="4"/>
                  </a:lnTo>
                  <a:lnTo>
                    <a:pt x="26" y="4"/>
                  </a:lnTo>
                  <a:lnTo>
                    <a:pt x="26" y="6"/>
                  </a:lnTo>
                  <a:lnTo>
                    <a:pt x="26" y="12"/>
                  </a:lnTo>
                  <a:lnTo>
                    <a:pt x="26" y="12"/>
                  </a:lnTo>
                  <a:lnTo>
                    <a:pt x="30" y="16"/>
                  </a:lnTo>
                  <a:lnTo>
                    <a:pt x="30" y="16"/>
                  </a:lnTo>
                  <a:lnTo>
                    <a:pt x="30" y="20"/>
                  </a:lnTo>
                  <a:lnTo>
                    <a:pt x="30" y="20"/>
                  </a:lnTo>
                  <a:lnTo>
                    <a:pt x="28" y="22"/>
                  </a:lnTo>
                  <a:lnTo>
                    <a:pt x="26" y="22"/>
                  </a:lnTo>
                  <a:lnTo>
                    <a:pt x="26" y="22"/>
                  </a:lnTo>
                  <a:lnTo>
                    <a:pt x="16" y="18"/>
                  </a:lnTo>
                  <a:lnTo>
                    <a:pt x="16" y="18"/>
                  </a:lnTo>
                  <a:lnTo>
                    <a:pt x="12" y="20"/>
                  </a:lnTo>
                  <a:lnTo>
                    <a:pt x="10" y="20"/>
                  </a:lnTo>
                  <a:lnTo>
                    <a:pt x="10" y="20"/>
                  </a:lnTo>
                  <a:lnTo>
                    <a:pt x="8" y="18"/>
                  </a:lnTo>
                  <a:lnTo>
                    <a:pt x="4" y="16"/>
                  </a:lnTo>
                  <a:lnTo>
                    <a:pt x="4" y="16"/>
                  </a:lnTo>
                  <a:lnTo>
                    <a:pt x="0" y="18"/>
                  </a:lnTo>
                  <a:lnTo>
                    <a:pt x="0" y="18"/>
                  </a:lnTo>
                  <a:lnTo>
                    <a:pt x="0" y="22"/>
                  </a:lnTo>
                  <a:lnTo>
                    <a:pt x="0" y="22"/>
                  </a:lnTo>
                  <a:lnTo>
                    <a:pt x="6" y="26"/>
                  </a:lnTo>
                  <a:lnTo>
                    <a:pt x="6" y="26"/>
                  </a:lnTo>
                  <a:lnTo>
                    <a:pt x="10" y="26"/>
                  </a:lnTo>
                  <a:lnTo>
                    <a:pt x="14" y="24"/>
                  </a:lnTo>
                  <a:lnTo>
                    <a:pt x="14" y="24"/>
                  </a:lnTo>
                  <a:lnTo>
                    <a:pt x="38" y="26"/>
                  </a:lnTo>
                  <a:lnTo>
                    <a:pt x="38" y="2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5" name="Freeform 175"/>
            <p:cNvSpPr>
              <a:spLocks noChangeAspect="1"/>
            </p:cNvSpPr>
            <p:nvPr/>
          </p:nvSpPr>
          <p:spPr bwMode="gray">
            <a:xfrm>
              <a:off x="2879713" y="4190735"/>
              <a:ext cx="112208" cy="213846"/>
            </a:xfrm>
            <a:custGeom>
              <a:avLst/>
              <a:gdLst/>
              <a:ahLst/>
              <a:cxnLst>
                <a:cxn ang="0">
                  <a:pos x="22" y="8"/>
                </a:cxn>
                <a:cxn ang="0">
                  <a:pos x="20" y="10"/>
                </a:cxn>
                <a:cxn ang="0">
                  <a:pos x="10" y="14"/>
                </a:cxn>
                <a:cxn ang="0">
                  <a:pos x="10" y="20"/>
                </a:cxn>
                <a:cxn ang="0">
                  <a:pos x="14" y="26"/>
                </a:cxn>
                <a:cxn ang="0">
                  <a:pos x="18" y="28"/>
                </a:cxn>
                <a:cxn ang="0">
                  <a:pos x="16" y="32"/>
                </a:cxn>
                <a:cxn ang="0">
                  <a:pos x="6" y="34"/>
                </a:cxn>
                <a:cxn ang="0">
                  <a:pos x="6" y="40"/>
                </a:cxn>
                <a:cxn ang="0">
                  <a:pos x="12" y="60"/>
                </a:cxn>
                <a:cxn ang="0">
                  <a:pos x="22" y="62"/>
                </a:cxn>
                <a:cxn ang="0">
                  <a:pos x="26" y="66"/>
                </a:cxn>
                <a:cxn ang="0">
                  <a:pos x="28" y="74"/>
                </a:cxn>
                <a:cxn ang="0">
                  <a:pos x="28" y="76"/>
                </a:cxn>
                <a:cxn ang="0">
                  <a:pos x="28" y="80"/>
                </a:cxn>
                <a:cxn ang="0">
                  <a:pos x="28" y="86"/>
                </a:cxn>
                <a:cxn ang="0">
                  <a:pos x="22" y="100"/>
                </a:cxn>
                <a:cxn ang="0">
                  <a:pos x="20" y="114"/>
                </a:cxn>
                <a:cxn ang="0">
                  <a:pos x="24" y="120"/>
                </a:cxn>
                <a:cxn ang="0">
                  <a:pos x="30" y="126"/>
                </a:cxn>
                <a:cxn ang="0">
                  <a:pos x="36" y="130"/>
                </a:cxn>
                <a:cxn ang="0">
                  <a:pos x="40" y="126"/>
                </a:cxn>
                <a:cxn ang="0">
                  <a:pos x="44" y="126"/>
                </a:cxn>
                <a:cxn ang="0">
                  <a:pos x="46" y="122"/>
                </a:cxn>
                <a:cxn ang="0">
                  <a:pos x="48" y="120"/>
                </a:cxn>
                <a:cxn ang="0">
                  <a:pos x="52" y="118"/>
                </a:cxn>
                <a:cxn ang="0">
                  <a:pos x="56" y="112"/>
                </a:cxn>
                <a:cxn ang="0">
                  <a:pos x="56" y="96"/>
                </a:cxn>
                <a:cxn ang="0">
                  <a:pos x="54" y="92"/>
                </a:cxn>
                <a:cxn ang="0">
                  <a:pos x="52" y="78"/>
                </a:cxn>
                <a:cxn ang="0">
                  <a:pos x="50" y="70"/>
                </a:cxn>
                <a:cxn ang="0">
                  <a:pos x="54" y="66"/>
                </a:cxn>
                <a:cxn ang="0">
                  <a:pos x="58" y="54"/>
                </a:cxn>
                <a:cxn ang="0">
                  <a:pos x="66" y="42"/>
                </a:cxn>
                <a:cxn ang="0">
                  <a:pos x="62" y="32"/>
                </a:cxn>
                <a:cxn ang="0">
                  <a:pos x="54" y="28"/>
                </a:cxn>
                <a:cxn ang="0">
                  <a:pos x="50" y="28"/>
                </a:cxn>
                <a:cxn ang="0">
                  <a:pos x="48" y="26"/>
                </a:cxn>
                <a:cxn ang="0">
                  <a:pos x="44" y="30"/>
                </a:cxn>
                <a:cxn ang="0">
                  <a:pos x="40" y="36"/>
                </a:cxn>
                <a:cxn ang="0">
                  <a:pos x="38" y="36"/>
                </a:cxn>
                <a:cxn ang="0">
                  <a:pos x="38" y="34"/>
                </a:cxn>
                <a:cxn ang="0">
                  <a:pos x="38" y="30"/>
                </a:cxn>
                <a:cxn ang="0">
                  <a:pos x="42" y="28"/>
                </a:cxn>
                <a:cxn ang="0">
                  <a:pos x="44" y="16"/>
                </a:cxn>
                <a:cxn ang="0">
                  <a:pos x="28" y="0"/>
                </a:cxn>
              </a:cxnLst>
              <a:rect l="0" t="0" r="r" b="b"/>
              <a:pathLst>
                <a:path w="66" h="130">
                  <a:moveTo>
                    <a:pt x="24" y="0"/>
                  </a:moveTo>
                  <a:lnTo>
                    <a:pt x="22" y="8"/>
                  </a:lnTo>
                  <a:lnTo>
                    <a:pt x="22" y="8"/>
                  </a:lnTo>
                  <a:lnTo>
                    <a:pt x="22" y="8"/>
                  </a:lnTo>
                  <a:lnTo>
                    <a:pt x="20" y="10"/>
                  </a:lnTo>
                  <a:lnTo>
                    <a:pt x="20" y="10"/>
                  </a:lnTo>
                  <a:lnTo>
                    <a:pt x="14" y="14"/>
                  </a:lnTo>
                  <a:lnTo>
                    <a:pt x="10" y="14"/>
                  </a:lnTo>
                  <a:lnTo>
                    <a:pt x="10" y="14"/>
                  </a:lnTo>
                  <a:lnTo>
                    <a:pt x="8" y="14"/>
                  </a:lnTo>
                  <a:lnTo>
                    <a:pt x="8" y="16"/>
                  </a:lnTo>
                  <a:lnTo>
                    <a:pt x="10" y="20"/>
                  </a:lnTo>
                  <a:lnTo>
                    <a:pt x="10" y="20"/>
                  </a:lnTo>
                  <a:lnTo>
                    <a:pt x="12" y="22"/>
                  </a:lnTo>
                  <a:lnTo>
                    <a:pt x="14" y="26"/>
                  </a:lnTo>
                  <a:lnTo>
                    <a:pt x="14" y="26"/>
                  </a:lnTo>
                  <a:lnTo>
                    <a:pt x="16" y="26"/>
                  </a:lnTo>
                  <a:lnTo>
                    <a:pt x="18" y="28"/>
                  </a:lnTo>
                  <a:lnTo>
                    <a:pt x="18" y="30"/>
                  </a:lnTo>
                  <a:lnTo>
                    <a:pt x="18" y="30"/>
                  </a:lnTo>
                  <a:lnTo>
                    <a:pt x="16" y="32"/>
                  </a:lnTo>
                  <a:lnTo>
                    <a:pt x="14" y="32"/>
                  </a:lnTo>
                  <a:lnTo>
                    <a:pt x="6" y="34"/>
                  </a:lnTo>
                  <a:lnTo>
                    <a:pt x="6" y="34"/>
                  </a:lnTo>
                  <a:lnTo>
                    <a:pt x="6" y="34"/>
                  </a:lnTo>
                  <a:lnTo>
                    <a:pt x="6" y="36"/>
                  </a:lnTo>
                  <a:lnTo>
                    <a:pt x="6" y="40"/>
                  </a:lnTo>
                  <a:lnTo>
                    <a:pt x="0" y="42"/>
                  </a:lnTo>
                  <a:lnTo>
                    <a:pt x="12" y="60"/>
                  </a:lnTo>
                  <a:lnTo>
                    <a:pt x="12" y="60"/>
                  </a:lnTo>
                  <a:lnTo>
                    <a:pt x="16" y="62"/>
                  </a:lnTo>
                  <a:lnTo>
                    <a:pt x="22" y="62"/>
                  </a:lnTo>
                  <a:lnTo>
                    <a:pt x="22" y="62"/>
                  </a:lnTo>
                  <a:lnTo>
                    <a:pt x="24" y="62"/>
                  </a:lnTo>
                  <a:lnTo>
                    <a:pt x="26" y="64"/>
                  </a:lnTo>
                  <a:lnTo>
                    <a:pt x="26" y="66"/>
                  </a:lnTo>
                  <a:lnTo>
                    <a:pt x="22" y="70"/>
                  </a:lnTo>
                  <a:lnTo>
                    <a:pt x="22" y="70"/>
                  </a:lnTo>
                  <a:lnTo>
                    <a:pt x="28" y="74"/>
                  </a:lnTo>
                  <a:lnTo>
                    <a:pt x="28" y="74"/>
                  </a:lnTo>
                  <a:lnTo>
                    <a:pt x="30" y="74"/>
                  </a:lnTo>
                  <a:lnTo>
                    <a:pt x="28" y="76"/>
                  </a:lnTo>
                  <a:lnTo>
                    <a:pt x="28" y="78"/>
                  </a:lnTo>
                  <a:lnTo>
                    <a:pt x="28" y="80"/>
                  </a:lnTo>
                  <a:lnTo>
                    <a:pt x="28" y="80"/>
                  </a:lnTo>
                  <a:lnTo>
                    <a:pt x="30" y="82"/>
                  </a:lnTo>
                  <a:lnTo>
                    <a:pt x="28" y="86"/>
                  </a:lnTo>
                  <a:lnTo>
                    <a:pt x="28" y="86"/>
                  </a:lnTo>
                  <a:lnTo>
                    <a:pt x="22" y="92"/>
                  </a:lnTo>
                  <a:lnTo>
                    <a:pt x="22" y="92"/>
                  </a:lnTo>
                  <a:lnTo>
                    <a:pt x="22" y="100"/>
                  </a:lnTo>
                  <a:lnTo>
                    <a:pt x="20" y="112"/>
                  </a:lnTo>
                  <a:lnTo>
                    <a:pt x="20" y="112"/>
                  </a:lnTo>
                  <a:lnTo>
                    <a:pt x="20" y="114"/>
                  </a:lnTo>
                  <a:lnTo>
                    <a:pt x="22" y="118"/>
                  </a:lnTo>
                  <a:lnTo>
                    <a:pt x="24" y="120"/>
                  </a:lnTo>
                  <a:lnTo>
                    <a:pt x="24" y="120"/>
                  </a:lnTo>
                  <a:lnTo>
                    <a:pt x="28" y="124"/>
                  </a:lnTo>
                  <a:lnTo>
                    <a:pt x="30" y="124"/>
                  </a:lnTo>
                  <a:lnTo>
                    <a:pt x="30" y="126"/>
                  </a:lnTo>
                  <a:lnTo>
                    <a:pt x="30" y="126"/>
                  </a:lnTo>
                  <a:lnTo>
                    <a:pt x="32" y="130"/>
                  </a:lnTo>
                  <a:lnTo>
                    <a:pt x="36" y="130"/>
                  </a:lnTo>
                  <a:lnTo>
                    <a:pt x="36" y="130"/>
                  </a:lnTo>
                  <a:lnTo>
                    <a:pt x="38" y="128"/>
                  </a:lnTo>
                  <a:lnTo>
                    <a:pt x="40" y="126"/>
                  </a:lnTo>
                  <a:lnTo>
                    <a:pt x="42" y="126"/>
                  </a:lnTo>
                  <a:lnTo>
                    <a:pt x="42" y="126"/>
                  </a:lnTo>
                  <a:lnTo>
                    <a:pt x="44" y="126"/>
                  </a:lnTo>
                  <a:lnTo>
                    <a:pt x="44" y="124"/>
                  </a:lnTo>
                  <a:lnTo>
                    <a:pt x="44" y="122"/>
                  </a:lnTo>
                  <a:lnTo>
                    <a:pt x="46" y="122"/>
                  </a:lnTo>
                  <a:lnTo>
                    <a:pt x="46" y="122"/>
                  </a:lnTo>
                  <a:lnTo>
                    <a:pt x="48" y="120"/>
                  </a:lnTo>
                  <a:lnTo>
                    <a:pt x="48" y="120"/>
                  </a:lnTo>
                  <a:lnTo>
                    <a:pt x="50" y="118"/>
                  </a:lnTo>
                  <a:lnTo>
                    <a:pt x="52" y="118"/>
                  </a:lnTo>
                  <a:lnTo>
                    <a:pt x="52" y="118"/>
                  </a:lnTo>
                  <a:lnTo>
                    <a:pt x="56" y="120"/>
                  </a:lnTo>
                  <a:lnTo>
                    <a:pt x="58" y="120"/>
                  </a:lnTo>
                  <a:lnTo>
                    <a:pt x="56" y="112"/>
                  </a:lnTo>
                  <a:lnTo>
                    <a:pt x="54" y="100"/>
                  </a:lnTo>
                  <a:lnTo>
                    <a:pt x="54" y="100"/>
                  </a:lnTo>
                  <a:lnTo>
                    <a:pt x="56" y="96"/>
                  </a:lnTo>
                  <a:lnTo>
                    <a:pt x="56" y="94"/>
                  </a:lnTo>
                  <a:lnTo>
                    <a:pt x="54" y="92"/>
                  </a:lnTo>
                  <a:lnTo>
                    <a:pt x="54" y="92"/>
                  </a:lnTo>
                  <a:lnTo>
                    <a:pt x="52" y="88"/>
                  </a:lnTo>
                  <a:lnTo>
                    <a:pt x="52" y="88"/>
                  </a:lnTo>
                  <a:lnTo>
                    <a:pt x="52" y="78"/>
                  </a:lnTo>
                  <a:lnTo>
                    <a:pt x="52" y="78"/>
                  </a:lnTo>
                  <a:lnTo>
                    <a:pt x="50" y="72"/>
                  </a:lnTo>
                  <a:lnTo>
                    <a:pt x="50" y="70"/>
                  </a:lnTo>
                  <a:lnTo>
                    <a:pt x="50" y="68"/>
                  </a:lnTo>
                  <a:lnTo>
                    <a:pt x="50" y="68"/>
                  </a:lnTo>
                  <a:lnTo>
                    <a:pt x="54" y="66"/>
                  </a:lnTo>
                  <a:lnTo>
                    <a:pt x="58" y="62"/>
                  </a:lnTo>
                  <a:lnTo>
                    <a:pt x="58" y="62"/>
                  </a:lnTo>
                  <a:lnTo>
                    <a:pt x="58" y="54"/>
                  </a:lnTo>
                  <a:lnTo>
                    <a:pt x="58" y="54"/>
                  </a:lnTo>
                  <a:lnTo>
                    <a:pt x="66" y="42"/>
                  </a:lnTo>
                  <a:lnTo>
                    <a:pt x="66" y="42"/>
                  </a:lnTo>
                  <a:lnTo>
                    <a:pt x="64" y="36"/>
                  </a:lnTo>
                  <a:lnTo>
                    <a:pt x="62" y="32"/>
                  </a:lnTo>
                  <a:lnTo>
                    <a:pt x="62" y="32"/>
                  </a:lnTo>
                  <a:lnTo>
                    <a:pt x="56" y="30"/>
                  </a:lnTo>
                  <a:lnTo>
                    <a:pt x="56" y="30"/>
                  </a:lnTo>
                  <a:lnTo>
                    <a:pt x="54" y="28"/>
                  </a:lnTo>
                  <a:lnTo>
                    <a:pt x="52" y="26"/>
                  </a:lnTo>
                  <a:lnTo>
                    <a:pt x="52" y="26"/>
                  </a:lnTo>
                  <a:lnTo>
                    <a:pt x="50" y="28"/>
                  </a:lnTo>
                  <a:lnTo>
                    <a:pt x="48" y="28"/>
                  </a:lnTo>
                  <a:lnTo>
                    <a:pt x="48" y="28"/>
                  </a:lnTo>
                  <a:lnTo>
                    <a:pt x="48" y="26"/>
                  </a:lnTo>
                  <a:lnTo>
                    <a:pt x="46" y="26"/>
                  </a:lnTo>
                  <a:lnTo>
                    <a:pt x="46" y="26"/>
                  </a:lnTo>
                  <a:lnTo>
                    <a:pt x="44" y="30"/>
                  </a:lnTo>
                  <a:lnTo>
                    <a:pt x="44" y="38"/>
                  </a:lnTo>
                  <a:lnTo>
                    <a:pt x="44" y="38"/>
                  </a:lnTo>
                  <a:lnTo>
                    <a:pt x="40" y="36"/>
                  </a:lnTo>
                  <a:lnTo>
                    <a:pt x="40" y="36"/>
                  </a:lnTo>
                  <a:lnTo>
                    <a:pt x="38" y="36"/>
                  </a:lnTo>
                  <a:lnTo>
                    <a:pt x="38" y="36"/>
                  </a:lnTo>
                  <a:lnTo>
                    <a:pt x="38" y="34"/>
                  </a:lnTo>
                  <a:lnTo>
                    <a:pt x="38" y="34"/>
                  </a:lnTo>
                  <a:lnTo>
                    <a:pt x="38" y="34"/>
                  </a:lnTo>
                  <a:lnTo>
                    <a:pt x="38" y="32"/>
                  </a:lnTo>
                  <a:lnTo>
                    <a:pt x="38" y="30"/>
                  </a:lnTo>
                  <a:lnTo>
                    <a:pt x="38" y="30"/>
                  </a:lnTo>
                  <a:lnTo>
                    <a:pt x="42" y="28"/>
                  </a:lnTo>
                  <a:lnTo>
                    <a:pt x="42" y="28"/>
                  </a:lnTo>
                  <a:lnTo>
                    <a:pt x="42" y="28"/>
                  </a:lnTo>
                  <a:lnTo>
                    <a:pt x="44" y="22"/>
                  </a:lnTo>
                  <a:lnTo>
                    <a:pt x="44" y="16"/>
                  </a:lnTo>
                  <a:lnTo>
                    <a:pt x="44" y="16"/>
                  </a:lnTo>
                  <a:lnTo>
                    <a:pt x="36" y="8"/>
                  </a:lnTo>
                  <a:lnTo>
                    <a:pt x="28" y="0"/>
                  </a:lnTo>
                  <a:lnTo>
                    <a:pt x="28" y="0"/>
                  </a:lnTo>
                  <a:lnTo>
                    <a:pt x="24" y="2"/>
                  </a:lnTo>
                  <a:lnTo>
                    <a:pt x="2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6" name="Freeform 178"/>
            <p:cNvSpPr>
              <a:spLocks noChangeAspect="1"/>
            </p:cNvSpPr>
            <p:nvPr/>
          </p:nvSpPr>
          <p:spPr bwMode="gray">
            <a:xfrm>
              <a:off x="2182665" y="3927540"/>
              <a:ext cx="95207" cy="115148"/>
            </a:xfrm>
            <a:custGeom>
              <a:avLst/>
              <a:gdLst/>
              <a:ahLst/>
              <a:cxnLst>
                <a:cxn ang="0">
                  <a:pos x="30" y="70"/>
                </a:cxn>
                <a:cxn ang="0">
                  <a:pos x="32" y="68"/>
                </a:cxn>
                <a:cxn ang="0">
                  <a:pos x="36" y="66"/>
                </a:cxn>
                <a:cxn ang="0">
                  <a:pos x="36" y="62"/>
                </a:cxn>
                <a:cxn ang="0">
                  <a:pos x="42" y="58"/>
                </a:cxn>
                <a:cxn ang="0">
                  <a:pos x="44" y="56"/>
                </a:cxn>
                <a:cxn ang="0">
                  <a:pos x="46" y="50"/>
                </a:cxn>
                <a:cxn ang="0">
                  <a:pos x="52" y="44"/>
                </a:cxn>
                <a:cxn ang="0">
                  <a:pos x="54" y="44"/>
                </a:cxn>
                <a:cxn ang="0">
                  <a:pos x="56" y="40"/>
                </a:cxn>
                <a:cxn ang="0">
                  <a:pos x="48" y="40"/>
                </a:cxn>
                <a:cxn ang="0">
                  <a:pos x="44" y="38"/>
                </a:cxn>
                <a:cxn ang="0">
                  <a:pos x="22" y="0"/>
                </a:cxn>
                <a:cxn ang="0">
                  <a:pos x="16" y="8"/>
                </a:cxn>
                <a:cxn ang="0">
                  <a:pos x="16" y="12"/>
                </a:cxn>
                <a:cxn ang="0">
                  <a:pos x="22" y="20"/>
                </a:cxn>
                <a:cxn ang="0">
                  <a:pos x="24" y="24"/>
                </a:cxn>
                <a:cxn ang="0">
                  <a:pos x="26" y="30"/>
                </a:cxn>
                <a:cxn ang="0">
                  <a:pos x="10" y="28"/>
                </a:cxn>
                <a:cxn ang="0">
                  <a:pos x="2" y="38"/>
                </a:cxn>
                <a:cxn ang="0">
                  <a:pos x="2" y="42"/>
                </a:cxn>
                <a:cxn ang="0">
                  <a:pos x="2" y="46"/>
                </a:cxn>
                <a:cxn ang="0">
                  <a:pos x="0" y="50"/>
                </a:cxn>
                <a:cxn ang="0">
                  <a:pos x="2" y="50"/>
                </a:cxn>
                <a:cxn ang="0">
                  <a:pos x="6" y="52"/>
                </a:cxn>
                <a:cxn ang="0">
                  <a:pos x="12" y="60"/>
                </a:cxn>
                <a:cxn ang="0">
                  <a:pos x="18" y="62"/>
                </a:cxn>
                <a:cxn ang="0">
                  <a:pos x="18" y="64"/>
                </a:cxn>
                <a:cxn ang="0">
                  <a:pos x="20" y="68"/>
                </a:cxn>
                <a:cxn ang="0">
                  <a:pos x="20" y="68"/>
                </a:cxn>
                <a:cxn ang="0">
                  <a:pos x="26" y="68"/>
                </a:cxn>
                <a:cxn ang="0">
                  <a:pos x="30" y="70"/>
                </a:cxn>
              </a:cxnLst>
              <a:rect l="0" t="0" r="r" b="b"/>
              <a:pathLst>
                <a:path w="56" h="70">
                  <a:moveTo>
                    <a:pt x="30" y="70"/>
                  </a:moveTo>
                  <a:lnTo>
                    <a:pt x="30" y="70"/>
                  </a:lnTo>
                  <a:lnTo>
                    <a:pt x="30" y="68"/>
                  </a:lnTo>
                  <a:lnTo>
                    <a:pt x="32" y="68"/>
                  </a:lnTo>
                  <a:lnTo>
                    <a:pt x="36" y="68"/>
                  </a:lnTo>
                  <a:lnTo>
                    <a:pt x="36" y="66"/>
                  </a:lnTo>
                  <a:lnTo>
                    <a:pt x="36" y="66"/>
                  </a:lnTo>
                  <a:lnTo>
                    <a:pt x="36" y="62"/>
                  </a:lnTo>
                  <a:lnTo>
                    <a:pt x="40" y="60"/>
                  </a:lnTo>
                  <a:lnTo>
                    <a:pt x="42" y="58"/>
                  </a:lnTo>
                  <a:lnTo>
                    <a:pt x="42" y="58"/>
                  </a:lnTo>
                  <a:lnTo>
                    <a:pt x="44" y="56"/>
                  </a:lnTo>
                  <a:lnTo>
                    <a:pt x="46" y="50"/>
                  </a:lnTo>
                  <a:lnTo>
                    <a:pt x="46" y="50"/>
                  </a:lnTo>
                  <a:lnTo>
                    <a:pt x="46" y="46"/>
                  </a:lnTo>
                  <a:lnTo>
                    <a:pt x="52" y="44"/>
                  </a:lnTo>
                  <a:lnTo>
                    <a:pt x="52" y="44"/>
                  </a:lnTo>
                  <a:lnTo>
                    <a:pt x="54" y="44"/>
                  </a:lnTo>
                  <a:lnTo>
                    <a:pt x="54" y="42"/>
                  </a:lnTo>
                  <a:lnTo>
                    <a:pt x="56" y="40"/>
                  </a:lnTo>
                  <a:lnTo>
                    <a:pt x="56" y="40"/>
                  </a:lnTo>
                  <a:lnTo>
                    <a:pt x="48" y="40"/>
                  </a:lnTo>
                  <a:lnTo>
                    <a:pt x="48" y="38"/>
                  </a:lnTo>
                  <a:lnTo>
                    <a:pt x="44" y="38"/>
                  </a:lnTo>
                  <a:lnTo>
                    <a:pt x="44" y="0"/>
                  </a:lnTo>
                  <a:lnTo>
                    <a:pt x="22" y="0"/>
                  </a:lnTo>
                  <a:lnTo>
                    <a:pt x="20" y="8"/>
                  </a:lnTo>
                  <a:lnTo>
                    <a:pt x="16" y="8"/>
                  </a:lnTo>
                  <a:lnTo>
                    <a:pt x="16" y="12"/>
                  </a:lnTo>
                  <a:lnTo>
                    <a:pt x="16" y="12"/>
                  </a:lnTo>
                  <a:lnTo>
                    <a:pt x="18" y="16"/>
                  </a:lnTo>
                  <a:lnTo>
                    <a:pt x="22" y="20"/>
                  </a:lnTo>
                  <a:lnTo>
                    <a:pt x="22" y="20"/>
                  </a:lnTo>
                  <a:lnTo>
                    <a:pt x="24" y="24"/>
                  </a:lnTo>
                  <a:lnTo>
                    <a:pt x="26" y="26"/>
                  </a:lnTo>
                  <a:lnTo>
                    <a:pt x="26" y="30"/>
                  </a:lnTo>
                  <a:lnTo>
                    <a:pt x="10" y="28"/>
                  </a:lnTo>
                  <a:lnTo>
                    <a:pt x="10" y="28"/>
                  </a:lnTo>
                  <a:lnTo>
                    <a:pt x="4" y="34"/>
                  </a:lnTo>
                  <a:lnTo>
                    <a:pt x="2" y="38"/>
                  </a:lnTo>
                  <a:lnTo>
                    <a:pt x="2" y="42"/>
                  </a:lnTo>
                  <a:lnTo>
                    <a:pt x="2" y="42"/>
                  </a:lnTo>
                  <a:lnTo>
                    <a:pt x="2" y="44"/>
                  </a:lnTo>
                  <a:lnTo>
                    <a:pt x="2" y="46"/>
                  </a:lnTo>
                  <a:lnTo>
                    <a:pt x="0" y="50"/>
                  </a:lnTo>
                  <a:lnTo>
                    <a:pt x="0" y="50"/>
                  </a:lnTo>
                  <a:lnTo>
                    <a:pt x="2" y="50"/>
                  </a:lnTo>
                  <a:lnTo>
                    <a:pt x="2" y="50"/>
                  </a:lnTo>
                  <a:lnTo>
                    <a:pt x="6" y="52"/>
                  </a:lnTo>
                  <a:lnTo>
                    <a:pt x="6" y="52"/>
                  </a:lnTo>
                  <a:lnTo>
                    <a:pt x="8" y="56"/>
                  </a:lnTo>
                  <a:lnTo>
                    <a:pt x="12" y="60"/>
                  </a:lnTo>
                  <a:lnTo>
                    <a:pt x="12" y="60"/>
                  </a:lnTo>
                  <a:lnTo>
                    <a:pt x="18" y="62"/>
                  </a:lnTo>
                  <a:lnTo>
                    <a:pt x="18" y="62"/>
                  </a:lnTo>
                  <a:lnTo>
                    <a:pt x="18" y="64"/>
                  </a:lnTo>
                  <a:lnTo>
                    <a:pt x="20" y="68"/>
                  </a:lnTo>
                  <a:lnTo>
                    <a:pt x="20" y="68"/>
                  </a:lnTo>
                  <a:lnTo>
                    <a:pt x="20" y="68"/>
                  </a:lnTo>
                  <a:lnTo>
                    <a:pt x="20" y="68"/>
                  </a:lnTo>
                  <a:lnTo>
                    <a:pt x="24" y="68"/>
                  </a:lnTo>
                  <a:lnTo>
                    <a:pt x="26" y="68"/>
                  </a:lnTo>
                  <a:lnTo>
                    <a:pt x="28" y="70"/>
                  </a:lnTo>
                  <a:lnTo>
                    <a:pt x="30" y="7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7" name="Freeform 179"/>
            <p:cNvSpPr>
              <a:spLocks noChangeAspect="1" noEditPoints="1"/>
            </p:cNvSpPr>
            <p:nvPr/>
          </p:nvSpPr>
          <p:spPr bwMode="gray">
            <a:xfrm>
              <a:off x="4748139" y="3243232"/>
              <a:ext cx="166611" cy="210556"/>
            </a:xfrm>
            <a:custGeom>
              <a:avLst/>
              <a:gdLst/>
              <a:ahLst/>
              <a:cxnLst>
                <a:cxn ang="0">
                  <a:pos x="8" y="46"/>
                </a:cxn>
                <a:cxn ang="0">
                  <a:pos x="12" y="52"/>
                </a:cxn>
                <a:cxn ang="0">
                  <a:pos x="14" y="60"/>
                </a:cxn>
                <a:cxn ang="0">
                  <a:pos x="38" y="70"/>
                </a:cxn>
                <a:cxn ang="0">
                  <a:pos x="32" y="70"/>
                </a:cxn>
                <a:cxn ang="0">
                  <a:pos x="16" y="72"/>
                </a:cxn>
                <a:cxn ang="0">
                  <a:pos x="22" y="88"/>
                </a:cxn>
                <a:cxn ang="0">
                  <a:pos x="24" y="86"/>
                </a:cxn>
                <a:cxn ang="0">
                  <a:pos x="34" y="88"/>
                </a:cxn>
                <a:cxn ang="0">
                  <a:pos x="36" y="82"/>
                </a:cxn>
                <a:cxn ang="0">
                  <a:pos x="48" y="80"/>
                </a:cxn>
                <a:cxn ang="0">
                  <a:pos x="48" y="74"/>
                </a:cxn>
                <a:cxn ang="0">
                  <a:pos x="54" y="68"/>
                </a:cxn>
                <a:cxn ang="0">
                  <a:pos x="44" y="58"/>
                </a:cxn>
                <a:cxn ang="0">
                  <a:pos x="46" y="60"/>
                </a:cxn>
                <a:cxn ang="0">
                  <a:pos x="58" y="66"/>
                </a:cxn>
                <a:cxn ang="0">
                  <a:pos x="64" y="72"/>
                </a:cxn>
                <a:cxn ang="0">
                  <a:pos x="58" y="60"/>
                </a:cxn>
                <a:cxn ang="0">
                  <a:pos x="46" y="52"/>
                </a:cxn>
                <a:cxn ang="0">
                  <a:pos x="42" y="52"/>
                </a:cxn>
                <a:cxn ang="0">
                  <a:pos x="42" y="48"/>
                </a:cxn>
                <a:cxn ang="0">
                  <a:pos x="40" y="36"/>
                </a:cxn>
                <a:cxn ang="0">
                  <a:pos x="34" y="30"/>
                </a:cxn>
                <a:cxn ang="0">
                  <a:pos x="46" y="32"/>
                </a:cxn>
                <a:cxn ang="0">
                  <a:pos x="46" y="28"/>
                </a:cxn>
                <a:cxn ang="0">
                  <a:pos x="54" y="28"/>
                </a:cxn>
                <a:cxn ang="0">
                  <a:pos x="56" y="22"/>
                </a:cxn>
                <a:cxn ang="0">
                  <a:pos x="62" y="14"/>
                </a:cxn>
                <a:cxn ang="0">
                  <a:pos x="82" y="14"/>
                </a:cxn>
                <a:cxn ang="0">
                  <a:pos x="88" y="14"/>
                </a:cxn>
                <a:cxn ang="0">
                  <a:pos x="94" y="10"/>
                </a:cxn>
                <a:cxn ang="0">
                  <a:pos x="96" y="4"/>
                </a:cxn>
                <a:cxn ang="0">
                  <a:pos x="86" y="4"/>
                </a:cxn>
                <a:cxn ang="0">
                  <a:pos x="82" y="6"/>
                </a:cxn>
                <a:cxn ang="0">
                  <a:pos x="72" y="2"/>
                </a:cxn>
                <a:cxn ang="0">
                  <a:pos x="62" y="4"/>
                </a:cxn>
                <a:cxn ang="0">
                  <a:pos x="46" y="6"/>
                </a:cxn>
                <a:cxn ang="0">
                  <a:pos x="44" y="12"/>
                </a:cxn>
                <a:cxn ang="0">
                  <a:pos x="36" y="14"/>
                </a:cxn>
                <a:cxn ang="0">
                  <a:pos x="32" y="16"/>
                </a:cxn>
                <a:cxn ang="0">
                  <a:pos x="26" y="20"/>
                </a:cxn>
                <a:cxn ang="0">
                  <a:pos x="12" y="32"/>
                </a:cxn>
                <a:cxn ang="0">
                  <a:pos x="8" y="36"/>
                </a:cxn>
                <a:cxn ang="0">
                  <a:pos x="46" y="118"/>
                </a:cxn>
                <a:cxn ang="0">
                  <a:pos x="56" y="124"/>
                </a:cxn>
                <a:cxn ang="0">
                  <a:pos x="72" y="128"/>
                </a:cxn>
                <a:cxn ang="0">
                  <a:pos x="80" y="126"/>
                </a:cxn>
                <a:cxn ang="0">
                  <a:pos x="84" y="122"/>
                </a:cxn>
                <a:cxn ang="0">
                  <a:pos x="78" y="118"/>
                </a:cxn>
                <a:cxn ang="0">
                  <a:pos x="68" y="120"/>
                </a:cxn>
                <a:cxn ang="0">
                  <a:pos x="40" y="54"/>
                </a:cxn>
                <a:cxn ang="0">
                  <a:pos x="40" y="54"/>
                </a:cxn>
                <a:cxn ang="0">
                  <a:pos x="84" y="48"/>
                </a:cxn>
                <a:cxn ang="0">
                  <a:pos x="88" y="50"/>
                </a:cxn>
                <a:cxn ang="0">
                  <a:pos x="84" y="46"/>
                </a:cxn>
                <a:cxn ang="0">
                  <a:pos x="0" y="40"/>
                </a:cxn>
              </a:cxnLst>
              <a:rect l="0" t="0" r="r" b="b"/>
              <a:pathLst>
                <a:path w="98" h="128">
                  <a:moveTo>
                    <a:pt x="2" y="36"/>
                  </a:moveTo>
                  <a:lnTo>
                    <a:pt x="2" y="36"/>
                  </a:lnTo>
                  <a:lnTo>
                    <a:pt x="4" y="44"/>
                  </a:lnTo>
                  <a:lnTo>
                    <a:pt x="4" y="44"/>
                  </a:lnTo>
                  <a:lnTo>
                    <a:pt x="8" y="46"/>
                  </a:lnTo>
                  <a:lnTo>
                    <a:pt x="8" y="46"/>
                  </a:lnTo>
                  <a:lnTo>
                    <a:pt x="8" y="48"/>
                  </a:lnTo>
                  <a:lnTo>
                    <a:pt x="8" y="48"/>
                  </a:lnTo>
                  <a:lnTo>
                    <a:pt x="12" y="52"/>
                  </a:lnTo>
                  <a:lnTo>
                    <a:pt x="12" y="52"/>
                  </a:lnTo>
                  <a:lnTo>
                    <a:pt x="18" y="52"/>
                  </a:lnTo>
                  <a:lnTo>
                    <a:pt x="18" y="52"/>
                  </a:lnTo>
                  <a:lnTo>
                    <a:pt x="14" y="54"/>
                  </a:lnTo>
                  <a:lnTo>
                    <a:pt x="14" y="54"/>
                  </a:lnTo>
                  <a:lnTo>
                    <a:pt x="14" y="60"/>
                  </a:lnTo>
                  <a:lnTo>
                    <a:pt x="16" y="64"/>
                  </a:lnTo>
                  <a:lnTo>
                    <a:pt x="16" y="64"/>
                  </a:lnTo>
                  <a:lnTo>
                    <a:pt x="22" y="64"/>
                  </a:lnTo>
                  <a:lnTo>
                    <a:pt x="28" y="66"/>
                  </a:lnTo>
                  <a:lnTo>
                    <a:pt x="38" y="70"/>
                  </a:lnTo>
                  <a:lnTo>
                    <a:pt x="38" y="70"/>
                  </a:lnTo>
                  <a:lnTo>
                    <a:pt x="38" y="72"/>
                  </a:lnTo>
                  <a:lnTo>
                    <a:pt x="34" y="72"/>
                  </a:lnTo>
                  <a:lnTo>
                    <a:pt x="34" y="72"/>
                  </a:lnTo>
                  <a:lnTo>
                    <a:pt x="32" y="70"/>
                  </a:lnTo>
                  <a:lnTo>
                    <a:pt x="30" y="68"/>
                  </a:lnTo>
                  <a:lnTo>
                    <a:pt x="30" y="68"/>
                  </a:lnTo>
                  <a:lnTo>
                    <a:pt x="24" y="66"/>
                  </a:lnTo>
                  <a:lnTo>
                    <a:pt x="22" y="68"/>
                  </a:lnTo>
                  <a:lnTo>
                    <a:pt x="16" y="72"/>
                  </a:lnTo>
                  <a:lnTo>
                    <a:pt x="16" y="72"/>
                  </a:lnTo>
                  <a:lnTo>
                    <a:pt x="20" y="78"/>
                  </a:lnTo>
                  <a:lnTo>
                    <a:pt x="20" y="86"/>
                  </a:lnTo>
                  <a:lnTo>
                    <a:pt x="20" y="86"/>
                  </a:lnTo>
                  <a:lnTo>
                    <a:pt x="22" y="88"/>
                  </a:lnTo>
                  <a:lnTo>
                    <a:pt x="22" y="88"/>
                  </a:lnTo>
                  <a:lnTo>
                    <a:pt x="22" y="88"/>
                  </a:lnTo>
                  <a:lnTo>
                    <a:pt x="24" y="88"/>
                  </a:lnTo>
                  <a:lnTo>
                    <a:pt x="24" y="86"/>
                  </a:lnTo>
                  <a:lnTo>
                    <a:pt x="24" y="86"/>
                  </a:lnTo>
                  <a:lnTo>
                    <a:pt x="28" y="88"/>
                  </a:lnTo>
                  <a:lnTo>
                    <a:pt x="28" y="88"/>
                  </a:lnTo>
                  <a:lnTo>
                    <a:pt x="34" y="88"/>
                  </a:lnTo>
                  <a:lnTo>
                    <a:pt x="34" y="88"/>
                  </a:lnTo>
                  <a:lnTo>
                    <a:pt x="34" y="88"/>
                  </a:lnTo>
                  <a:lnTo>
                    <a:pt x="38" y="88"/>
                  </a:lnTo>
                  <a:lnTo>
                    <a:pt x="38" y="86"/>
                  </a:lnTo>
                  <a:lnTo>
                    <a:pt x="38" y="86"/>
                  </a:lnTo>
                  <a:lnTo>
                    <a:pt x="36" y="84"/>
                  </a:lnTo>
                  <a:lnTo>
                    <a:pt x="36" y="82"/>
                  </a:lnTo>
                  <a:lnTo>
                    <a:pt x="36" y="82"/>
                  </a:lnTo>
                  <a:lnTo>
                    <a:pt x="42" y="82"/>
                  </a:lnTo>
                  <a:lnTo>
                    <a:pt x="46" y="84"/>
                  </a:lnTo>
                  <a:lnTo>
                    <a:pt x="46" y="84"/>
                  </a:lnTo>
                  <a:lnTo>
                    <a:pt x="48" y="80"/>
                  </a:lnTo>
                  <a:lnTo>
                    <a:pt x="42" y="76"/>
                  </a:lnTo>
                  <a:lnTo>
                    <a:pt x="42" y="76"/>
                  </a:lnTo>
                  <a:lnTo>
                    <a:pt x="42" y="74"/>
                  </a:lnTo>
                  <a:lnTo>
                    <a:pt x="42" y="74"/>
                  </a:lnTo>
                  <a:lnTo>
                    <a:pt x="48" y="74"/>
                  </a:lnTo>
                  <a:lnTo>
                    <a:pt x="48" y="74"/>
                  </a:lnTo>
                  <a:lnTo>
                    <a:pt x="54" y="78"/>
                  </a:lnTo>
                  <a:lnTo>
                    <a:pt x="54" y="78"/>
                  </a:lnTo>
                  <a:lnTo>
                    <a:pt x="54" y="68"/>
                  </a:lnTo>
                  <a:lnTo>
                    <a:pt x="54" y="68"/>
                  </a:lnTo>
                  <a:lnTo>
                    <a:pt x="48" y="66"/>
                  </a:lnTo>
                  <a:lnTo>
                    <a:pt x="44" y="62"/>
                  </a:lnTo>
                  <a:lnTo>
                    <a:pt x="44" y="62"/>
                  </a:lnTo>
                  <a:lnTo>
                    <a:pt x="44" y="58"/>
                  </a:lnTo>
                  <a:lnTo>
                    <a:pt x="44" y="58"/>
                  </a:lnTo>
                  <a:lnTo>
                    <a:pt x="42" y="58"/>
                  </a:lnTo>
                  <a:lnTo>
                    <a:pt x="44" y="56"/>
                  </a:lnTo>
                  <a:lnTo>
                    <a:pt x="44" y="56"/>
                  </a:lnTo>
                  <a:lnTo>
                    <a:pt x="46" y="60"/>
                  </a:lnTo>
                  <a:lnTo>
                    <a:pt x="46" y="60"/>
                  </a:lnTo>
                  <a:lnTo>
                    <a:pt x="50" y="64"/>
                  </a:lnTo>
                  <a:lnTo>
                    <a:pt x="50" y="64"/>
                  </a:lnTo>
                  <a:lnTo>
                    <a:pt x="52" y="66"/>
                  </a:lnTo>
                  <a:lnTo>
                    <a:pt x="52" y="66"/>
                  </a:lnTo>
                  <a:lnTo>
                    <a:pt x="58" y="66"/>
                  </a:lnTo>
                  <a:lnTo>
                    <a:pt x="58" y="66"/>
                  </a:lnTo>
                  <a:lnTo>
                    <a:pt x="62" y="68"/>
                  </a:lnTo>
                  <a:lnTo>
                    <a:pt x="62" y="68"/>
                  </a:lnTo>
                  <a:lnTo>
                    <a:pt x="64" y="72"/>
                  </a:lnTo>
                  <a:lnTo>
                    <a:pt x="64" y="72"/>
                  </a:lnTo>
                  <a:lnTo>
                    <a:pt x="64" y="72"/>
                  </a:lnTo>
                  <a:lnTo>
                    <a:pt x="64" y="70"/>
                  </a:lnTo>
                  <a:lnTo>
                    <a:pt x="64" y="68"/>
                  </a:lnTo>
                  <a:lnTo>
                    <a:pt x="58" y="60"/>
                  </a:lnTo>
                  <a:lnTo>
                    <a:pt x="58" y="60"/>
                  </a:lnTo>
                  <a:lnTo>
                    <a:pt x="50" y="58"/>
                  </a:lnTo>
                  <a:lnTo>
                    <a:pt x="50" y="58"/>
                  </a:lnTo>
                  <a:lnTo>
                    <a:pt x="50" y="54"/>
                  </a:lnTo>
                  <a:lnTo>
                    <a:pt x="50" y="54"/>
                  </a:lnTo>
                  <a:lnTo>
                    <a:pt x="46" y="52"/>
                  </a:lnTo>
                  <a:lnTo>
                    <a:pt x="40" y="54"/>
                  </a:lnTo>
                  <a:lnTo>
                    <a:pt x="40" y="54"/>
                  </a:lnTo>
                  <a:lnTo>
                    <a:pt x="42" y="52"/>
                  </a:lnTo>
                  <a:lnTo>
                    <a:pt x="42" y="52"/>
                  </a:lnTo>
                  <a:lnTo>
                    <a:pt x="42" y="52"/>
                  </a:lnTo>
                  <a:lnTo>
                    <a:pt x="40" y="48"/>
                  </a:lnTo>
                  <a:lnTo>
                    <a:pt x="38" y="44"/>
                  </a:lnTo>
                  <a:lnTo>
                    <a:pt x="38" y="44"/>
                  </a:lnTo>
                  <a:lnTo>
                    <a:pt x="42" y="48"/>
                  </a:lnTo>
                  <a:lnTo>
                    <a:pt x="42" y="48"/>
                  </a:lnTo>
                  <a:lnTo>
                    <a:pt x="46" y="48"/>
                  </a:lnTo>
                  <a:lnTo>
                    <a:pt x="44" y="44"/>
                  </a:lnTo>
                  <a:lnTo>
                    <a:pt x="40" y="40"/>
                  </a:lnTo>
                  <a:lnTo>
                    <a:pt x="40" y="40"/>
                  </a:lnTo>
                  <a:lnTo>
                    <a:pt x="40" y="36"/>
                  </a:lnTo>
                  <a:lnTo>
                    <a:pt x="38" y="32"/>
                  </a:lnTo>
                  <a:lnTo>
                    <a:pt x="38" y="32"/>
                  </a:lnTo>
                  <a:lnTo>
                    <a:pt x="36" y="32"/>
                  </a:lnTo>
                  <a:lnTo>
                    <a:pt x="34" y="30"/>
                  </a:lnTo>
                  <a:lnTo>
                    <a:pt x="34" y="30"/>
                  </a:lnTo>
                  <a:lnTo>
                    <a:pt x="36" y="24"/>
                  </a:lnTo>
                  <a:lnTo>
                    <a:pt x="40" y="20"/>
                  </a:lnTo>
                  <a:lnTo>
                    <a:pt x="40" y="20"/>
                  </a:lnTo>
                  <a:lnTo>
                    <a:pt x="42" y="26"/>
                  </a:lnTo>
                  <a:lnTo>
                    <a:pt x="46" y="32"/>
                  </a:lnTo>
                  <a:lnTo>
                    <a:pt x="46" y="32"/>
                  </a:lnTo>
                  <a:lnTo>
                    <a:pt x="50" y="32"/>
                  </a:lnTo>
                  <a:lnTo>
                    <a:pt x="50" y="32"/>
                  </a:lnTo>
                  <a:lnTo>
                    <a:pt x="46" y="28"/>
                  </a:lnTo>
                  <a:lnTo>
                    <a:pt x="46" y="28"/>
                  </a:lnTo>
                  <a:lnTo>
                    <a:pt x="48" y="28"/>
                  </a:lnTo>
                  <a:lnTo>
                    <a:pt x="48" y="26"/>
                  </a:lnTo>
                  <a:lnTo>
                    <a:pt x="48" y="26"/>
                  </a:lnTo>
                  <a:lnTo>
                    <a:pt x="54" y="28"/>
                  </a:lnTo>
                  <a:lnTo>
                    <a:pt x="54" y="28"/>
                  </a:lnTo>
                  <a:lnTo>
                    <a:pt x="54" y="26"/>
                  </a:lnTo>
                  <a:lnTo>
                    <a:pt x="54" y="24"/>
                  </a:lnTo>
                  <a:lnTo>
                    <a:pt x="54" y="24"/>
                  </a:lnTo>
                  <a:lnTo>
                    <a:pt x="58" y="24"/>
                  </a:lnTo>
                  <a:lnTo>
                    <a:pt x="56" y="22"/>
                  </a:lnTo>
                  <a:lnTo>
                    <a:pt x="56" y="22"/>
                  </a:lnTo>
                  <a:lnTo>
                    <a:pt x="52" y="18"/>
                  </a:lnTo>
                  <a:lnTo>
                    <a:pt x="52" y="16"/>
                  </a:lnTo>
                  <a:lnTo>
                    <a:pt x="52" y="14"/>
                  </a:lnTo>
                  <a:lnTo>
                    <a:pt x="62" y="14"/>
                  </a:lnTo>
                  <a:lnTo>
                    <a:pt x="62" y="14"/>
                  </a:lnTo>
                  <a:lnTo>
                    <a:pt x="68" y="16"/>
                  </a:lnTo>
                  <a:lnTo>
                    <a:pt x="68" y="16"/>
                  </a:lnTo>
                  <a:lnTo>
                    <a:pt x="82" y="14"/>
                  </a:lnTo>
                  <a:lnTo>
                    <a:pt x="82" y="14"/>
                  </a:lnTo>
                  <a:lnTo>
                    <a:pt x="82" y="16"/>
                  </a:lnTo>
                  <a:lnTo>
                    <a:pt x="84" y="18"/>
                  </a:lnTo>
                  <a:lnTo>
                    <a:pt x="84" y="18"/>
                  </a:lnTo>
                  <a:lnTo>
                    <a:pt x="86" y="16"/>
                  </a:lnTo>
                  <a:lnTo>
                    <a:pt x="88" y="14"/>
                  </a:lnTo>
                  <a:lnTo>
                    <a:pt x="88" y="10"/>
                  </a:lnTo>
                  <a:lnTo>
                    <a:pt x="88" y="10"/>
                  </a:lnTo>
                  <a:lnTo>
                    <a:pt x="90" y="8"/>
                  </a:lnTo>
                  <a:lnTo>
                    <a:pt x="90" y="10"/>
                  </a:lnTo>
                  <a:lnTo>
                    <a:pt x="94" y="10"/>
                  </a:lnTo>
                  <a:lnTo>
                    <a:pt x="96" y="10"/>
                  </a:lnTo>
                  <a:lnTo>
                    <a:pt x="96" y="10"/>
                  </a:lnTo>
                  <a:lnTo>
                    <a:pt x="98" y="8"/>
                  </a:lnTo>
                  <a:lnTo>
                    <a:pt x="98" y="6"/>
                  </a:lnTo>
                  <a:lnTo>
                    <a:pt x="96" y="4"/>
                  </a:lnTo>
                  <a:lnTo>
                    <a:pt x="92" y="0"/>
                  </a:lnTo>
                  <a:lnTo>
                    <a:pt x="92" y="0"/>
                  </a:lnTo>
                  <a:lnTo>
                    <a:pt x="88" y="0"/>
                  </a:lnTo>
                  <a:lnTo>
                    <a:pt x="86" y="2"/>
                  </a:lnTo>
                  <a:lnTo>
                    <a:pt x="86" y="4"/>
                  </a:lnTo>
                  <a:lnTo>
                    <a:pt x="86" y="4"/>
                  </a:lnTo>
                  <a:lnTo>
                    <a:pt x="88" y="6"/>
                  </a:lnTo>
                  <a:lnTo>
                    <a:pt x="86" y="6"/>
                  </a:lnTo>
                  <a:lnTo>
                    <a:pt x="82" y="6"/>
                  </a:lnTo>
                  <a:lnTo>
                    <a:pt x="82" y="6"/>
                  </a:lnTo>
                  <a:lnTo>
                    <a:pt x="76" y="6"/>
                  </a:lnTo>
                  <a:lnTo>
                    <a:pt x="76" y="6"/>
                  </a:lnTo>
                  <a:lnTo>
                    <a:pt x="76" y="4"/>
                  </a:lnTo>
                  <a:lnTo>
                    <a:pt x="74" y="2"/>
                  </a:lnTo>
                  <a:lnTo>
                    <a:pt x="72" y="2"/>
                  </a:lnTo>
                  <a:lnTo>
                    <a:pt x="72" y="2"/>
                  </a:lnTo>
                  <a:lnTo>
                    <a:pt x="66" y="0"/>
                  </a:lnTo>
                  <a:lnTo>
                    <a:pt x="64" y="2"/>
                  </a:lnTo>
                  <a:lnTo>
                    <a:pt x="62" y="4"/>
                  </a:lnTo>
                  <a:lnTo>
                    <a:pt x="62" y="4"/>
                  </a:lnTo>
                  <a:lnTo>
                    <a:pt x="60" y="8"/>
                  </a:lnTo>
                  <a:lnTo>
                    <a:pt x="56" y="8"/>
                  </a:lnTo>
                  <a:lnTo>
                    <a:pt x="56" y="8"/>
                  </a:lnTo>
                  <a:lnTo>
                    <a:pt x="50" y="6"/>
                  </a:lnTo>
                  <a:lnTo>
                    <a:pt x="46" y="6"/>
                  </a:lnTo>
                  <a:lnTo>
                    <a:pt x="46" y="6"/>
                  </a:lnTo>
                  <a:lnTo>
                    <a:pt x="46" y="6"/>
                  </a:lnTo>
                  <a:lnTo>
                    <a:pt x="44" y="10"/>
                  </a:lnTo>
                  <a:lnTo>
                    <a:pt x="44" y="10"/>
                  </a:lnTo>
                  <a:lnTo>
                    <a:pt x="44" y="12"/>
                  </a:lnTo>
                  <a:lnTo>
                    <a:pt x="44" y="12"/>
                  </a:lnTo>
                  <a:lnTo>
                    <a:pt x="42" y="12"/>
                  </a:lnTo>
                  <a:lnTo>
                    <a:pt x="42" y="12"/>
                  </a:lnTo>
                  <a:lnTo>
                    <a:pt x="38" y="12"/>
                  </a:lnTo>
                  <a:lnTo>
                    <a:pt x="36" y="14"/>
                  </a:lnTo>
                  <a:lnTo>
                    <a:pt x="34" y="14"/>
                  </a:lnTo>
                  <a:lnTo>
                    <a:pt x="34" y="14"/>
                  </a:lnTo>
                  <a:lnTo>
                    <a:pt x="34" y="16"/>
                  </a:lnTo>
                  <a:lnTo>
                    <a:pt x="32" y="16"/>
                  </a:lnTo>
                  <a:lnTo>
                    <a:pt x="32" y="16"/>
                  </a:lnTo>
                  <a:lnTo>
                    <a:pt x="30" y="18"/>
                  </a:lnTo>
                  <a:lnTo>
                    <a:pt x="30" y="18"/>
                  </a:lnTo>
                  <a:lnTo>
                    <a:pt x="28" y="20"/>
                  </a:lnTo>
                  <a:lnTo>
                    <a:pt x="26" y="20"/>
                  </a:lnTo>
                  <a:lnTo>
                    <a:pt x="26" y="20"/>
                  </a:lnTo>
                  <a:lnTo>
                    <a:pt x="14" y="20"/>
                  </a:lnTo>
                  <a:lnTo>
                    <a:pt x="14" y="26"/>
                  </a:lnTo>
                  <a:lnTo>
                    <a:pt x="14" y="26"/>
                  </a:lnTo>
                  <a:lnTo>
                    <a:pt x="12" y="32"/>
                  </a:lnTo>
                  <a:lnTo>
                    <a:pt x="12" y="32"/>
                  </a:lnTo>
                  <a:lnTo>
                    <a:pt x="8" y="34"/>
                  </a:lnTo>
                  <a:lnTo>
                    <a:pt x="8" y="34"/>
                  </a:lnTo>
                  <a:lnTo>
                    <a:pt x="8" y="34"/>
                  </a:lnTo>
                  <a:lnTo>
                    <a:pt x="8" y="36"/>
                  </a:lnTo>
                  <a:lnTo>
                    <a:pt x="8" y="36"/>
                  </a:lnTo>
                  <a:lnTo>
                    <a:pt x="6" y="36"/>
                  </a:lnTo>
                  <a:lnTo>
                    <a:pt x="2" y="36"/>
                  </a:lnTo>
                  <a:close/>
                  <a:moveTo>
                    <a:pt x="50" y="116"/>
                  </a:moveTo>
                  <a:lnTo>
                    <a:pt x="50" y="116"/>
                  </a:lnTo>
                  <a:lnTo>
                    <a:pt x="46" y="118"/>
                  </a:lnTo>
                  <a:lnTo>
                    <a:pt x="46" y="118"/>
                  </a:lnTo>
                  <a:lnTo>
                    <a:pt x="46" y="120"/>
                  </a:lnTo>
                  <a:lnTo>
                    <a:pt x="46" y="120"/>
                  </a:lnTo>
                  <a:lnTo>
                    <a:pt x="56" y="124"/>
                  </a:lnTo>
                  <a:lnTo>
                    <a:pt x="56" y="124"/>
                  </a:lnTo>
                  <a:lnTo>
                    <a:pt x="62" y="124"/>
                  </a:lnTo>
                  <a:lnTo>
                    <a:pt x="62" y="124"/>
                  </a:lnTo>
                  <a:lnTo>
                    <a:pt x="66" y="126"/>
                  </a:lnTo>
                  <a:lnTo>
                    <a:pt x="68" y="128"/>
                  </a:lnTo>
                  <a:lnTo>
                    <a:pt x="72" y="128"/>
                  </a:lnTo>
                  <a:lnTo>
                    <a:pt x="74" y="126"/>
                  </a:lnTo>
                  <a:lnTo>
                    <a:pt x="74" y="126"/>
                  </a:lnTo>
                  <a:lnTo>
                    <a:pt x="78" y="126"/>
                  </a:lnTo>
                  <a:lnTo>
                    <a:pt x="80" y="126"/>
                  </a:lnTo>
                  <a:lnTo>
                    <a:pt x="80" y="126"/>
                  </a:lnTo>
                  <a:lnTo>
                    <a:pt x="84" y="126"/>
                  </a:lnTo>
                  <a:lnTo>
                    <a:pt x="84" y="126"/>
                  </a:lnTo>
                  <a:lnTo>
                    <a:pt x="86" y="124"/>
                  </a:lnTo>
                  <a:lnTo>
                    <a:pt x="84" y="122"/>
                  </a:lnTo>
                  <a:lnTo>
                    <a:pt x="84" y="122"/>
                  </a:lnTo>
                  <a:lnTo>
                    <a:pt x="80" y="122"/>
                  </a:lnTo>
                  <a:lnTo>
                    <a:pt x="80" y="122"/>
                  </a:lnTo>
                  <a:lnTo>
                    <a:pt x="80" y="118"/>
                  </a:lnTo>
                  <a:lnTo>
                    <a:pt x="80" y="118"/>
                  </a:lnTo>
                  <a:lnTo>
                    <a:pt x="78" y="118"/>
                  </a:lnTo>
                  <a:lnTo>
                    <a:pt x="78" y="118"/>
                  </a:lnTo>
                  <a:lnTo>
                    <a:pt x="78" y="120"/>
                  </a:lnTo>
                  <a:lnTo>
                    <a:pt x="78" y="120"/>
                  </a:lnTo>
                  <a:lnTo>
                    <a:pt x="68" y="120"/>
                  </a:lnTo>
                  <a:lnTo>
                    <a:pt x="68" y="120"/>
                  </a:lnTo>
                  <a:lnTo>
                    <a:pt x="58" y="118"/>
                  </a:lnTo>
                  <a:lnTo>
                    <a:pt x="50" y="116"/>
                  </a:lnTo>
                  <a:lnTo>
                    <a:pt x="50" y="116"/>
                  </a:lnTo>
                  <a:close/>
                  <a:moveTo>
                    <a:pt x="40" y="54"/>
                  </a:moveTo>
                  <a:lnTo>
                    <a:pt x="40" y="54"/>
                  </a:lnTo>
                  <a:lnTo>
                    <a:pt x="42" y="56"/>
                  </a:lnTo>
                  <a:lnTo>
                    <a:pt x="42" y="56"/>
                  </a:lnTo>
                  <a:lnTo>
                    <a:pt x="38" y="54"/>
                  </a:lnTo>
                  <a:lnTo>
                    <a:pt x="40" y="54"/>
                  </a:lnTo>
                  <a:lnTo>
                    <a:pt x="40" y="54"/>
                  </a:lnTo>
                  <a:close/>
                  <a:moveTo>
                    <a:pt x="84" y="46"/>
                  </a:moveTo>
                  <a:lnTo>
                    <a:pt x="84" y="46"/>
                  </a:lnTo>
                  <a:lnTo>
                    <a:pt x="82" y="48"/>
                  </a:lnTo>
                  <a:lnTo>
                    <a:pt x="84" y="48"/>
                  </a:lnTo>
                  <a:lnTo>
                    <a:pt x="84" y="48"/>
                  </a:lnTo>
                  <a:lnTo>
                    <a:pt x="84" y="52"/>
                  </a:lnTo>
                  <a:lnTo>
                    <a:pt x="84" y="52"/>
                  </a:lnTo>
                  <a:lnTo>
                    <a:pt x="88" y="52"/>
                  </a:lnTo>
                  <a:lnTo>
                    <a:pt x="88" y="52"/>
                  </a:lnTo>
                  <a:lnTo>
                    <a:pt x="88" y="50"/>
                  </a:lnTo>
                  <a:lnTo>
                    <a:pt x="88" y="50"/>
                  </a:lnTo>
                  <a:lnTo>
                    <a:pt x="88" y="46"/>
                  </a:lnTo>
                  <a:lnTo>
                    <a:pt x="88" y="46"/>
                  </a:lnTo>
                  <a:lnTo>
                    <a:pt x="84" y="46"/>
                  </a:lnTo>
                  <a:lnTo>
                    <a:pt x="84" y="46"/>
                  </a:lnTo>
                  <a:close/>
                  <a:moveTo>
                    <a:pt x="0" y="36"/>
                  </a:moveTo>
                  <a:lnTo>
                    <a:pt x="0" y="36"/>
                  </a:lnTo>
                  <a:lnTo>
                    <a:pt x="0" y="40"/>
                  </a:lnTo>
                  <a:lnTo>
                    <a:pt x="0" y="40"/>
                  </a:lnTo>
                  <a:lnTo>
                    <a:pt x="0" y="40"/>
                  </a:lnTo>
                  <a:lnTo>
                    <a:pt x="2" y="40"/>
                  </a:lnTo>
                  <a:lnTo>
                    <a:pt x="0" y="36"/>
                  </a:lnTo>
                  <a:lnTo>
                    <a:pt x="0" y="3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8" name="Freeform 181"/>
            <p:cNvSpPr>
              <a:spLocks noChangeAspect="1"/>
            </p:cNvSpPr>
            <p:nvPr/>
          </p:nvSpPr>
          <p:spPr bwMode="gray">
            <a:xfrm>
              <a:off x="4416616" y="2805670"/>
              <a:ext cx="205714" cy="256615"/>
            </a:xfrm>
            <a:custGeom>
              <a:avLst/>
              <a:gdLst/>
              <a:ahLst/>
              <a:cxnLst>
                <a:cxn ang="0">
                  <a:pos x="113" y="20"/>
                </a:cxn>
                <a:cxn ang="0">
                  <a:pos x="107" y="18"/>
                </a:cxn>
                <a:cxn ang="0">
                  <a:pos x="93" y="14"/>
                </a:cxn>
                <a:cxn ang="0">
                  <a:pos x="89" y="22"/>
                </a:cxn>
                <a:cxn ang="0">
                  <a:pos x="83" y="24"/>
                </a:cxn>
                <a:cxn ang="0">
                  <a:pos x="83" y="26"/>
                </a:cxn>
                <a:cxn ang="0">
                  <a:pos x="71" y="18"/>
                </a:cxn>
                <a:cxn ang="0">
                  <a:pos x="62" y="12"/>
                </a:cxn>
                <a:cxn ang="0">
                  <a:pos x="58" y="6"/>
                </a:cxn>
                <a:cxn ang="0">
                  <a:pos x="64" y="2"/>
                </a:cxn>
                <a:cxn ang="0">
                  <a:pos x="62" y="0"/>
                </a:cxn>
                <a:cxn ang="0">
                  <a:pos x="56" y="2"/>
                </a:cxn>
                <a:cxn ang="0">
                  <a:pos x="42" y="6"/>
                </a:cxn>
                <a:cxn ang="0">
                  <a:pos x="46" y="12"/>
                </a:cxn>
                <a:cxn ang="0">
                  <a:pos x="46" y="20"/>
                </a:cxn>
                <a:cxn ang="0">
                  <a:pos x="44" y="28"/>
                </a:cxn>
                <a:cxn ang="0">
                  <a:pos x="40" y="38"/>
                </a:cxn>
                <a:cxn ang="0">
                  <a:pos x="26" y="38"/>
                </a:cxn>
                <a:cxn ang="0">
                  <a:pos x="28" y="46"/>
                </a:cxn>
                <a:cxn ang="0">
                  <a:pos x="24" y="56"/>
                </a:cxn>
                <a:cxn ang="0">
                  <a:pos x="24" y="60"/>
                </a:cxn>
                <a:cxn ang="0">
                  <a:pos x="18" y="64"/>
                </a:cxn>
                <a:cxn ang="0">
                  <a:pos x="12" y="66"/>
                </a:cxn>
                <a:cxn ang="0">
                  <a:pos x="4" y="70"/>
                </a:cxn>
                <a:cxn ang="0">
                  <a:pos x="6" y="88"/>
                </a:cxn>
                <a:cxn ang="0">
                  <a:pos x="4" y="90"/>
                </a:cxn>
                <a:cxn ang="0">
                  <a:pos x="6" y="96"/>
                </a:cxn>
                <a:cxn ang="0">
                  <a:pos x="8" y="104"/>
                </a:cxn>
                <a:cxn ang="0">
                  <a:pos x="10" y="110"/>
                </a:cxn>
                <a:cxn ang="0">
                  <a:pos x="10" y="118"/>
                </a:cxn>
                <a:cxn ang="0">
                  <a:pos x="20" y="118"/>
                </a:cxn>
                <a:cxn ang="0">
                  <a:pos x="28" y="120"/>
                </a:cxn>
                <a:cxn ang="0">
                  <a:pos x="34" y="124"/>
                </a:cxn>
                <a:cxn ang="0">
                  <a:pos x="32" y="138"/>
                </a:cxn>
                <a:cxn ang="0">
                  <a:pos x="34" y="152"/>
                </a:cxn>
                <a:cxn ang="0">
                  <a:pos x="42" y="146"/>
                </a:cxn>
                <a:cxn ang="0">
                  <a:pos x="50" y="148"/>
                </a:cxn>
                <a:cxn ang="0">
                  <a:pos x="68" y="150"/>
                </a:cxn>
                <a:cxn ang="0">
                  <a:pos x="75" y="150"/>
                </a:cxn>
                <a:cxn ang="0">
                  <a:pos x="83" y="144"/>
                </a:cxn>
                <a:cxn ang="0">
                  <a:pos x="91" y="146"/>
                </a:cxn>
                <a:cxn ang="0">
                  <a:pos x="99" y="150"/>
                </a:cxn>
                <a:cxn ang="0">
                  <a:pos x="97" y="140"/>
                </a:cxn>
                <a:cxn ang="0">
                  <a:pos x="99" y="136"/>
                </a:cxn>
                <a:cxn ang="0">
                  <a:pos x="103" y="132"/>
                </a:cxn>
                <a:cxn ang="0">
                  <a:pos x="109" y="124"/>
                </a:cxn>
                <a:cxn ang="0">
                  <a:pos x="101" y="118"/>
                </a:cxn>
                <a:cxn ang="0">
                  <a:pos x="97" y="110"/>
                </a:cxn>
                <a:cxn ang="0">
                  <a:pos x="89" y="98"/>
                </a:cxn>
                <a:cxn ang="0">
                  <a:pos x="91" y="92"/>
                </a:cxn>
                <a:cxn ang="0">
                  <a:pos x="101" y="86"/>
                </a:cxn>
                <a:cxn ang="0">
                  <a:pos x="121" y="82"/>
                </a:cxn>
                <a:cxn ang="0">
                  <a:pos x="119" y="60"/>
                </a:cxn>
                <a:cxn ang="0">
                  <a:pos x="119" y="46"/>
                </a:cxn>
                <a:cxn ang="0">
                  <a:pos x="115" y="38"/>
                </a:cxn>
              </a:cxnLst>
              <a:rect l="0" t="0" r="r" b="b"/>
              <a:pathLst>
                <a:path w="121" h="156">
                  <a:moveTo>
                    <a:pt x="117" y="22"/>
                  </a:moveTo>
                  <a:lnTo>
                    <a:pt x="117" y="22"/>
                  </a:lnTo>
                  <a:lnTo>
                    <a:pt x="113" y="20"/>
                  </a:lnTo>
                  <a:lnTo>
                    <a:pt x="113" y="20"/>
                  </a:lnTo>
                  <a:lnTo>
                    <a:pt x="113" y="18"/>
                  </a:lnTo>
                  <a:lnTo>
                    <a:pt x="113" y="18"/>
                  </a:lnTo>
                  <a:lnTo>
                    <a:pt x="109" y="18"/>
                  </a:lnTo>
                  <a:lnTo>
                    <a:pt x="107" y="18"/>
                  </a:lnTo>
                  <a:lnTo>
                    <a:pt x="107" y="18"/>
                  </a:lnTo>
                  <a:lnTo>
                    <a:pt x="101" y="16"/>
                  </a:lnTo>
                  <a:lnTo>
                    <a:pt x="101" y="16"/>
                  </a:lnTo>
                  <a:lnTo>
                    <a:pt x="93" y="14"/>
                  </a:lnTo>
                  <a:lnTo>
                    <a:pt x="93" y="14"/>
                  </a:lnTo>
                  <a:lnTo>
                    <a:pt x="91" y="18"/>
                  </a:lnTo>
                  <a:lnTo>
                    <a:pt x="89" y="22"/>
                  </a:lnTo>
                  <a:lnTo>
                    <a:pt x="89" y="22"/>
                  </a:lnTo>
                  <a:lnTo>
                    <a:pt x="87" y="22"/>
                  </a:lnTo>
                  <a:lnTo>
                    <a:pt x="83" y="22"/>
                  </a:lnTo>
                  <a:lnTo>
                    <a:pt x="83" y="22"/>
                  </a:lnTo>
                  <a:lnTo>
                    <a:pt x="83" y="24"/>
                  </a:lnTo>
                  <a:lnTo>
                    <a:pt x="83" y="24"/>
                  </a:lnTo>
                  <a:lnTo>
                    <a:pt x="83" y="26"/>
                  </a:lnTo>
                  <a:lnTo>
                    <a:pt x="83" y="26"/>
                  </a:lnTo>
                  <a:lnTo>
                    <a:pt x="83" y="26"/>
                  </a:lnTo>
                  <a:lnTo>
                    <a:pt x="75" y="24"/>
                  </a:lnTo>
                  <a:lnTo>
                    <a:pt x="75" y="24"/>
                  </a:lnTo>
                  <a:lnTo>
                    <a:pt x="75" y="20"/>
                  </a:lnTo>
                  <a:lnTo>
                    <a:pt x="71" y="18"/>
                  </a:lnTo>
                  <a:lnTo>
                    <a:pt x="71" y="18"/>
                  </a:lnTo>
                  <a:lnTo>
                    <a:pt x="66" y="20"/>
                  </a:lnTo>
                  <a:lnTo>
                    <a:pt x="66" y="20"/>
                  </a:lnTo>
                  <a:lnTo>
                    <a:pt x="62" y="12"/>
                  </a:lnTo>
                  <a:lnTo>
                    <a:pt x="62" y="12"/>
                  </a:lnTo>
                  <a:lnTo>
                    <a:pt x="62" y="8"/>
                  </a:lnTo>
                  <a:lnTo>
                    <a:pt x="62" y="8"/>
                  </a:lnTo>
                  <a:lnTo>
                    <a:pt x="58" y="6"/>
                  </a:lnTo>
                  <a:lnTo>
                    <a:pt x="58" y="6"/>
                  </a:lnTo>
                  <a:lnTo>
                    <a:pt x="60" y="4"/>
                  </a:lnTo>
                  <a:lnTo>
                    <a:pt x="60" y="4"/>
                  </a:lnTo>
                  <a:lnTo>
                    <a:pt x="64" y="2"/>
                  </a:lnTo>
                  <a:lnTo>
                    <a:pt x="64" y="2"/>
                  </a:lnTo>
                  <a:lnTo>
                    <a:pt x="64" y="0"/>
                  </a:lnTo>
                  <a:lnTo>
                    <a:pt x="62" y="0"/>
                  </a:lnTo>
                  <a:lnTo>
                    <a:pt x="62" y="0"/>
                  </a:lnTo>
                  <a:lnTo>
                    <a:pt x="60" y="2"/>
                  </a:lnTo>
                  <a:lnTo>
                    <a:pt x="60" y="2"/>
                  </a:lnTo>
                  <a:lnTo>
                    <a:pt x="56" y="2"/>
                  </a:lnTo>
                  <a:lnTo>
                    <a:pt x="56" y="2"/>
                  </a:lnTo>
                  <a:lnTo>
                    <a:pt x="56" y="0"/>
                  </a:lnTo>
                  <a:lnTo>
                    <a:pt x="44" y="0"/>
                  </a:lnTo>
                  <a:lnTo>
                    <a:pt x="44" y="0"/>
                  </a:lnTo>
                  <a:lnTo>
                    <a:pt x="42" y="6"/>
                  </a:lnTo>
                  <a:lnTo>
                    <a:pt x="44" y="6"/>
                  </a:lnTo>
                  <a:lnTo>
                    <a:pt x="44" y="6"/>
                  </a:lnTo>
                  <a:lnTo>
                    <a:pt x="46" y="12"/>
                  </a:lnTo>
                  <a:lnTo>
                    <a:pt x="46" y="12"/>
                  </a:lnTo>
                  <a:lnTo>
                    <a:pt x="46" y="12"/>
                  </a:lnTo>
                  <a:lnTo>
                    <a:pt x="46" y="12"/>
                  </a:lnTo>
                  <a:lnTo>
                    <a:pt x="46" y="18"/>
                  </a:lnTo>
                  <a:lnTo>
                    <a:pt x="46" y="20"/>
                  </a:lnTo>
                  <a:lnTo>
                    <a:pt x="46" y="24"/>
                  </a:lnTo>
                  <a:lnTo>
                    <a:pt x="50" y="28"/>
                  </a:lnTo>
                  <a:lnTo>
                    <a:pt x="50" y="28"/>
                  </a:lnTo>
                  <a:lnTo>
                    <a:pt x="44" y="28"/>
                  </a:lnTo>
                  <a:lnTo>
                    <a:pt x="44" y="28"/>
                  </a:lnTo>
                  <a:lnTo>
                    <a:pt x="42" y="34"/>
                  </a:lnTo>
                  <a:lnTo>
                    <a:pt x="40" y="38"/>
                  </a:lnTo>
                  <a:lnTo>
                    <a:pt x="40" y="38"/>
                  </a:lnTo>
                  <a:lnTo>
                    <a:pt x="36" y="34"/>
                  </a:lnTo>
                  <a:lnTo>
                    <a:pt x="36" y="34"/>
                  </a:lnTo>
                  <a:lnTo>
                    <a:pt x="30" y="36"/>
                  </a:lnTo>
                  <a:lnTo>
                    <a:pt x="26" y="38"/>
                  </a:lnTo>
                  <a:lnTo>
                    <a:pt x="26" y="40"/>
                  </a:lnTo>
                  <a:lnTo>
                    <a:pt x="30" y="46"/>
                  </a:lnTo>
                  <a:lnTo>
                    <a:pt x="28" y="46"/>
                  </a:lnTo>
                  <a:lnTo>
                    <a:pt x="28" y="46"/>
                  </a:lnTo>
                  <a:lnTo>
                    <a:pt x="28" y="52"/>
                  </a:lnTo>
                  <a:lnTo>
                    <a:pt x="26" y="54"/>
                  </a:lnTo>
                  <a:lnTo>
                    <a:pt x="24" y="56"/>
                  </a:lnTo>
                  <a:lnTo>
                    <a:pt x="24" y="56"/>
                  </a:lnTo>
                  <a:lnTo>
                    <a:pt x="22" y="56"/>
                  </a:lnTo>
                  <a:lnTo>
                    <a:pt x="22" y="56"/>
                  </a:lnTo>
                  <a:lnTo>
                    <a:pt x="24" y="60"/>
                  </a:lnTo>
                  <a:lnTo>
                    <a:pt x="24" y="60"/>
                  </a:lnTo>
                  <a:lnTo>
                    <a:pt x="24" y="62"/>
                  </a:lnTo>
                  <a:lnTo>
                    <a:pt x="22" y="62"/>
                  </a:lnTo>
                  <a:lnTo>
                    <a:pt x="18" y="64"/>
                  </a:lnTo>
                  <a:lnTo>
                    <a:pt x="18" y="64"/>
                  </a:lnTo>
                  <a:lnTo>
                    <a:pt x="18" y="66"/>
                  </a:lnTo>
                  <a:lnTo>
                    <a:pt x="16" y="68"/>
                  </a:lnTo>
                  <a:lnTo>
                    <a:pt x="12" y="66"/>
                  </a:lnTo>
                  <a:lnTo>
                    <a:pt x="12" y="66"/>
                  </a:lnTo>
                  <a:lnTo>
                    <a:pt x="8" y="66"/>
                  </a:lnTo>
                  <a:lnTo>
                    <a:pt x="6" y="66"/>
                  </a:lnTo>
                  <a:lnTo>
                    <a:pt x="4" y="70"/>
                  </a:lnTo>
                  <a:lnTo>
                    <a:pt x="4" y="70"/>
                  </a:lnTo>
                  <a:lnTo>
                    <a:pt x="0" y="84"/>
                  </a:lnTo>
                  <a:lnTo>
                    <a:pt x="0" y="84"/>
                  </a:lnTo>
                  <a:lnTo>
                    <a:pt x="2" y="86"/>
                  </a:lnTo>
                  <a:lnTo>
                    <a:pt x="6" y="88"/>
                  </a:lnTo>
                  <a:lnTo>
                    <a:pt x="6" y="88"/>
                  </a:lnTo>
                  <a:lnTo>
                    <a:pt x="6" y="88"/>
                  </a:lnTo>
                  <a:lnTo>
                    <a:pt x="4" y="88"/>
                  </a:lnTo>
                  <a:lnTo>
                    <a:pt x="4" y="90"/>
                  </a:lnTo>
                  <a:lnTo>
                    <a:pt x="4" y="92"/>
                  </a:lnTo>
                  <a:lnTo>
                    <a:pt x="4" y="92"/>
                  </a:lnTo>
                  <a:lnTo>
                    <a:pt x="6" y="94"/>
                  </a:lnTo>
                  <a:lnTo>
                    <a:pt x="6" y="96"/>
                  </a:lnTo>
                  <a:lnTo>
                    <a:pt x="6" y="100"/>
                  </a:lnTo>
                  <a:lnTo>
                    <a:pt x="6" y="100"/>
                  </a:lnTo>
                  <a:lnTo>
                    <a:pt x="6" y="102"/>
                  </a:lnTo>
                  <a:lnTo>
                    <a:pt x="8" y="104"/>
                  </a:lnTo>
                  <a:lnTo>
                    <a:pt x="8" y="104"/>
                  </a:lnTo>
                  <a:lnTo>
                    <a:pt x="10" y="106"/>
                  </a:lnTo>
                  <a:lnTo>
                    <a:pt x="10" y="106"/>
                  </a:lnTo>
                  <a:lnTo>
                    <a:pt x="10" y="110"/>
                  </a:lnTo>
                  <a:lnTo>
                    <a:pt x="10" y="110"/>
                  </a:lnTo>
                  <a:lnTo>
                    <a:pt x="8" y="112"/>
                  </a:lnTo>
                  <a:lnTo>
                    <a:pt x="8" y="116"/>
                  </a:lnTo>
                  <a:lnTo>
                    <a:pt x="10" y="118"/>
                  </a:lnTo>
                  <a:lnTo>
                    <a:pt x="10" y="118"/>
                  </a:lnTo>
                  <a:lnTo>
                    <a:pt x="14" y="116"/>
                  </a:lnTo>
                  <a:lnTo>
                    <a:pt x="18" y="116"/>
                  </a:lnTo>
                  <a:lnTo>
                    <a:pt x="20" y="118"/>
                  </a:lnTo>
                  <a:lnTo>
                    <a:pt x="20" y="118"/>
                  </a:lnTo>
                  <a:lnTo>
                    <a:pt x="22" y="120"/>
                  </a:lnTo>
                  <a:lnTo>
                    <a:pt x="24" y="122"/>
                  </a:lnTo>
                  <a:lnTo>
                    <a:pt x="28" y="120"/>
                  </a:lnTo>
                  <a:lnTo>
                    <a:pt x="28" y="120"/>
                  </a:lnTo>
                  <a:lnTo>
                    <a:pt x="34" y="122"/>
                  </a:lnTo>
                  <a:lnTo>
                    <a:pt x="34" y="122"/>
                  </a:lnTo>
                  <a:lnTo>
                    <a:pt x="34" y="124"/>
                  </a:lnTo>
                  <a:lnTo>
                    <a:pt x="34" y="130"/>
                  </a:lnTo>
                  <a:lnTo>
                    <a:pt x="34" y="130"/>
                  </a:lnTo>
                  <a:lnTo>
                    <a:pt x="32" y="134"/>
                  </a:lnTo>
                  <a:lnTo>
                    <a:pt x="32" y="138"/>
                  </a:lnTo>
                  <a:lnTo>
                    <a:pt x="32" y="138"/>
                  </a:lnTo>
                  <a:lnTo>
                    <a:pt x="32" y="144"/>
                  </a:lnTo>
                  <a:lnTo>
                    <a:pt x="32" y="148"/>
                  </a:lnTo>
                  <a:lnTo>
                    <a:pt x="34" y="152"/>
                  </a:lnTo>
                  <a:lnTo>
                    <a:pt x="34" y="152"/>
                  </a:lnTo>
                  <a:lnTo>
                    <a:pt x="40" y="148"/>
                  </a:lnTo>
                  <a:lnTo>
                    <a:pt x="40" y="148"/>
                  </a:lnTo>
                  <a:lnTo>
                    <a:pt x="42" y="146"/>
                  </a:lnTo>
                  <a:lnTo>
                    <a:pt x="44" y="146"/>
                  </a:lnTo>
                  <a:lnTo>
                    <a:pt x="46" y="146"/>
                  </a:lnTo>
                  <a:lnTo>
                    <a:pt x="46" y="146"/>
                  </a:lnTo>
                  <a:lnTo>
                    <a:pt x="50" y="148"/>
                  </a:lnTo>
                  <a:lnTo>
                    <a:pt x="62" y="156"/>
                  </a:lnTo>
                  <a:lnTo>
                    <a:pt x="62" y="156"/>
                  </a:lnTo>
                  <a:lnTo>
                    <a:pt x="64" y="152"/>
                  </a:lnTo>
                  <a:lnTo>
                    <a:pt x="68" y="150"/>
                  </a:lnTo>
                  <a:lnTo>
                    <a:pt x="68" y="150"/>
                  </a:lnTo>
                  <a:lnTo>
                    <a:pt x="71" y="150"/>
                  </a:lnTo>
                  <a:lnTo>
                    <a:pt x="75" y="150"/>
                  </a:lnTo>
                  <a:lnTo>
                    <a:pt x="75" y="150"/>
                  </a:lnTo>
                  <a:lnTo>
                    <a:pt x="79" y="148"/>
                  </a:lnTo>
                  <a:lnTo>
                    <a:pt x="81" y="144"/>
                  </a:lnTo>
                  <a:lnTo>
                    <a:pt x="81" y="144"/>
                  </a:lnTo>
                  <a:lnTo>
                    <a:pt x="83" y="144"/>
                  </a:lnTo>
                  <a:lnTo>
                    <a:pt x="85" y="146"/>
                  </a:lnTo>
                  <a:lnTo>
                    <a:pt x="89" y="146"/>
                  </a:lnTo>
                  <a:lnTo>
                    <a:pt x="89" y="146"/>
                  </a:lnTo>
                  <a:lnTo>
                    <a:pt x="91" y="146"/>
                  </a:lnTo>
                  <a:lnTo>
                    <a:pt x="93" y="146"/>
                  </a:lnTo>
                  <a:lnTo>
                    <a:pt x="95" y="150"/>
                  </a:lnTo>
                  <a:lnTo>
                    <a:pt x="95" y="150"/>
                  </a:lnTo>
                  <a:lnTo>
                    <a:pt x="99" y="150"/>
                  </a:lnTo>
                  <a:lnTo>
                    <a:pt x="99" y="144"/>
                  </a:lnTo>
                  <a:lnTo>
                    <a:pt x="99" y="144"/>
                  </a:lnTo>
                  <a:lnTo>
                    <a:pt x="97" y="142"/>
                  </a:lnTo>
                  <a:lnTo>
                    <a:pt x="97" y="140"/>
                  </a:lnTo>
                  <a:lnTo>
                    <a:pt x="95" y="140"/>
                  </a:lnTo>
                  <a:lnTo>
                    <a:pt x="95" y="140"/>
                  </a:lnTo>
                  <a:lnTo>
                    <a:pt x="95" y="138"/>
                  </a:lnTo>
                  <a:lnTo>
                    <a:pt x="99" y="136"/>
                  </a:lnTo>
                  <a:lnTo>
                    <a:pt x="99" y="136"/>
                  </a:lnTo>
                  <a:lnTo>
                    <a:pt x="103" y="134"/>
                  </a:lnTo>
                  <a:lnTo>
                    <a:pt x="103" y="132"/>
                  </a:lnTo>
                  <a:lnTo>
                    <a:pt x="103" y="132"/>
                  </a:lnTo>
                  <a:lnTo>
                    <a:pt x="105" y="128"/>
                  </a:lnTo>
                  <a:lnTo>
                    <a:pt x="107" y="126"/>
                  </a:lnTo>
                  <a:lnTo>
                    <a:pt x="109" y="124"/>
                  </a:lnTo>
                  <a:lnTo>
                    <a:pt x="109" y="124"/>
                  </a:lnTo>
                  <a:lnTo>
                    <a:pt x="105" y="120"/>
                  </a:lnTo>
                  <a:lnTo>
                    <a:pt x="105" y="120"/>
                  </a:lnTo>
                  <a:lnTo>
                    <a:pt x="103" y="118"/>
                  </a:lnTo>
                  <a:lnTo>
                    <a:pt x="101" y="118"/>
                  </a:lnTo>
                  <a:lnTo>
                    <a:pt x="99" y="118"/>
                  </a:lnTo>
                  <a:lnTo>
                    <a:pt x="97" y="114"/>
                  </a:lnTo>
                  <a:lnTo>
                    <a:pt x="97" y="114"/>
                  </a:lnTo>
                  <a:lnTo>
                    <a:pt x="97" y="110"/>
                  </a:lnTo>
                  <a:lnTo>
                    <a:pt x="95" y="106"/>
                  </a:lnTo>
                  <a:lnTo>
                    <a:pt x="95" y="106"/>
                  </a:lnTo>
                  <a:lnTo>
                    <a:pt x="93" y="102"/>
                  </a:lnTo>
                  <a:lnTo>
                    <a:pt x="89" y="98"/>
                  </a:lnTo>
                  <a:lnTo>
                    <a:pt x="89" y="98"/>
                  </a:lnTo>
                  <a:lnTo>
                    <a:pt x="89" y="94"/>
                  </a:lnTo>
                  <a:lnTo>
                    <a:pt x="91" y="92"/>
                  </a:lnTo>
                  <a:lnTo>
                    <a:pt x="91" y="92"/>
                  </a:lnTo>
                  <a:lnTo>
                    <a:pt x="95" y="92"/>
                  </a:lnTo>
                  <a:lnTo>
                    <a:pt x="99" y="90"/>
                  </a:lnTo>
                  <a:lnTo>
                    <a:pt x="99" y="90"/>
                  </a:lnTo>
                  <a:lnTo>
                    <a:pt x="101" y="86"/>
                  </a:lnTo>
                  <a:lnTo>
                    <a:pt x="107" y="84"/>
                  </a:lnTo>
                  <a:lnTo>
                    <a:pt x="107" y="84"/>
                  </a:lnTo>
                  <a:lnTo>
                    <a:pt x="115" y="78"/>
                  </a:lnTo>
                  <a:lnTo>
                    <a:pt x="121" y="82"/>
                  </a:lnTo>
                  <a:lnTo>
                    <a:pt x="121" y="82"/>
                  </a:lnTo>
                  <a:lnTo>
                    <a:pt x="119" y="64"/>
                  </a:lnTo>
                  <a:lnTo>
                    <a:pt x="119" y="64"/>
                  </a:lnTo>
                  <a:lnTo>
                    <a:pt x="119" y="60"/>
                  </a:lnTo>
                  <a:lnTo>
                    <a:pt x="117" y="56"/>
                  </a:lnTo>
                  <a:lnTo>
                    <a:pt x="117" y="56"/>
                  </a:lnTo>
                  <a:lnTo>
                    <a:pt x="119" y="46"/>
                  </a:lnTo>
                  <a:lnTo>
                    <a:pt x="119" y="46"/>
                  </a:lnTo>
                  <a:lnTo>
                    <a:pt x="117" y="44"/>
                  </a:lnTo>
                  <a:lnTo>
                    <a:pt x="115" y="40"/>
                  </a:lnTo>
                  <a:lnTo>
                    <a:pt x="115" y="38"/>
                  </a:lnTo>
                  <a:lnTo>
                    <a:pt x="115" y="38"/>
                  </a:lnTo>
                  <a:lnTo>
                    <a:pt x="117" y="28"/>
                  </a:lnTo>
                  <a:lnTo>
                    <a:pt x="117" y="22"/>
                  </a:lnTo>
                  <a:lnTo>
                    <a:pt x="117" y="2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39" name="Freeform 182"/>
            <p:cNvSpPr>
              <a:spLocks noChangeAspect="1"/>
            </p:cNvSpPr>
            <p:nvPr/>
          </p:nvSpPr>
          <p:spPr bwMode="gray">
            <a:xfrm>
              <a:off x="5200369" y="3174144"/>
              <a:ext cx="163211" cy="78958"/>
            </a:xfrm>
            <a:custGeom>
              <a:avLst/>
              <a:gdLst/>
              <a:ahLst/>
              <a:cxnLst>
                <a:cxn ang="0">
                  <a:pos x="0" y="10"/>
                </a:cxn>
                <a:cxn ang="0">
                  <a:pos x="4" y="14"/>
                </a:cxn>
                <a:cxn ang="0">
                  <a:pos x="8" y="14"/>
                </a:cxn>
                <a:cxn ang="0">
                  <a:pos x="12" y="18"/>
                </a:cxn>
                <a:cxn ang="0">
                  <a:pos x="18" y="22"/>
                </a:cxn>
                <a:cxn ang="0">
                  <a:pos x="22" y="36"/>
                </a:cxn>
                <a:cxn ang="0">
                  <a:pos x="22" y="42"/>
                </a:cxn>
                <a:cxn ang="0">
                  <a:pos x="24" y="42"/>
                </a:cxn>
                <a:cxn ang="0">
                  <a:pos x="26" y="42"/>
                </a:cxn>
                <a:cxn ang="0">
                  <a:pos x="30" y="42"/>
                </a:cxn>
                <a:cxn ang="0">
                  <a:pos x="34" y="42"/>
                </a:cxn>
                <a:cxn ang="0">
                  <a:pos x="40" y="46"/>
                </a:cxn>
                <a:cxn ang="0">
                  <a:pos x="48" y="44"/>
                </a:cxn>
                <a:cxn ang="0">
                  <a:pos x="50" y="44"/>
                </a:cxn>
                <a:cxn ang="0">
                  <a:pos x="50" y="48"/>
                </a:cxn>
                <a:cxn ang="0">
                  <a:pos x="54" y="48"/>
                </a:cxn>
                <a:cxn ang="0">
                  <a:pos x="64" y="48"/>
                </a:cxn>
                <a:cxn ang="0">
                  <a:pos x="72" y="48"/>
                </a:cxn>
                <a:cxn ang="0">
                  <a:pos x="74" y="46"/>
                </a:cxn>
                <a:cxn ang="0">
                  <a:pos x="76" y="42"/>
                </a:cxn>
                <a:cxn ang="0">
                  <a:pos x="82" y="40"/>
                </a:cxn>
                <a:cxn ang="0">
                  <a:pos x="86" y="42"/>
                </a:cxn>
                <a:cxn ang="0">
                  <a:pos x="88" y="44"/>
                </a:cxn>
                <a:cxn ang="0">
                  <a:pos x="92" y="48"/>
                </a:cxn>
                <a:cxn ang="0">
                  <a:pos x="94" y="48"/>
                </a:cxn>
                <a:cxn ang="0">
                  <a:pos x="92" y="42"/>
                </a:cxn>
                <a:cxn ang="0">
                  <a:pos x="92" y="40"/>
                </a:cxn>
                <a:cxn ang="0">
                  <a:pos x="96" y="36"/>
                </a:cxn>
                <a:cxn ang="0">
                  <a:pos x="92" y="32"/>
                </a:cxn>
                <a:cxn ang="0">
                  <a:pos x="90" y="30"/>
                </a:cxn>
                <a:cxn ang="0">
                  <a:pos x="84" y="30"/>
                </a:cxn>
                <a:cxn ang="0">
                  <a:pos x="84" y="30"/>
                </a:cxn>
                <a:cxn ang="0">
                  <a:pos x="84" y="26"/>
                </a:cxn>
                <a:cxn ang="0">
                  <a:pos x="84" y="24"/>
                </a:cxn>
                <a:cxn ang="0">
                  <a:pos x="78" y="20"/>
                </a:cxn>
                <a:cxn ang="0">
                  <a:pos x="76" y="18"/>
                </a:cxn>
                <a:cxn ang="0">
                  <a:pos x="74" y="14"/>
                </a:cxn>
                <a:cxn ang="0">
                  <a:pos x="66" y="14"/>
                </a:cxn>
                <a:cxn ang="0">
                  <a:pos x="62" y="16"/>
                </a:cxn>
                <a:cxn ang="0">
                  <a:pos x="60" y="16"/>
                </a:cxn>
                <a:cxn ang="0">
                  <a:pos x="58" y="14"/>
                </a:cxn>
                <a:cxn ang="0">
                  <a:pos x="50" y="16"/>
                </a:cxn>
                <a:cxn ang="0">
                  <a:pos x="46" y="16"/>
                </a:cxn>
                <a:cxn ang="0">
                  <a:pos x="40" y="8"/>
                </a:cxn>
                <a:cxn ang="0">
                  <a:pos x="36" y="6"/>
                </a:cxn>
                <a:cxn ang="0">
                  <a:pos x="32" y="4"/>
                </a:cxn>
                <a:cxn ang="0">
                  <a:pos x="22" y="4"/>
                </a:cxn>
                <a:cxn ang="0">
                  <a:pos x="16" y="4"/>
                </a:cxn>
                <a:cxn ang="0">
                  <a:pos x="14" y="0"/>
                </a:cxn>
                <a:cxn ang="0">
                  <a:pos x="8" y="0"/>
                </a:cxn>
                <a:cxn ang="0">
                  <a:pos x="4" y="2"/>
                </a:cxn>
                <a:cxn ang="0">
                  <a:pos x="0" y="10"/>
                </a:cxn>
              </a:cxnLst>
              <a:rect l="0" t="0" r="r" b="b"/>
              <a:pathLst>
                <a:path w="96" h="48">
                  <a:moveTo>
                    <a:pt x="0" y="10"/>
                  </a:moveTo>
                  <a:lnTo>
                    <a:pt x="0" y="10"/>
                  </a:lnTo>
                  <a:lnTo>
                    <a:pt x="4" y="14"/>
                  </a:lnTo>
                  <a:lnTo>
                    <a:pt x="4" y="14"/>
                  </a:lnTo>
                  <a:lnTo>
                    <a:pt x="8" y="14"/>
                  </a:lnTo>
                  <a:lnTo>
                    <a:pt x="8" y="14"/>
                  </a:lnTo>
                  <a:lnTo>
                    <a:pt x="12" y="18"/>
                  </a:lnTo>
                  <a:lnTo>
                    <a:pt x="12" y="18"/>
                  </a:lnTo>
                  <a:lnTo>
                    <a:pt x="18" y="22"/>
                  </a:lnTo>
                  <a:lnTo>
                    <a:pt x="18" y="22"/>
                  </a:lnTo>
                  <a:lnTo>
                    <a:pt x="22" y="30"/>
                  </a:lnTo>
                  <a:lnTo>
                    <a:pt x="22" y="36"/>
                  </a:lnTo>
                  <a:lnTo>
                    <a:pt x="22" y="40"/>
                  </a:lnTo>
                  <a:lnTo>
                    <a:pt x="22" y="42"/>
                  </a:lnTo>
                  <a:lnTo>
                    <a:pt x="22" y="42"/>
                  </a:lnTo>
                  <a:lnTo>
                    <a:pt x="24" y="42"/>
                  </a:lnTo>
                  <a:lnTo>
                    <a:pt x="24" y="44"/>
                  </a:lnTo>
                  <a:lnTo>
                    <a:pt x="26" y="42"/>
                  </a:lnTo>
                  <a:lnTo>
                    <a:pt x="26" y="42"/>
                  </a:lnTo>
                  <a:lnTo>
                    <a:pt x="30" y="42"/>
                  </a:lnTo>
                  <a:lnTo>
                    <a:pt x="34" y="42"/>
                  </a:lnTo>
                  <a:lnTo>
                    <a:pt x="34" y="42"/>
                  </a:lnTo>
                  <a:lnTo>
                    <a:pt x="38" y="44"/>
                  </a:lnTo>
                  <a:lnTo>
                    <a:pt x="40" y="46"/>
                  </a:lnTo>
                  <a:lnTo>
                    <a:pt x="40" y="46"/>
                  </a:lnTo>
                  <a:lnTo>
                    <a:pt x="48" y="44"/>
                  </a:lnTo>
                  <a:lnTo>
                    <a:pt x="48" y="44"/>
                  </a:lnTo>
                  <a:lnTo>
                    <a:pt x="50" y="44"/>
                  </a:lnTo>
                  <a:lnTo>
                    <a:pt x="50" y="46"/>
                  </a:lnTo>
                  <a:lnTo>
                    <a:pt x="50" y="48"/>
                  </a:lnTo>
                  <a:lnTo>
                    <a:pt x="52" y="48"/>
                  </a:lnTo>
                  <a:lnTo>
                    <a:pt x="54" y="48"/>
                  </a:lnTo>
                  <a:lnTo>
                    <a:pt x="54" y="48"/>
                  </a:lnTo>
                  <a:lnTo>
                    <a:pt x="64" y="48"/>
                  </a:lnTo>
                  <a:lnTo>
                    <a:pt x="64" y="48"/>
                  </a:lnTo>
                  <a:lnTo>
                    <a:pt x="72" y="48"/>
                  </a:lnTo>
                  <a:lnTo>
                    <a:pt x="72" y="48"/>
                  </a:lnTo>
                  <a:lnTo>
                    <a:pt x="74" y="46"/>
                  </a:lnTo>
                  <a:lnTo>
                    <a:pt x="76" y="42"/>
                  </a:lnTo>
                  <a:lnTo>
                    <a:pt x="76" y="42"/>
                  </a:lnTo>
                  <a:lnTo>
                    <a:pt x="78" y="40"/>
                  </a:lnTo>
                  <a:lnTo>
                    <a:pt x="82" y="40"/>
                  </a:lnTo>
                  <a:lnTo>
                    <a:pt x="82" y="40"/>
                  </a:lnTo>
                  <a:lnTo>
                    <a:pt x="86" y="42"/>
                  </a:lnTo>
                  <a:lnTo>
                    <a:pt x="88" y="44"/>
                  </a:lnTo>
                  <a:lnTo>
                    <a:pt x="88" y="44"/>
                  </a:lnTo>
                  <a:lnTo>
                    <a:pt x="90" y="48"/>
                  </a:lnTo>
                  <a:lnTo>
                    <a:pt x="92" y="48"/>
                  </a:lnTo>
                  <a:lnTo>
                    <a:pt x="94" y="48"/>
                  </a:lnTo>
                  <a:lnTo>
                    <a:pt x="94" y="48"/>
                  </a:lnTo>
                  <a:lnTo>
                    <a:pt x="96" y="44"/>
                  </a:lnTo>
                  <a:lnTo>
                    <a:pt x="92" y="42"/>
                  </a:lnTo>
                  <a:lnTo>
                    <a:pt x="92" y="42"/>
                  </a:lnTo>
                  <a:lnTo>
                    <a:pt x="92" y="40"/>
                  </a:lnTo>
                  <a:lnTo>
                    <a:pt x="94" y="38"/>
                  </a:lnTo>
                  <a:lnTo>
                    <a:pt x="96" y="36"/>
                  </a:lnTo>
                  <a:lnTo>
                    <a:pt x="96" y="36"/>
                  </a:lnTo>
                  <a:lnTo>
                    <a:pt x="92" y="32"/>
                  </a:lnTo>
                  <a:lnTo>
                    <a:pt x="92" y="32"/>
                  </a:lnTo>
                  <a:lnTo>
                    <a:pt x="90" y="30"/>
                  </a:lnTo>
                  <a:lnTo>
                    <a:pt x="88" y="30"/>
                  </a:lnTo>
                  <a:lnTo>
                    <a:pt x="84" y="30"/>
                  </a:lnTo>
                  <a:lnTo>
                    <a:pt x="84" y="30"/>
                  </a:lnTo>
                  <a:lnTo>
                    <a:pt x="84" y="30"/>
                  </a:lnTo>
                  <a:lnTo>
                    <a:pt x="84" y="28"/>
                  </a:lnTo>
                  <a:lnTo>
                    <a:pt x="84" y="26"/>
                  </a:lnTo>
                  <a:lnTo>
                    <a:pt x="84" y="24"/>
                  </a:lnTo>
                  <a:lnTo>
                    <a:pt x="84" y="24"/>
                  </a:lnTo>
                  <a:lnTo>
                    <a:pt x="80" y="22"/>
                  </a:lnTo>
                  <a:lnTo>
                    <a:pt x="78" y="20"/>
                  </a:lnTo>
                  <a:lnTo>
                    <a:pt x="78" y="20"/>
                  </a:lnTo>
                  <a:lnTo>
                    <a:pt x="76" y="18"/>
                  </a:lnTo>
                  <a:lnTo>
                    <a:pt x="74" y="14"/>
                  </a:lnTo>
                  <a:lnTo>
                    <a:pt x="74" y="14"/>
                  </a:lnTo>
                  <a:lnTo>
                    <a:pt x="70" y="12"/>
                  </a:lnTo>
                  <a:lnTo>
                    <a:pt x="66" y="14"/>
                  </a:lnTo>
                  <a:lnTo>
                    <a:pt x="66" y="14"/>
                  </a:lnTo>
                  <a:lnTo>
                    <a:pt x="62" y="16"/>
                  </a:lnTo>
                  <a:lnTo>
                    <a:pt x="62" y="16"/>
                  </a:lnTo>
                  <a:lnTo>
                    <a:pt x="60" y="16"/>
                  </a:lnTo>
                  <a:lnTo>
                    <a:pt x="60" y="16"/>
                  </a:lnTo>
                  <a:lnTo>
                    <a:pt x="58" y="14"/>
                  </a:lnTo>
                  <a:lnTo>
                    <a:pt x="56" y="14"/>
                  </a:lnTo>
                  <a:lnTo>
                    <a:pt x="50" y="16"/>
                  </a:lnTo>
                  <a:lnTo>
                    <a:pt x="50" y="16"/>
                  </a:lnTo>
                  <a:lnTo>
                    <a:pt x="46" y="16"/>
                  </a:lnTo>
                  <a:lnTo>
                    <a:pt x="44" y="14"/>
                  </a:lnTo>
                  <a:lnTo>
                    <a:pt x="40" y="8"/>
                  </a:lnTo>
                  <a:lnTo>
                    <a:pt x="40" y="8"/>
                  </a:lnTo>
                  <a:lnTo>
                    <a:pt x="36" y="6"/>
                  </a:lnTo>
                  <a:lnTo>
                    <a:pt x="32" y="4"/>
                  </a:lnTo>
                  <a:lnTo>
                    <a:pt x="32" y="4"/>
                  </a:lnTo>
                  <a:lnTo>
                    <a:pt x="28" y="4"/>
                  </a:lnTo>
                  <a:lnTo>
                    <a:pt x="22" y="4"/>
                  </a:lnTo>
                  <a:lnTo>
                    <a:pt x="22" y="4"/>
                  </a:lnTo>
                  <a:lnTo>
                    <a:pt x="16" y="4"/>
                  </a:lnTo>
                  <a:lnTo>
                    <a:pt x="14" y="0"/>
                  </a:lnTo>
                  <a:lnTo>
                    <a:pt x="14" y="0"/>
                  </a:lnTo>
                  <a:lnTo>
                    <a:pt x="12" y="0"/>
                  </a:lnTo>
                  <a:lnTo>
                    <a:pt x="8" y="0"/>
                  </a:lnTo>
                  <a:lnTo>
                    <a:pt x="4" y="2"/>
                  </a:lnTo>
                  <a:lnTo>
                    <a:pt x="4" y="2"/>
                  </a:lnTo>
                  <a:lnTo>
                    <a:pt x="0" y="6"/>
                  </a:lnTo>
                  <a:lnTo>
                    <a:pt x="0" y="10"/>
                  </a:lnTo>
                  <a:lnTo>
                    <a:pt x="0"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0" name="Freeform 185"/>
            <p:cNvSpPr>
              <a:spLocks noChangeAspect="1"/>
            </p:cNvSpPr>
            <p:nvPr/>
          </p:nvSpPr>
          <p:spPr bwMode="gray">
            <a:xfrm>
              <a:off x="3042923" y="4253244"/>
              <a:ext cx="71405" cy="128307"/>
            </a:xfrm>
            <a:custGeom>
              <a:avLst/>
              <a:gdLst/>
              <a:ahLst/>
              <a:cxnLst>
                <a:cxn ang="0">
                  <a:pos x="6" y="2"/>
                </a:cxn>
                <a:cxn ang="0">
                  <a:pos x="6" y="2"/>
                </a:cxn>
                <a:cxn ang="0">
                  <a:pos x="6" y="4"/>
                </a:cxn>
                <a:cxn ang="0">
                  <a:pos x="6" y="4"/>
                </a:cxn>
                <a:cxn ang="0">
                  <a:pos x="6" y="10"/>
                </a:cxn>
                <a:cxn ang="0">
                  <a:pos x="0" y="20"/>
                </a:cxn>
                <a:cxn ang="0">
                  <a:pos x="0" y="20"/>
                </a:cxn>
                <a:cxn ang="0">
                  <a:pos x="0" y="38"/>
                </a:cxn>
                <a:cxn ang="0">
                  <a:pos x="0" y="38"/>
                </a:cxn>
                <a:cxn ang="0">
                  <a:pos x="2" y="42"/>
                </a:cxn>
                <a:cxn ang="0">
                  <a:pos x="4" y="46"/>
                </a:cxn>
                <a:cxn ang="0">
                  <a:pos x="8" y="50"/>
                </a:cxn>
                <a:cxn ang="0">
                  <a:pos x="8" y="50"/>
                </a:cxn>
                <a:cxn ang="0">
                  <a:pos x="8" y="54"/>
                </a:cxn>
                <a:cxn ang="0">
                  <a:pos x="4" y="60"/>
                </a:cxn>
                <a:cxn ang="0">
                  <a:pos x="4" y="60"/>
                </a:cxn>
                <a:cxn ang="0">
                  <a:pos x="0" y="70"/>
                </a:cxn>
                <a:cxn ang="0">
                  <a:pos x="0" y="70"/>
                </a:cxn>
                <a:cxn ang="0">
                  <a:pos x="0" y="74"/>
                </a:cxn>
                <a:cxn ang="0">
                  <a:pos x="4" y="78"/>
                </a:cxn>
                <a:cxn ang="0">
                  <a:pos x="4" y="78"/>
                </a:cxn>
                <a:cxn ang="0">
                  <a:pos x="6" y="78"/>
                </a:cxn>
                <a:cxn ang="0">
                  <a:pos x="8" y="78"/>
                </a:cxn>
                <a:cxn ang="0">
                  <a:pos x="12" y="76"/>
                </a:cxn>
                <a:cxn ang="0">
                  <a:pos x="18" y="74"/>
                </a:cxn>
                <a:cxn ang="0">
                  <a:pos x="24" y="78"/>
                </a:cxn>
                <a:cxn ang="0">
                  <a:pos x="24" y="78"/>
                </a:cxn>
                <a:cxn ang="0">
                  <a:pos x="28" y="74"/>
                </a:cxn>
                <a:cxn ang="0">
                  <a:pos x="32" y="66"/>
                </a:cxn>
                <a:cxn ang="0">
                  <a:pos x="32" y="66"/>
                </a:cxn>
                <a:cxn ang="0">
                  <a:pos x="34" y="52"/>
                </a:cxn>
                <a:cxn ang="0">
                  <a:pos x="38" y="44"/>
                </a:cxn>
                <a:cxn ang="0">
                  <a:pos x="38" y="44"/>
                </a:cxn>
                <a:cxn ang="0">
                  <a:pos x="42" y="32"/>
                </a:cxn>
                <a:cxn ang="0">
                  <a:pos x="42" y="32"/>
                </a:cxn>
                <a:cxn ang="0">
                  <a:pos x="42" y="28"/>
                </a:cxn>
                <a:cxn ang="0">
                  <a:pos x="40" y="26"/>
                </a:cxn>
                <a:cxn ang="0">
                  <a:pos x="40" y="26"/>
                </a:cxn>
                <a:cxn ang="0">
                  <a:pos x="38" y="26"/>
                </a:cxn>
                <a:cxn ang="0">
                  <a:pos x="38" y="26"/>
                </a:cxn>
                <a:cxn ang="0">
                  <a:pos x="34" y="20"/>
                </a:cxn>
                <a:cxn ang="0">
                  <a:pos x="32" y="20"/>
                </a:cxn>
                <a:cxn ang="0">
                  <a:pos x="32" y="20"/>
                </a:cxn>
                <a:cxn ang="0">
                  <a:pos x="30" y="16"/>
                </a:cxn>
                <a:cxn ang="0">
                  <a:pos x="28" y="10"/>
                </a:cxn>
                <a:cxn ang="0">
                  <a:pos x="28" y="10"/>
                </a:cxn>
                <a:cxn ang="0">
                  <a:pos x="16" y="4"/>
                </a:cxn>
                <a:cxn ang="0">
                  <a:pos x="16" y="4"/>
                </a:cxn>
                <a:cxn ang="0">
                  <a:pos x="12" y="6"/>
                </a:cxn>
                <a:cxn ang="0">
                  <a:pos x="8" y="6"/>
                </a:cxn>
                <a:cxn ang="0">
                  <a:pos x="8" y="6"/>
                </a:cxn>
                <a:cxn ang="0">
                  <a:pos x="8" y="4"/>
                </a:cxn>
                <a:cxn ang="0">
                  <a:pos x="6" y="0"/>
                </a:cxn>
                <a:cxn ang="0">
                  <a:pos x="6" y="2"/>
                </a:cxn>
              </a:cxnLst>
              <a:rect l="0" t="0" r="r" b="b"/>
              <a:pathLst>
                <a:path w="42" h="78">
                  <a:moveTo>
                    <a:pt x="6" y="2"/>
                  </a:moveTo>
                  <a:lnTo>
                    <a:pt x="6" y="2"/>
                  </a:lnTo>
                  <a:lnTo>
                    <a:pt x="6" y="4"/>
                  </a:lnTo>
                  <a:lnTo>
                    <a:pt x="6" y="4"/>
                  </a:lnTo>
                  <a:lnTo>
                    <a:pt x="6" y="10"/>
                  </a:lnTo>
                  <a:lnTo>
                    <a:pt x="0" y="20"/>
                  </a:lnTo>
                  <a:lnTo>
                    <a:pt x="0" y="20"/>
                  </a:lnTo>
                  <a:lnTo>
                    <a:pt x="0" y="38"/>
                  </a:lnTo>
                  <a:lnTo>
                    <a:pt x="0" y="38"/>
                  </a:lnTo>
                  <a:lnTo>
                    <a:pt x="2" y="42"/>
                  </a:lnTo>
                  <a:lnTo>
                    <a:pt x="4" y="46"/>
                  </a:lnTo>
                  <a:lnTo>
                    <a:pt x="8" y="50"/>
                  </a:lnTo>
                  <a:lnTo>
                    <a:pt x="8" y="50"/>
                  </a:lnTo>
                  <a:lnTo>
                    <a:pt x="8" y="54"/>
                  </a:lnTo>
                  <a:lnTo>
                    <a:pt x="4" y="60"/>
                  </a:lnTo>
                  <a:lnTo>
                    <a:pt x="4" y="60"/>
                  </a:lnTo>
                  <a:lnTo>
                    <a:pt x="0" y="70"/>
                  </a:lnTo>
                  <a:lnTo>
                    <a:pt x="0" y="70"/>
                  </a:lnTo>
                  <a:lnTo>
                    <a:pt x="0" y="74"/>
                  </a:lnTo>
                  <a:lnTo>
                    <a:pt x="4" y="78"/>
                  </a:lnTo>
                  <a:lnTo>
                    <a:pt x="4" y="78"/>
                  </a:lnTo>
                  <a:lnTo>
                    <a:pt x="6" y="78"/>
                  </a:lnTo>
                  <a:lnTo>
                    <a:pt x="8" y="78"/>
                  </a:lnTo>
                  <a:lnTo>
                    <a:pt x="12" y="76"/>
                  </a:lnTo>
                  <a:lnTo>
                    <a:pt x="18" y="74"/>
                  </a:lnTo>
                  <a:lnTo>
                    <a:pt x="24" y="78"/>
                  </a:lnTo>
                  <a:lnTo>
                    <a:pt x="24" y="78"/>
                  </a:lnTo>
                  <a:lnTo>
                    <a:pt x="28" y="74"/>
                  </a:lnTo>
                  <a:lnTo>
                    <a:pt x="32" y="66"/>
                  </a:lnTo>
                  <a:lnTo>
                    <a:pt x="32" y="66"/>
                  </a:lnTo>
                  <a:lnTo>
                    <a:pt x="34" y="52"/>
                  </a:lnTo>
                  <a:lnTo>
                    <a:pt x="38" y="44"/>
                  </a:lnTo>
                  <a:lnTo>
                    <a:pt x="38" y="44"/>
                  </a:lnTo>
                  <a:lnTo>
                    <a:pt x="42" y="32"/>
                  </a:lnTo>
                  <a:lnTo>
                    <a:pt x="42" y="32"/>
                  </a:lnTo>
                  <a:lnTo>
                    <a:pt x="42" y="28"/>
                  </a:lnTo>
                  <a:lnTo>
                    <a:pt x="40" y="26"/>
                  </a:lnTo>
                  <a:lnTo>
                    <a:pt x="40" y="26"/>
                  </a:lnTo>
                  <a:lnTo>
                    <a:pt x="38" y="26"/>
                  </a:lnTo>
                  <a:lnTo>
                    <a:pt x="38" y="26"/>
                  </a:lnTo>
                  <a:lnTo>
                    <a:pt x="34" y="20"/>
                  </a:lnTo>
                  <a:lnTo>
                    <a:pt x="32" y="20"/>
                  </a:lnTo>
                  <a:lnTo>
                    <a:pt x="32" y="20"/>
                  </a:lnTo>
                  <a:lnTo>
                    <a:pt x="30" y="16"/>
                  </a:lnTo>
                  <a:lnTo>
                    <a:pt x="28" y="10"/>
                  </a:lnTo>
                  <a:lnTo>
                    <a:pt x="28" y="10"/>
                  </a:lnTo>
                  <a:lnTo>
                    <a:pt x="16" y="4"/>
                  </a:lnTo>
                  <a:lnTo>
                    <a:pt x="16" y="4"/>
                  </a:lnTo>
                  <a:lnTo>
                    <a:pt x="12" y="6"/>
                  </a:lnTo>
                  <a:lnTo>
                    <a:pt x="8" y="6"/>
                  </a:lnTo>
                  <a:lnTo>
                    <a:pt x="8" y="6"/>
                  </a:lnTo>
                  <a:lnTo>
                    <a:pt x="8" y="4"/>
                  </a:lnTo>
                  <a:lnTo>
                    <a:pt x="6" y="0"/>
                  </a:lnTo>
                  <a:lnTo>
                    <a:pt x="6"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1" name="Freeform 186"/>
            <p:cNvSpPr>
              <a:spLocks noChangeAspect="1" noEditPoints="1"/>
            </p:cNvSpPr>
            <p:nvPr/>
          </p:nvSpPr>
          <p:spPr bwMode="gray">
            <a:xfrm>
              <a:off x="4178600" y="2933978"/>
              <a:ext cx="329822" cy="319124"/>
            </a:xfrm>
            <a:custGeom>
              <a:avLst/>
              <a:gdLst/>
              <a:ahLst/>
              <a:cxnLst>
                <a:cxn ang="0">
                  <a:pos x="172" y="66"/>
                </a:cxn>
                <a:cxn ang="0">
                  <a:pos x="168" y="74"/>
                </a:cxn>
                <a:cxn ang="0">
                  <a:pos x="166" y="78"/>
                </a:cxn>
                <a:cxn ang="0">
                  <a:pos x="154" y="90"/>
                </a:cxn>
                <a:cxn ang="0">
                  <a:pos x="148" y="106"/>
                </a:cxn>
                <a:cxn ang="0">
                  <a:pos x="156" y="108"/>
                </a:cxn>
                <a:cxn ang="0">
                  <a:pos x="162" y="118"/>
                </a:cxn>
                <a:cxn ang="0">
                  <a:pos x="154" y="124"/>
                </a:cxn>
                <a:cxn ang="0">
                  <a:pos x="158" y="134"/>
                </a:cxn>
                <a:cxn ang="0">
                  <a:pos x="164" y="142"/>
                </a:cxn>
                <a:cxn ang="0">
                  <a:pos x="160" y="148"/>
                </a:cxn>
                <a:cxn ang="0">
                  <a:pos x="158" y="152"/>
                </a:cxn>
                <a:cxn ang="0">
                  <a:pos x="144" y="160"/>
                </a:cxn>
                <a:cxn ang="0">
                  <a:pos x="134" y="152"/>
                </a:cxn>
                <a:cxn ang="0">
                  <a:pos x="124" y="152"/>
                </a:cxn>
                <a:cxn ang="0">
                  <a:pos x="112" y="160"/>
                </a:cxn>
                <a:cxn ang="0">
                  <a:pos x="102" y="172"/>
                </a:cxn>
                <a:cxn ang="0">
                  <a:pos x="90" y="172"/>
                </a:cxn>
                <a:cxn ang="0">
                  <a:pos x="76" y="170"/>
                </a:cxn>
                <a:cxn ang="0">
                  <a:pos x="64" y="168"/>
                </a:cxn>
                <a:cxn ang="0">
                  <a:pos x="48" y="164"/>
                </a:cxn>
                <a:cxn ang="0">
                  <a:pos x="42" y="156"/>
                </a:cxn>
                <a:cxn ang="0">
                  <a:pos x="52" y="140"/>
                </a:cxn>
                <a:cxn ang="0">
                  <a:pos x="52" y="130"/>
                </a:cxn>
                <a:cxn ang="0">
                  <a:pos x="52" y="116"/>
                </a:cxn>
                <a:cxn ang="0">
                  <a:pos x="50" y="106"/>
                </a:cxn>
                <a:cxn ang="0">
                  <a:pos x="34" y="94"/>
                </a:cxn>
                <a:cxn ang="0">
                  <a:pos x="34" y="82"/>
                </a:cxn>
                <a:cxn ang="0">
                  <a:pos x="30" y="78"/>
                </a:cxn>
                <a:cxn ang="0">
                  <a:pos x="28" y="72"/>
                </a:cxn>
                <a:cxn ang="0">
                  <a:pos x="20" y="78"/>
                </a:cxn>
                <a:cxn ang="0">
                  <a:pos x="12" y="68"/>
                </a:cxn>
                <a:cxn ang="0">
                  <a:pos x="2" y="64"/>
                </a:cxn>
                <a:cxn ang="0">
                  <a:pos x="0" y="56"/>
                </a:cxn>
                <a:cxn ang="0">
                  <a:pos x="14" y="52"/>
                </a:cxn>
                <a:cxn ang="0">
                  <a:pos x="26" y="54"/>
                </a:cxn>
                <a:cxn ang="0">
                  <a:pos x="34" y="50"/>
                </a:cxn>
                <a:cxn ang="0">
                  <a:pos x="48" y="48"/>
                </a:cxn>
                <a:cxn ang="0">
                  <a:pos x="40" y="28"/>
                </a:cxn>
                <a:cxn ang="0">
                  <a:pos x="60" y="34"/>
                </a:cxn>
                <a:cxn ang="0">
                  <a:pos x="82" y="20"/>
                </a:cxn>
                <a:cxn ang="0">
                  <a:pos x="86" y="8"/>
                </a:cxn>
                <a:cxn ang="0">
                  <a:pos x="98" y="4"/>
                </a:cxn>
                <a:cxn ang="0">
                  <a:pos x="104" y="12"/>
                </a:cxn>
                <a:cxn ang="0">
                  <a:pos x="114" y="16"/>
                </a:cxn>
                <a:cxn ang="0">
                  <a:pos x="124" y="26"/>
                </a:cxn>
                <a:cxn ang="0">
                  <a:pos x="130" y="30"/>
                </a:cxn>
                <a:cxn ang="0">
                  <a:pos x="142" y="32"/>
                </a:cxn>
                <a:cxn ang="0">
                  <a:pos x="150" y="40"/>
                </a:cxn>
                <a:cxn ang="0">
                  <a:pos x="162" y="42"/>
                </a:cxn>
                <a:cxn ang="0">
                  <a:pos x="174" y="46"/>
                </a:cxn>
                <a:cxn ang="0">
                  <a:pos x="186" y="168"/>
                </a:cxn>
                <a:cxn ang="0">
                  <a:pos x="180" y="184"/>
                </a:cxn>
                <a:cxn ang="0">
                  <a:pos x="184" y="190"/>
                </a:cxn>
                <a:cxn ang="0">
                  <a:pos x="192" y="162"/>
                </a:cxn>
              </a:cxnLst>
              <a:rect l="0" t="0" r="r" b="b"/>
              <a:pathLst>
                <a:path w="194" h="194">
                  <a:moveTo>
                    <a:pt x="174" y="52"/>
                  </a:moveTo>
                  <a:lnTo>
                    <a:pt x="174" y="52"/>
                  </a:lnTo>
                  <a:lnTo>
                    <a:pt x="172" y="56"/>
                  </a:lnTo>
                  <a:lnTo>
                    <a:pt x="172" y="60"/>
                  </a:lnTo>
                  <a:lnTo>
                    <a:pt x="172" y="60"/>
                  </a:lnTo>
                  <a:lnTo>
                    <a:pt x="172" y="66"/>
                  </a:lnTo>
                  <a:lnTo>
                    <a:pt x="172" y="70"/>
                  </a:lnTo>
                  <a:lnTo>
                    <a:pt x="174" y="74"/>
                  </a:lnTo>
                  <a:lnTo>
                    <a:pt x="174" y="74"/>
                  </a:lnTo>
                  <a:lnTo>
                    <a:pt x="172" y="74"/>
                  </a:lnTo>
                  <a:lnTo>
                    <a:pt x="170" y="74"/>
                  </a:lnTo>
                  <a:lnTo>
                    <a:pt x="168" y="74"/>
                  </a:lnTo>
                  <a:lnTo>
                    <a:pt x="168" y="74"/>
                  </a:lnTo>
                  <a:lnTo>
                    <a:pt x="168" y="74"/>
                  </a:lnTo>
                  <a:lnTo>
                    <a:pt x="166" y="74"/>
                  </a:lnTo>
                  <a:lnTo>
                    <a:pt x="166" y="78"/>
                  </a:lnTo>
                  <a:lnTo>
                    <a:pt x="166" y="78"/>
                  </a:lnTo>
                  <a:lnTo>
                    <a:pt x="166" y="78"/>
                  </a:lnTo>
                  <a:lnTo>
                    <a:pt x="162" y="80"/>
                  </a:lnTo>
                  <a:lnTo>
                    <a:pt x="162" y="80"/>
                  </a:lnTo>
                  <a:lnTo>
                    <a:pt x="160" y="82"/>
                  </a:lnTo>
                  <a:lnTo>
                    <a:pt x="158" y="84"/>
                  </a:lnTo>
                  <a:lnTo>
                    <a:pt x="154" y="90"/>
                  </a:lnTo>
                  <a:lnTo>
                    <a:pt x="154" y="90"/>
                  </a:lnTo>
                  <a:lnTo>
                    <a:pt x="146" y="100"/>
                  </a:lnTo>
                  <a:lnTo>
                    <a:pt x="146" y="100"/>
                  </a:lnTo>
                  <a:lnTo>
                    <a:pt x="144" y="104"/>
                  </a:lnTo>
                  <a:lnTo>
                    <a:pt x="144" y="106"/>
                  </a:lnTo>
                  <a:lnTo>
                    <a:pt x="148" y="106"/>
                  </a:lnTo>
                  <a:lnTo>
                    <a:pt x="148" y="106"/>
                  </a:lnTo>
                  <a:lnTo>
                    <a:pt x="150" y="104"/>
                  </a:lnTo>
                  <a:lnTo>
                    <a:pt x="152" y="104"/>
                  </a:lnTo>
                  <a:lnTo>
                    <a:pt x="154" y="106"/>
                  </a:lnTo>
                  <a:lnTo>
                    <a:pt x="154" y="106"/>
                  </a:lnTo>
                  <a:lnTo>
                    <a:pt x="154" y="108"/>
                  </a:lnTo>
                  <a:lnTo>
                    <a:pt x="156" y="108"/>
                  </a:lnTo>
                  <a:lnTo>
                    <a:pt x="160" y="108"/>
                  </a:lnTo>
                  <a:lnTo>
                    <a:pt x="160" y="110"/>
                  </a:lnTo>
                  <a:lnTo>
                    <a:pt x="160" y="110"/>
                  </a:lnTo>
                  <a:lnTo>
                    <a:pt x="164" y="112"/>
                  </a:lnTo>
                  <a:lnTo>
                    <a:pt x="166" y="112"/>
                  </a:lnTo>
                  <a:lnTo>
                    <a:pt x="162" y="118"/>
                  </a:lnTo>
                  <a:lnTo>
                    <a:pt x="162" y="118"/>
                  </a:lnTo>
                  <a:lnTo>
                    <a:pt x="160" y="120"/>
                  </a:lnTo>
                  <a:lnTo>
                    <a:pt x="158" y="122"/>
                  </a:lnTo>
                  <a:lnTo>
                    <a:pt x="156" y="122"/>
                  </a:lnTo>
                  <a:lnTo>
                    <a:pt x="156" y="122"/>
                  </a:lnTo>
                  <a:lnTo>
                    <a:pt x="154" y="124"/>
                  </a:lnTo>
                  <a:lnTo>
                    <a:pt x="154" y="126"/>
                  </a:lnTo>
                  <a:lnTo>
                    <a:pt x="154" y="128"/>
                  </a:lnTo>
                  <a:lnTo>
                    <a:pt x="156" y="130"/>
                  </a:lnTo>
                  <a:lnTo>
                    <a:pt x="156" y="130"/>
                  </a:lnTo>
                  <a:lnTo>
                    <a:pt x="158" y="132"/>
                  </a:lnTo>
                  <a:lnTo>
                    <a:pt x="158" y="134"/>
                  </a:lnTo>
                  <a:lnTo>
                    <a:pt x="156" y="138"/>
                  </a:lnTo>
                  <a:lnTo>
                    <a:pt x="158" y="142"/>
                  </a:lnTo>
                  <a:lnTo>
                    <a:pt x="158" y="142"/>
                  </a:lnTo>
                  <a:lnTo>
                    <a:pt x="160" y="142"/>
                  </a:lnTo>
                  <a:lnTo>
                    <a:pt x="162" y="142"/>
                  </a:lnTo>
                  <a:lnTo>
                    <a:pt x="164" y="142"/>
                  </a:lnTo>
                  <a:lnTo>
                    <a:pt x="164" y="142"/>
                  </a:lnTo>
                  <a:lnTo>
                    <a:pt x="164" y="142"/>
                  </a:lnTo>
                  <a:lnTo>
                    <a:pt x="160" y="146"/>
                  </a:lnTo>
                  <a:lnTo>
                    <a:pt x="160" y="146"/>
                  </a:lnTo>
                  <a:lnTo>
                    <a:pt x="160" y="148"/>
                  </a:lnTo>
                  <a:lnTo>
                    <a:pt x="160" y="148"/>
                  </a:lnTo>
                  <a:lnTo>
                    <a:pt x="162" y="150"/>
                  </a:lnTo>
                  <a:lnTo>
                    <a:pt x="160" y="150"/>
                  </a:lnTo>
                  <a:lnTo>
                    <a:pt x="158" y="148"/>
                  </a:lnTo>
                  <a:lnTo>
                    <a:pt x="154" y="150"/>
                  </a:lnTo>
                  <a:lnTo>
                    <a:pt x="158" y="152"/>
                  </a:lnTo>
                  <a:lnTo>
                    <a:pt x="158" y="152"/>
                  </a:lnTo>
                  <a:lnTo>
                    <a:pt x="154" y="160"/>
                  </a:lnTo>
                  <a:lnTo>
                    <a:pt x="154" y="160"/>
                  </a:lnTo>
                  <a:lnTo>
                    <a:pt x="150" y="160"/>
                  </a:lnTo>
                  <a:lnTo>
                    <a:pt x="146" y="162"/>
                  </a:lnTo>
                  <a:lnTo>
                    <a:pt x="146" y="162"/>
                  </a:lnTo>
                  <a:lnTo>
                    <a:pt x="144" y="160"/>
                  </a:lnTo>
                  <a:lnTo>
                    <a:pt x="142" y="158"/>
                  </a:lnTo>
                  <a:lnTo>
                    <a:pt x="140" y="156"/>
                  </a:lnTo>
                  <a:lnTo>
                    <a:pt x="140" y="156"/>
                  </a:lnTo>
                  <a:lnTo>
                    <a:pt x="136" y="156"/>
                  </a:lnTo>
                  <a:lnTo>
                    <a:pt x="136" y="156"/>
                  </a:lnTo>
                  <a:lnTo>
                    <a:pt x="134" y="152"/>
                  </a:lnTo>
                  <a:lnTo>
                    <a:pt x="134" y="152"/>
                  </a:lnTo>
                  <a:lnTo>
                    <a:pt x="134" y="154"/>
                  </a:lnTo>
                  <a:lnTo>
                    <a:pt x="132" y="154"/>
                  </a:lnTo>
                  <a:lnTo>
                    <a:pt x="132" y="154"/>
                  </a:lnTo>
                  <a:lnTo>
                    <a:pt x="128" y="152"/>
                  </a:lnTo>
                  <a:lnTo>
                    <a:pt x="124" y="152"/>
                  </a:lnTo>
                  <a:lnTo>
                    <a:pt x="122" y="152"/>
                  </a:lnTo>
                  <a:lnTo>
                    <a:pt x="122" y="152"/>
                  </a:lnTo>
                  <a:lnTo>
                    <a:pt x="118" y="156"/>
                  </a:lnTo>
                  <a:lnTo>
                    <a:pt x="114" y="160"/>
                  </a:lnTo>
                  <a:lnTo>
                    <a:pt x="114" y="160"/>
                  </a:lnTo>
                  <a:lnTo>
                    <a:pt x="112" y="160"/>
                  </a:lnTo>
                  <a:lnTo>
                    <a:pt x="108" y="160"/>
                  </a:lnTo>
                  <a:lnTo>
                    <a:pt x="108" y="160"/>
                  </a:lnTo>
                  <a:lnTo>
                    <a:pt x="108" y="170"/>
                  </a:lnTo>
                  <a:lnTo>
                    <a:pt x="108" y="170"/>
                  </a:lnTo>
                  <a:lnTo>
                    <a:pt x="104" y="170"/>
                  </a:lnTo>
                  <a:lnTo>
                    <a:pt x="102" y="172"/>
                  </a:lnTo>
                  <a:lnTo>
                    <a:pt x="102" y="172"/>
                  </a:lnTo>
                  <a:lnTo>
                    <a:pt x="100" y="174"/>
                  </a:lnTo>
                  <a:lnTo>
                    <a:pt x="100" y="174"/>
                  </a:lnTo>
                  <a:lnTo>
                    <a:pt x="94" y="174"/>
                  </a:lnTo>
                  <a:lnTo>
                    <a:pt x="92" y="174"/>
                  </a:lnTo>
                  <a:lnTo>
                    <a:pt x="90" y="172"/>
                  </a:lnTo>
                  <a:lnTo>
                    <a:pt x="90" y="172"/>
                  </a:lnTo>
                  <a:lnTo>
                    <a:pt x="90" y="172"/>
                  </a:lnTo>
                  <a:lnTo>
                    <a:pt x="88" y="172"/>
                  </a:lnTo>
                  <a:lnTo>
                    <a:pt x="86" y="172"/>
                  </a:lnTo>
                  <a:lnTo>
                    <a:pt x="86" y="172"/>
                  </a:lnTo>
                  <a:lnTo>
                    <a:pt x="76" y="170"/>
                  </a:lnTo>
                  <a:lnTo>
                    <a:pt x="76" y="170"/>
                  </a:lnTo>
                  <a:lnTo>
                    <a:pt x="74" y="168"/>
                  </a:lnTo>
                  <a:lnTo>
                    <a:pt x="72" y="168"/>
                  </a:lnTo>
                  <a:lnTo>
                    <a:pt x="68" y="170"/>
                  </a:lnTo>
                  <a:lnTo>
                    <a:pt x="68" y="170"/>
                  </a:lnTo>
                  <a:lnTo>
                    <a:pt x="64" y="168"/>
                  </a:lnTo>
                  <a:lnTo>
                    <a:pt x="60" y="166"/>
                  </a:lnTo>
                  <a:lnTo>
                    <a:pt x="60" y="166"/>
                  </a:lnTo>
                  <a:lnTo>
                    <a:pt x="56" y="166"/>
                  </a:lnTo>
                  <a:lnTo>
                    <a:pt x="52" y="164"/>
                  </a:lnTo>
                  <a:lnTo>
                    <a:pt x="52" y="164"/>
                  </a:lnTo>
                  <a:lnTo>
                    <a:pt x="48" y="164"/>
                  </a:lnTo>
                  <a:lnTo>
                    <a:pt x="46" y="162"/>
                  </a:lnTo>
                  <a:lnTo>
                    <a:pt x="46" y="162"/>
                  </a:lnTo>
                  <a:lnTo>
                    <a:pt x="46" y="162"/>
                  </a:lnTo>
                  <a:lnTo>
                    <a:pt x="44" y="158"/>
                  </a:lnTo>
                  <a:lnTo>
                    <a:pt x="42" y="156"/>
                  </a:lnTo>
                  <a:lnTo>
                    <a:pt x="42" y="156"/>
                  </a:lnTo>
                  <a:lnTo>
                    <a:pt x="48" y="154"/>
                  </a:lnTo>
                  <a:lnTo>
                    <a:pt x="50" y="150"/>
                  </a:lnTo>
                  <a:lnTo>
                    <a:pt x="50" y="150"/>
                  </a:lnTo>
                  <a:lnTo>
                    <a:pt x="52" y="146"/>
                  </a:lnTo>
                  <a:lnTo>
                    <a:pt x="52" y="140"/>
                  </a:lnTo>
                  <a:lnTo>
                    <a:pt x="52" y="140"/>
                  </a:lnTo>
                  <a:lnTo>
                    <a:pt x="54" y="134"/>
                  </a:lnTo>
                  <a:lnTo>
                    <a:pt x="54" y="134"/>
                  </a:lnTo>
                  <a:lnTo>
                    <a:pt x="54" y="132"/>
                  </a:lnTo>
                  <a:lnTo>
                    <a:pt x="56" y="132"/>
                  </a:lnTo>
                  <a:lnTo>
                    <a:pt x="56" y="132"/>
                  </a:lnTo>
                  <a:lnTo>
                    <a:pt x="52" y="130"/>
                  </a:lnTo>
                  <a:lnTo>
                    <a:pt x="52" y="130"/>
                  </a:lnTo>
                  <a:lnTo>
                    <a:pt x="52" y="120"/>
                  </a:lnTo>
                  <a:lnTo>
                    <a:pt x="52" y="120"/>
                  </a:lnTo>
                  <a:lnTo>
                    <a:pt x="54" y="120"/>
                  </a:lnTo>
                  <a:lnTo>
                    <a:pt x="54" y="120"/>
                  </a:lnTo>
                  <a:lnTo>
                    <a:pt x="52" y="116"/>
                  </a:lnTo>
                  <a:lnTo>
                    <a:pt x="52" y="116"/>
                  </a:lnTo>
                  <a:lnTo>
                    <a:pt x="54" y="110"/>
                  </a:lnTo>
                  <a:lnTo>
                    <a:pt x="52" y="104"/>
                  </a:lnTo>
                  <a:lnTo>
                    <a:pt x="52" y="104"/>
                  </a:lnTo>
                  <a:lnTo>
                    <a:pt x="50" y="106"/>
                  </a:lnTo>
                  <a:lnTo>
                    <a:pt x="50" y="106"/>
                  </a:lnTo>
                  <a:lnTo>
                    <a:pt x="48" y="102"/>
                  </a:lnTo>
                  <a:lnTo>
                    <a:pt x="48" y="102"/>
                  </a:lnTo>
                  <a:lnTo>
                    <a:pt x="40" y="98"/>
                  </a:lnTo>
                  <a:lnTo>
                    <a:pt x="36" y="96"/>
                  </a:lnTo>
                  <a:lnTo>
                    <a:pt x="34" y="94"/>
                  </a:lnTo>
                  <a:lnTo>
                    <a:pt x="34" y="94"/>
                  </a:lnTo>
                  <a:lnTo>
                    <a:pt x="34" y="86"/>
                  </a:lnTo>
                  <a:lnTo>
                    <a:pt x="34" y="86"/>
                  </a:lnTo>
                  <a:lnTo>
                    <a:pt x="34" y="88"/>
                  </a:lnTo>
                  <a:lnTo>
                    <a:pt x="34" y="86"/>
                  </a:lnTo>
                  <a:lnTo>
                    <a:pt x="34" y="82"/>
                  </a:lnTo>
                  <a:lnTo>
                    <a:pt x="34" y="82"/>
                  </a:lnTo>
                  <a:lnTo>
                    <a:pt x="30" y="82"/>
                  </a:lnTo>
                  <a:lnTo>
                    <a:pt x="28" y="80"/>
                  </a:lnTo>
                  <a:lnTo>
                    <a:pt x="28" y="80"/>
                  </a:lnTo>
                  <a:lnTo>
                    <a:pt x="30" y="80"/>
                  </a:lnTo>
                  <a:lnTo>
                    <a:pt x="30" y="78"/>
                  </a:lnTo>
                  <a:lnTo>
                    <a:pt x="30" y="78"/>
                  </a:lnTo>
                  <a:lnTo>
                    <a:pt x="24" y="78"/>
                  </a:lnTo>
                  <a:lnTo>
                    <a:pt x="24" y="78"/>
                  </a:lnTo>
                  <a:lnTo>
                    <a:pt x="24" y="76"/>
                  </a:lnTo>
                  <a:lnTo>
                    <a:pt x="26" y="76"/>
                  </a:lnTo>
                  <a:lnTo>
                    <a:pt x="26" y="76"/>
                  </a:lnTo>
                  <a:lnTo>
                    <a:pt x="28" y="72"/>
                  </a:lnTo>
                  <a:lnTo>
                    <a:pt x="28" y="72"/>
                  </a:lnTo>
                  <a:lnTo>
                    <a:pt x="26" y="72"/>
                  </a:lnTo>
                  <a:lnTo>
                    <a:pt x="26" y="72"/>
                  </a:lnTo>
                  <a:lnTo>
                    <a:pt x="26" y="72"/>
                  </a:lnTo>
                  <a:lnTo>
                    <a:pt x="20" y="78"/>
                  </a:lnTo>
                  <a:lnTo>
                    <a:pt x="20" y="78"/>
                  </a:lnTo>
                  <a:lnTo>
                    <a:pt x="18" y="72"/>
                  </a:lnTo>
                  <a:lnTo>
                    <a:pt x="14" y="68"/>
                  </a:lnTo>
                  <a:lnTo>
                    <a:pt x="14" y="68"/>
                  </a:lnTo>
                  <a:lnTo>
                    <a:pt x="12" y="70"/>
                  </a:lnTo>
                  <a:lnTo>
                    <a:pt x="12" y="70"/>
                  </a:lnTo>
                  <a:lnTo>
                    <a:pt x="12" y="68"/>
                  </a:lnTo>
                  <a:lnTo>
                    <a:pt x="12" y="66"/>
                  </a:lnTo>
                  <a:lnTo>
                    <a:pt x="12" y="66"/>
                  </a:lnTo>
                  <a:lnTo>
                    <a:pt x="0" y="68"/>
                  </a:lnTo>
                  <a:lnTo>
                    <a:pt x="0" y="66"/>
                  </a:lnTo>
                  <a:lnTo>
                    <a:pt x="2" y="64"/>
                  </a:lnTo>
                  <a:lnTo>
                    <a:pt x="2" y="64"/>
                  </a:lnTo>
                  <a:lnTo>
                    <a:pt x="2" y="60"/>
                  </a:lnTo>
                  <a:lnTo>
                    <a:pt x="2" y="60"/>
                  </a:lnTo>
                  <a:lnTo>
                    <a:pt x="6" y="62"/>
                  </a:lnTo>
                  <a:lnTo>
                    <a:pt x="6" y="60"/>
                  </a:lnTo>
                  <a:lnTo>
                    <a:pt x="6" y="60"/>
                  </a:lnTo>
                  <a:lnTo>
                    <a:pt x="0" y="56"/>
                  </a:lnTo>
                  <a:lnTo>
                    <a:pt x="0" y="54"/>
                  </a:lnTo>
                  <a:lnTo>
                    <a:pt x="0" y="54"/>
                  </a:lnTo>
                  <a:lnTo>
                    <a:pt x="6" y="50"/>
                  </a:lnTo>
                  <a:lnTo>
                    <a:pt x="6" y="50"/>
                  </a:lnTo>
                  <a:lnTo>
                    <a:pt x="10" y="52"/>
                  </a:lnTo>
                  <a:lnTo>
                    <a:pt x="14" y="52"/>
                  </a:lnTo>
                  <a:lnTo>
                    <a:pt x="16" y="48"/>
                  </a:lnTo>
                  <a:lnTo>
                    <a:pt x="16" y="48"/>
                  </a:lnTo>
                  <a:lnTo>
                    <a:pt x="20" y="48"/>
                  </a:lnTo>
                  <a:lnTo>
                    <a:pt x="22" y="50"/>
                  </a:lnTo>
                  <a:lnTo>
                    <a:pt x="24" y="54"/>
                  </a:lnTo>
                  <a:lnTo>
                    <a:pt x="26" y="54"/>
                  </a:lnTo>
                  <a:lnTo>
                    <a:pt x="26" y="54"/>
                  </a:lnTo>
                  <a:lnTo>
                    <a:pt x="28" y="50"/>
                  </a:lnTo>
                  <a:lnTo>
                    <a:pt x="28" y="50"/>
                  </a:lnTo>
                  <a:lnTo>
                    <a:pt x="32" y="52"/>
                  </a:lnTo>
                  <a:lnTo>
                    <a:pt x="34" y="52"/>
                  </a:lnTo>
                  <a:lnTo>
                    <a:pt x="34" y="50"/>
                  </a:lnTo>
                  <a:lnTo>
                    <a:pt x="34" y="50"/>
                  </a:lnTo>
                  <a:lnTo>
                    <a:pt x="46" y="50"/>
                  </a:lnTo>
                  <a:lnTo>
                    <a:pt x="46" y="50"/>
                  </a:lnTo>
                  <a:lnTo>
                    <a:pt x="46" y="50"/>
                  </a:lnTo>
                  <a:lnTo>
                    <a:pt x="48" y="48"/>
                  </a:lnTo>
                  <a:lnTo>
                    <a:pt x="48" y="48"/>
                  </a:lnTo>
                  <a:lnTo>
                    <a:pt x="44" y="46"/>
                  </a:lnTo>
                  <a:lnTo>
                    <a:pt x="44" y="46"/>
                  </a:lnTo>
                  <a:lnTo>
                    <a:pt x="44" y="42"/>
                  </a:lnTo>
                  <a:lnTo>
                    <a:pt x="44" y="38"/>
                  </a:lnTo>
                  <a:lnTo>
                    <a:pt x="44" y="38"/>
                  </a:lnTo>
                  <a:lnTo>
                    <a:pt x="40" y="28"/>
                  </a:lnTo>
                  <a:lnTo>
                    <a:pt x="40" y="28"/>
                  </a:lnTo>
                  <a:lnTo>
                    <a:pt x="46" y="28"/>
                  </a:lnTo>
                  <a:lnTo>
                    <a:pt x="48" y="28"/>
                  </a:lnTo>
                  <a:lnTo>
                    <a:pt x="50" y="36"/>
                  </a:lnTo>
                  <a:lnTo>
                    <a:pt x="50" y="36"/>
                  </a:lnTo>
                  <a:lnTo>
                    <a:pt x="60" y="34"/>
                  </a:lnTo>
                  <a:lnTo>
                    <a:pt x="68" y="32"/>
                  </a:lnTo>
                  <a:lnTo>
                    <a:pt x="68" y="32"/>
                  </a:lnTo>
                  <a:lnTo>
                    <a:pt x="68" y="28"/>
                  </a:lnTo>
                  <a:lnTo>
                    <a:pt x="68" y="28"/>
                  </a:lnTo>
                  <a:lnTo>
                    <a:pt x="74" y="24"/>
                  </a:lnTo>
                  <a:lnTo>
                    <a:pt x="82" y="20"/>
                  </a:lnTo>
                  <a:lnTo>
                    <a:pt x="82" y="20"/>
                  </a:lnTo>
                  <a:lnTo>
                    <a:pt x="84" y="20"/>
                  </a:lnTo>
                  <a:lnTo>
                    <a:pt x="86" y="20"/>
                  </a:lnTo>
                  <a:lnTo>
                    <a:pt x="86" y="20"/>
                  </a:lnTo>
                  <a:lnTo>
                    <a:pt x="84" y="16"/>
                  </a:lnTo>
                  <a:lnTo>
                    <a:pt x="86" y="8"/>
                  </a:lnTo>
                  <a:lnTo>
                    <a:pt x="86" y="8"/>
                  </a:lnTo>
                  <a:lnTo>
                    <a:pt x="86" y="2"/>
                  </a:lnTo>
                  <a:lnTo>
                    <a:pt x="86" y="2"/>
                  </a:lnTo>
                  <a:lnTo>
                    <a:pt x="94" y="0"/>
                  </a:lnTo>
                  <a:lnTo>
                    <a:pt x="98" y="4"/>
                  </a:lnTo>
                  <a:lnTo>
                    <a:pt x="98" y="4"/>
                  </a:lnTo>
                  <a:lnTo>
                    <a:pt x="98" y="4"/>
                  </a:lnTo>
                  <a:lnTo>
                    <a:pt x="100" y="6"/>
                  </a:lnTo>
                  <a:lnTo>
                    <a:pt x="100" y="6"/>
                  </a:lnTo>
                  <a:lnTo>
                    <a:pt x="102" y="12"/>
                  </a:lnTo>
                  <a:lnTo>
                    <a:pt x="102" y="12"/>
                  </a:lnTo>
                  <a:lnTo>
                    <a:pt x="104" y="12"/>
                  </a:lnTo>
                  <a:lnTo>
                    <a:pt x="108" y="16"/>
                  </a:lnTo>
                  <a:lnTo>
                    <a:pt x="108" y="16"/>
                  </a:lnTo>
                  <a:lnTo>
                    <a:pt x="110" y="18"/>
                  </a:lnTo>
                  <a:lnTo>
                    <a:pt x="112" y="18"/>
                  </a:lnTo>
                  <a:lnTo>
                    <a:pt x="114" y="16"/>
                  </a:lnTo>
                  <a:lnTo>
                    <a:pt x="114" y="16"/>
                  </a:lnTo>
                  <a:lnTo>
                    <a:pt x="114" y="18"/>
                  </a:lnTo>
                  <a:lnTo>
                    <a:pt x="116" y="22"/>
                  </a:lnTo>
                  <a:lnTo>
                    <a:pt x="116" y="22"/>
                  </a:lnTo>
                  <a:lnTo>
                    <a:pt x="120" y="24"/>
                  </a:lnTo>
                  <a:lnTo>
                    <a:pt x="124" y="26"/>
                  </a:lnTo>
                  <a:lnTo>
                    <a:pt x="124" y="26"/>
                  </a:lnTo>
                  <a:lnTo>
                    <a:pt x="126" y="26"/>
                  </a:lnTo>
                  <a:lnTo>
                    <a:pt x="128" y="26"/>
                  </a:lnTo>
                  <a:lnTo>
                    <a:pt x="130" y="24"/>
                  </a:lnTo>
                  <a:lnTo>
                    <a:pt x="130" y="26"/>
                  </a:lnTo>
                  <a:lnTo>
                    <a:pt x="130" y="26"/>
                  </a:lnTo>
                  <a:lnTo>
                    <a:pt x="130" y="30"/>
                  </a:lnTo>
                  <a:lnTo>
                    <a:pt x="132" y="32"/>
                  </a:lnTo>
                  <a:lnTo>
                    <a:pt x="132" y="32"/>
                  </a:lnTo>
                  <a:lnTo>
                    <a:pt x="136" y="32"/>
                  </a:lnTo>
                  <a:lnTo>
                    <a:pt x="142" y="30"/>
                  </a:lnTo>
                  <a:lnTo>
                    <a:pt x="142" y="30"/>
                  </a:lnTo>
                  <a:lnTo>
                    <a:pt x="142" y="32"/>
                  </a:lnTo>
                  <a:lnTo>
                    <a:pt x="142" y="32"/>
                  </a:lnTo>
                  <a:lnTo>
                    <a:pt x="142" y="34"/>
                  </a:lnTo>
                  <a:lnTo>
                    <a:pt x="142" y="36"/>
                  </a:lnTo>
                  <a:lnTo>
                    <a:pt x="144" y="38"/>
                  </a:lnTo>
                  <a:lnTo>
                    <a:pt x="144" y="38"/>
                  </a:lnTo>
                  <a:lnTo>
                    <a:pt x="150" y="40"/>
                  </a:lnTo>
                  <a:lnTo>
                    <a:pt x="150" y="40"/>
                  </a:lnTo>
                  <a:lnTo>
                    <a:pt x="154" y="38"/>
                  </a:lnTo>
                  <a:lnTo>
                    <a:pt x="158" y="38"/>
                  </a:lnTo>
                  <a:lnTo>
                    <a:pt x="160" y="40"/>
                  </a:lnTo>
                  <a:lnTo>
                    <a:pt x="160" y="40"/>
                  </a:lnTo>
                  <a:lnTo>
                    <a:pt x="162" y="42"/>
                  </a:lnTo>
                  <a:lnTo>
                    <a:pt x="164" y="44"/>
                  </a:lnTo>
                  <a:lnTo>
                    <a:pt x="168" y="42"/>
                  </a:lnTo>
                  <a:lnTo>
                    <a:pt x="168" y="42"/>
                  </a:lnTo>
                  <a:lnTo>
                    <a:pt x="174" y="44"/>
                  </a:lnTo>
                  <a:lnTo>
                    <a:pt x="174" y="44"/>
                  </a:lnTo>
                  <a:lnTo>
                    <a:pt x="174" y="46"/>
                  </a:lnTo>
                  <a:lnTo>
                    <a:pt x="174" y="52"/>
                  </a:lnTo>
                  <a:lnTo>
                    <a:pt x="174" y="52"/>
                  </a:lnTo>
                  <a:close/>
                  <a:moveTo>
                    <a:pt x="190" y="160"/>
                  </a:moveTo>
                  <a:lnTo>
                    <a:pt x="190" y="160"/>
                  </a:lnTo>
                  <a:lnTo>
                    <a:pt x="188" y="164"/>
                  </a:lnTo>
                  <a:lnTo>
                    <a:pt x="186" y="168"/>
                  </a:lnTo>
                  <a:lnTo>
                    <a:pt x="186" y="168"/>
                  </a:lnTo>
                  <a:lnTo>
                    <a:pt x="182" y="168"/>
                  </a:lnTo>
                  <a:lnTo>
                    <a:pt x="178" y="170"/>
                  </a:lnTo>
                  <a:lnTo>
                    <a:pt x="178" y="170"/>
                  </a:lnTo>
                  <a:lnTo>
                    <a:pt x="178" y="178"/>
                  </a:lnTo>
                  <a:lnTo>
                    <a:pt x="180" y="184"/>
                  </a:lnTo>
                  <a:lnTo>
                    <a:pt x="180" y="184"/>
                  </a:lnTo>
                  <a:lnTo>
                    <a:pt x="178" y="184"/>
                  </a:lnTo>
                  <a:lnTo>
                    <a:pt x="178" y="186"/>
                  </a:lnTo>
                  <a:lnTo>
                    <a:pt x="178" y="186"/>
                  </a:lnTo>
                  <a:lnTo>
                    <a:pt x="180" y="188"/>
                  </a:lnTo>
                  <a:lnTo>
                    <a:pt x="184" y="190"/>
                  </a:lnTo>
                  <a:lnTo>
                    <a:pt x="190" y="194"/>
                  </a:lnTo>
                  <a:lnTo>
                    <a:pt x="190" y="194"/>
                  </a:lnTo>
                  <a:lnTo>
                    <a:pt x="194" y="178"/>
                  </a:lnTo>
                  <a:lnTo>
                    <a:pt x="194" y="170"/>
                  </a:lnTo>
                  <a:lnTo>
                    <a:pt x="192" y="162"/>
                  </a:lnTo>
                  <a:lnTo>
                    <a:pt x="192" y="162"/>
                  </a:lnTo>
                  <a:lnTo>
                    <a:pt x="190" y="160"/>
                  </a:lnTo>
                  <a:lnTo>
                    <a:pt x="190" y="1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2" name="Line 187"/>
            <p:cNvSpPr>
              <a:spLocks noChangeAspect="1" noChangeShapeType="1"/>
            </p:cNvSpPr>
            <p:nvPr/>
          </p:nvSpPr>
          <p:spPr bwMode="gray">
            <a:xfrm>
              <a:off x="8100766" y="5042829"/>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3" name="Line 188"/>
            <p:cNvSpPr>
              <a:spLocks noChangeAspect="1" noChangeShapeType="1"/>
            </p:cNvSpPr>
            <p:nvPr/>
          </p:nvSpPr>
          <p:spPr bwMode="gray">
            <a:xfrm>
              <a:off x="8100766" y="5042829"/>
              <a:ext cx="1700" cy="1645"/>
            </a:xfrm>
            <a:prstGeom prst="line">
              <a:avLst/>
            </a:prstGeom>
            <a:grpFill/>
            <a:ln w="3175">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4" name="Freeform 189"/>
            <p:cNvSpPr>
              <a:spLocks noChangeAspect="1"/>
            </p:cNvSpPr>
            <p:nvPr/>
          </p:nvSpPr>
          <p:spPr bwMode="gray">
            <a:xfrm>
              <a:off x="4765140" y="2233221"/>
              <a:ext cx="248217" cy="388213"/>
            </a:xfrm>
            <a:custGeom>
              <a:avLst/>
              <a:gdLst/>
              <a:ahLst/>
              <a:cxnLst>
                <a:cxn ang="0">
                  <a:pos x="54" y="102"/>
                </a:cxn>
                <a:cxn ang="0">
                  <a:pos x="58" y="100"/>
                </a:cxn>
                <a:cxn ang="0">
                  <a:pos x="60" y="114"/>
                </a:cxn>
                <a:cxn ang="0">
                  <a:pos x="58" y="122"/>
                </a:cxn>
                <a:cxn ang="0">
                  <a:pos x="54" y="122"/>
                </a:cxn>
                <a:cxn ang="0">
                  <a:pos x="46" y="134"/>
                </a:cxn>
                <a:cxn ang="0">
                  <a:pos x="40" y="146"/>
                </a:cxn>
                <a:cxn ang="0">
                  <a:pos x="28" y="156"/>
                </a:cxn>
                <a:cxn ang="0">
                  <a:pos x="22" y="160"/>
                </a:cxn>
                <a:cxn ang="0">
                  <a:pos x="18" y="166"/>
                </a:cxn>
                <a:cxn ang="0">
                  <a:pos x="16" y="178"/>
                </a:cxn>
                <a:cxn ang="0">
                  <a:pos x="20" y="190"/>
                </a:cxn>
                <a:cxn ang="0">
                  <a:pos x="16" y="198"/>
                </a:cxn>
                <a:cxn ang="0">
                  <a:pos x="18" y="210"/>
                </a:cxn>
                <a:cxn ang="0">
                  <a:pos x="22" y="220"/>
                </a:cxn>
                <a:cxn ang="0">
                  <a:pos x="24" y="214"/>
                </a:cxn>
                <a:cxn ang="0">
                  <a:pos x="32" y="218"/>
                </a:cxn>
                <a:cxn ang="0">
                  <a:pos x="38" y="220"/>
                </a:cxn>
                <a:cxn ang="0">
                  <a:pos x="28" y="234"/>
                </a:cxn>
                <a:cxn ang="0">
                  <a:pos x="40" y="230"/>
                </a:cxn>
                <a:cxn ang="0">
                  <a:pos x="42" y="234"/>
                </a:cxn>
                <a:cxn ang="0">
                  <a:pos x="54" y="234"/>
                </a:cxn>
                <a:cxn ang="0">
                  <a:pos x="70" y="224"/>
                </a:cxn>
                <a:cxn ang="0">
                  <a:pos x="74" y="222"/>
                </a:cxn>
                <a:cxn ang="0">
                  <a:pos x="84" y="222"/>
                </a:cxn>
                <a:cxn ang="0">
                  <a:pos x="86" y="216"/>
                </a:cxn>
                <a:cxn ang="0">
                  <a:pos x="92" y="218"/>
                </a:cxn>
                <a:cxn ang="0">
                  <a:pos x="140" y="186"/>
                </a:cxn>
                <a:cxn ang="0">
                  <a:pos x="144" y="170"/>
                </a:cxn>
                <a:cxn ang="0">
                  <a:pos x="134" y="164"/>
                </a:cxn>
                <a:cxn ang="0">
                  <a:pos x="138" y="148"/>
                </a:cxn>
                <a:cxn ang="0">
                  <a:pos x="136" y="138"/>
                </a:cxn>
                <a:cxn ang="0">
                  <a:pos x="128" y="124"/>
                </a:cxn>
                <a:cxn ang="0">
                  <a:pos x="126" y="108"/>
                </a:cxn>
                <a:cxn ang="0">
                  <a:pos x="126" y="100"/>
                </a:cxn>
                <a:cxn ang="0">
                  <a:pos x="118" y="66"/>
                </a:cxn>
                <a:cxn ang="0">
                  <a:pos x="126" y="50"/>
                </a:cxn>
                <a:cxn ang="0">
                  <a:pos x="118" y="42"/>
                </a:cxn>
                <a:cxn ang="0">
                  <a:pos x="122" y="20"/>
                </a:cxn>
                <a:cxn ang="0">
                  <a:pos x="116" y="18"/>
                </a:cxn>
                <a:cxn ang="0">
                  <a:pos x="100" y="0"/>
                </a:cxn>
                <a:cxn ang="0">
                  <a:pos x="82" y="4"/>
                </a:cxn>
                <a:cxn ang="0">
                  <a:pos x="76" y="10"/>
                </a:cxn>
                <a:cxn ang="0">
                  <a:pos x="68" y="20"/>
                </a:cxn>
                <a:cxn ang="0">
                  <a:pos x="68" y="32"/>
                </a:cxn>
                <a:cxn ang="0">
                  <a:pos x="60" y="42"/>
                </a:cxn>
                <a:cxn ang="0">
                  <a:pos x="48" y="34"/>
                </a:cxn>
                <a:cxn ang="0">
                  <a:pos x="42" y="34"/>
                </a:cxn>
                <a:cxn ang="0">
                  <a:pos x="10" y="20"/>
                </a:cxn>
                <a:cxn ang="0">
                  <a:pos x="0" y="28"/>
                </a:cxn>
                <a:cxn ang="0">
                  <a:pos x="12" y="38"/>
                </a:cxn>
                <a:cxn ang="0">
                  <a:pos x="26" y="42"/>
                </a:cxn>
                <a:cxn ang="0">
                  <a:pos x="36" y="54"/>
                </a:cxn>
                <a:cxn ang="0">
                  <a:pos x="36" y="64"/>
                </a:cxn>
                <a:cxn ang="0">
                  <a:pos x="38" y="74"/>
                </a:cxn>
                <a:cxn ang="0">
                  <a:pos x="40" y="98"/>
                </a:cxn>
              </a:cxnLst>
              <a:rect l="0" t="0" r="r" b="b"/>
              <a:pathLst>
                <a:path w="146" h="236">
                  <a:moveTo>
                    <a:pt x="40" y="98"/>
                  </a:moveTo>
                  <a:lnTo>
                    <a:pt x="40" y="98"/>
                  </a:lnTo>
                  <a:lnTo>
                    <a:pt x="52" y="98"/>
                  </a:lnTo>
                  <a:lnTo>
                    <a:pt x="54" y="102"/>
                  </a:lnTo>
                  <a:lnTo>
                    <a:pt x="54" y="102"/>
                  </a:lnTo>
                  <a:lnTo>
                    <a:pt x="54" y="102"/>
                  </a:lnTo>
                  <a:lnTo>
                    <a:pt x="56" y="102"/>
                  </a:lnTo>
                  <a:lnTo>
                    <a:pt x="56" y="100"/>
                  </a:lnTo>
                  <a:lnTo>
                    <a:pt x="58" y="100"/>
                  </a:lnTo>
                  <a:lnTo>
                    <a:pt x="58" y="100"/>
                  </a:lnTo>
                  <a:lnTo>
                    <a:pt x="58" y="104"/>
                  </a:lnTo>
                  <a:lnTo>
                    <a:pt x="58" y="106"/>
                  </a:lnTo>
                  <a:lnTo>
                    <a:pt x="58" y="112"/>
                  </a:lnTo>
                  <a:lnTo>
                    <a:pt x="60" y="114"/>
                  </a:lnTo>
                  <a:lnTo>
                    <a:pt x="60" y="114"/>
                  </a:lnTo>
                  <a:lnTo>
                    <a:pt x="60" y="116"/>
                  </a:lnTo>
                  <a:lnTo>
                    <a:pt x="58" y="118"/>
                  </a:lnTo>
                  <a:lnTo>
                    <a:pt x="58" y="118"/>
                  </a:lnTo>
                  <a:lnTo>
                    <a:pt x="58" y="120"/>
                  </a:lnTo>
                  <a:lnTo>
                    <a:pt x="58" y="122"/>
                  </a:lnTo>
                  <a:lnTo>
                    <a:pt x="58" y="122"/>
                  </a:lnTo>
                  <a:lnTo>
                    <a:pt x="58" y="122"/>
                  </a:lnTo>
                  <a:lnTo>
                    <a:pt x="58" y="122"/>
                  </a:lnTo>
                  <a:lnTo>
                    <a:pt x="58" y="122"/>
                  </a:lnTo>
                  <a:lnTo>
                    <a:pt x="54" y="122"/>
                  </a:lnTo>
                  <a:lnTo>
                    <a:pt x="52" y="124"/>
                  </a:lnTo>
                  <a:lnTo>
                    <a:pt x="52" y="124"/>
                  </a:lnTo>
                  <a:lnTo>
                    <a:pt x="48" y="128"/>
                  </a:lnTo>
                  <a:lnTo>
                    <a:pt x="48" y="134"/>
                  </a:lnTo>
                  <a:lnTo>
                    <a:pt x="46" y="134"/>
                  </a:lnTo>
                  <a:lnTo>
                    <a:pt x="46" y="134"/>
                  </a:lnTo>
                  <a:lnTo>
                    <a:pt x="40" y="142"/>
                  </a:lnTo>
                  <a:lnTo>
                    <a:pt x="40" y="142"/>
                  </a:lnTo>
                  <a:lnTo>
                    <a:pt x="40" y="146"/>
                  </a:lnTo>
                  <a:lnTo>
                    <a:pt x="40" y="146"/>
                  </a:lnTo>
                  <a:lnTo>
                    <a:pt x="38" y="148"/>
                  </a:lnTo>
                  <a:lnTo>
                    <a:pt x="32" y="150"/>
                  </a:lnTo>
                  <a:lnTo>
                    <a:pt x="32" y="150"/>
                  </a:lnTo>
                  <a:lnTo>
                    <a:pt x="30" y="152"/>
                  </a:lnTo>
                  <a:lnTo>
                    <a:pt x="28" y="156"/>
                  </a:lnTo>
                  <a:lnTo>
                    <a:pt x="26" y="156"/>
                  </a:lnTo>
                  <a:lnTo>
                    <a:pt x="26" y="156"/>
                  </a:lnTo>
                  <a:lnTo>
                    <a:pt x="26" y="160"/>
                  </a:lnTo>
                  <a:lnTo>
                    <a:pt x="26" y="160"/>
                  </a:lnTo>
                  <a:lnTo>
                    <a:pt x="22" y="160"/>
                  </a:lnTo>
                  <a:lnTo>
                    <a:pt x="20" y="160"/>
                  </a:lnTo>
                  <a:lnTo>
                    <a:pt x="20" y="160"/>
                  </a:lnTo>
                  <a:lnTo>
                    <a:pt x="20" y="162"/>
                  </a:lnTo>
                  <a:lnTo>
                    <a:pt x="18" y="166"/>
                  </a:lnTo>
                  <a:lnTo>
                    <a:pt x="18" y="166"/>
                  </a:lnTo>
                  <a:lnTo>
                    <a:pt x="12" y="170"/>
                  </a:lnTo>
                  <a:lnTo>
                    <a:pt x="12" y="170"/>
                  </a:lnTo>
                  <a:lnTo>
                    <a:pt x="12" y="176"/>
                  </a:lnTo>
                  <a:lnTo>
                    <a:pt x="12" y="176"/>
                  </a:lnTo>
                  <a:lnTo>
                    <a:pt x="16" y="178"/>
                  </a:lnTo>
                  <a:lnTo>
                    <a:pt x="16" y="178"/>
                  </a:lnTo>
                  <a:lnTo>
                    <a:pt x="16" y="180"/>
                  </a:lnTo>
                  <a:lnTo>
                    <a:pt x="16" y="182"/>
                  </a:lnTo>
                  <a:lnTo>
                    <a:pt x="20" y="190"/>
                  </a:lnTo>
                  <a:lnTo>
                    <a:pt x="20" y="190"/>
                  </a:lnTo>
                  <a:lnTo>
                    <a:pt x="20" y="192"/>
                  </a:lnTo>
                  <a:lnTo>
                    <a:pt x="20" y="192"/>
                  </a:lnTo>
                  <a:lnTo>
                    <a:pt x="16" y="196"/>
                  </a:lnTo>
                  <a:lnTo>
                    <a:pt x="16" y="198"/>
                  </a:lnTo>
                  <a:lnTo>
                    <a:pt x="16" y="198"/>
                  </a:lnTo>
                  <a:lnTo>
                    <a:pt x="16" y="206"/>
                  </a:lnTo>
                  <a:lnTo>
                    <a:pt x="16" y="206"/>
                  </a:lnTo>
                  <a:lnTo>
                    <a:pt x="18" y="212"/>
                  </a:lnTo>
                  <a:lnTo>
                    <a:pt x="18" y="212"/>
                  </a:lnTo>
                  <a:lnTo>
                    <a:pt x="18" y="210"/>
                  </a:lnTo>
                  <a:lnTo>
                    <a:pt x="20" y="210"/>
                  </a:lnTo>
                  <a:lnTo>
                    <a:pt x="22" y="210"/>
                  </a:lnTo>
                  <a:lnTo>
                    <a:pt x="22" y="210"/>
                  </a:lnTo>
                  <a:lnTo>
                    <a:pt x="22" y="220"/>
                  </a:lnTo>
                  <a:lnTo>
                    <a:pt x="22" y="220"/>
                  </a:lnTo>
                  <a:lnTo>
                    <a:pt x="26" y="220"/>
                  </a:lnTo>
                  <a:lnTo>
                    <a:pt x="26" y="220"/>
                  </a:lnTo>
                  <a:lnTo>
                    <a:pt x="24" y="216"/>
                  </a:lnTo>
                  <a:lnTo>
                    <a:pt x="24" y="214"/>
                  </a:lnTo>
                  <a:lnTo>
                    <a:pt x="24" y="214"/>
                  </a:lnTo>
                  <a:lnTo>
                    <a:pt x="24" y="214"/>
                  </a:lnTo>
                  <a:lnTo>
                    <a:pt x="26" y="216"/>
                  </a:lnTo>
                  <a:lnTo>
                    <a:pt x="26" y="216"/>
                  </a:lnTo>
                  <a:lnTo>
                    <a:pt x="32" y="218"/>
                  </a:lnTo>
                  <a:lnTo>
                    <a:pt x="32" y="218"/>
                  </a:lnTo>
                  <a:lnTo>
                    <a:pt x="32" y="222"/>
                  </a:lnTo>
                  <a:lnTo>
                    <a:pt x="32" y="222"/>
                  </a:lnTo>
                  <a:lnTo>
                    <a:pt x="36" y="222"/>
                  </a:lnTo>
                  <a:lnTo>
                    <a:pt x="38" y="220"/>
                  </a:lnTo>
                  <a:lnTo>
                    <a:pt x="38" y="220"/>
                  </a:lnTo>
                  <a:lnTo>
                    <a:pt x="38" y="224"/>
                  </a:lnTo>
                  <a:lnTo>
                    <a:pt x="38" y="224"/>
                  </a:lnTo>
                  <a:lnTo>
                    <a:pt x="28" y="226"/>
                  </a:lnTo>
                  <a:lnTo>
                    <a:pt x="28" y="226"/>
                  </a:lnTo>
                  <a:lnTo>
                    <a:pt x="28" y="234"/>
                  </a:lnTo>
                  <a:lnTo>
                    <a:pt x="28" y="234"/>
                  </a:lnTo>
                  <a:lnTo>
                    <a:pt x="34" y="232"/>
                  </a:lnTo>
                  <a:lnTo>
                    <a:pt x="36" y="226"/>
                  </a:lnTo>
                  <a:lnTo>
                    <a:pt x="36" y="226"/>
                  </a:lnTo>
                  <a:lnTo>
                    <a:pt x="40" y="230"/>
                  </a:lnTo>
                  <a:lnTo>
                    <a:pt x="40" y="230"/>
                  </a:lnTo>
                  <a:lnTo>
                    <a:pt x="40" y="232"/>
                  </a:lnTo>
                  <a:lnTo>
                    <a:pt x="38" y="234"/>
                  </a:lnTo>
                  <a:lnTo>
                    <a:pt x="38" y="234"/>
                  </a:lnTo>
                  <a:lnTo>
                    <a:pt x="42" y="234"/>
                  </a:lnTo>
                  <a:lnTo>
                    <a:pt x="42" y="234"/>
                  </a:lnTo>
                  <a:lnTo>
                    <a:pt x="42" y="236"/>
                  </a:lnTo>
                  <a:lnTo>
                    <a:pt x="42" y="236"/>
                  </a:lnTo>
                  <a:lnTo>
                    <a:pt x="54" y="234"/>
                  </a:lnTo>
                  <a:lnTo>
                    <a:pt x="54" y="234"/>
                  </a:lnTo>
                  <a:lnTo>
                    <a:pt x="54" y="232"/>
                  </a:lnTo>
                  <a:lnTo>
                    <a:pt x="54" y="232"/>
                  </a:lnTo>
                  <a:lnTo>
                    <a:pt x="60" y="228"/>
                  </a:lnTo>
                  <a:lnTo>
                    <a:pt x="70" y="224"/>
                  </a:lnTo>
                  <a:lnTo>
                    <a:pt x="70" y="224"/>
                  </a:lnTo>
                  <a:lnTo>
                    <a:pt x="70" y="220"/>
                  </a:lnTo>
                  <a:lnTo>
                    <a:pt x="70" y="220"/>
                  </a:lnTo>
                  <a:lnTo>
                    <a:pt x="72" y="220"/>
                  </a:lnTo>
                  <a:lnTo>
                    <a:pt x="74" y="222"/>
                  </a:lnTo>
                  <a:lnTo>
                    <a:pt x="74" y="222"/>
                  </a:lnTo>
                  <a:lnTo>
                    <a:pt x="76" y="220"/>
                  </a:lnTo>
                  <a:lnTo>
                    <a:pt x="78" y="220"/>
                  </a:lnTo>
                  <a:lnTo>
                    <a:pt x="78" y="220"/>
                  </a:lnTo>
                  <a:lnTo>
                    <a:pt x="80" y="220"/>
                  </a:lnTo>
                  <a:lnTo>
                    <a:pt x="84" y="222"/>
                  </a:lnTo>
                  <a:lnTo>
                    <a:pt x="84" y="222"/>
                  </a:lnTo>
                  <a:lnTo>
                    <a:pt x="84" y="218"/>
                  </a:lnTo>
                  <a:lnTo>
                    <a:pt x="84" y="218"/>
                  </a:lnTo>
                  <a:lnTo>
                    <a:pt x="86" y="218"/>
                  </a:lnTo>
                  <a:lnTo>
                    <a:pt x="86" y="216"/>
                  </a:lnTo>
                  <a:lnTo>
                    <a:pt x="86" y="216"/>
                  </a:lnTo>
                  <a:lnTo>
                    <a:pt x="88" y="216"/>
                  </a:lnTo>
                  <a:lnTo>
                    <a:pt x="88" y="218"/>
                  </a:lnTo>
                  <a:lnTo>
                    <a:pt x="88" y="218"/>
                  </a:lnTo>
                  <a:lnTo>
                    <a:pt x="92" y="218"/>
                  </a:lnTo>
                  <a:lnTo>
                    <a:pt x="92" y="218"/>
                  </a:lnTo>
                  <a:lnTo>
                    <a:pt x="100" y="212"/>
                  </a:lnTo>
                  <a:lnTo>
                    <a:pt x="100" y="212"/>
                  </a:lnTo>
                  <a:lnTo>
                    <a:pt x="124" y="196"/>
                  </a:lnTo>
                  <a:lnTo>
                    <a:pt x="140" y="186"/>
                  </a:lnTo>
                  <a:lnTo>
                    <a:pt x="146" y="180"/>
                  </a:lnTo>
                  <a:lnTo>
                    <a:pt x="146" y="180"/>
                  </a:lnTo>
                  <a:lnTo>
                    <a:pt x="146" y="176"/>
                  </a:lnTo>
                  <a:lnTo>
                    <a:pt x="144" y="170"/>
                  </a:lnTo>
                  <a:lnTo>
                    <a:pt x="144" y="170"/>
                  </a:lnTo>
                  <a:lnTo>
                    <a:pt x="144" y="168"/>
                  </a:lnTo>
                  <a:lnTo>
                    <a:pt x="142" y="168"/>
                  </a:lnTo>
                  <a:lnTo>
                    <a:pt x="136" y="166"/>
                  </a:lnTo>
                  <a:lnTo>
                    <a:pt x="136" y="166"/>
                  </a:lnTo>
                  <a:lnTo>
                    <a:pt x="134" y="164"/>
                  </a:lnTo>
                  <a:lnTo>
                    <a:pt x="134" y="162"/>
                  </a:lnTo>
                  <a:lnTo>
                    <a:pt x="134" y="156"/>
                  </a:lnTo>
                  <a:lnTo>
                    <a:pt x="134" y="156"/>
                  </a:lnTo>
                  <a:lnTo>
                    <a:pt x="134" y="152"/>
                  </a:lnTo>
                  <a:lnTo>
                    <a:pt x="138" y="148"/>
                  </a:lnTo>
                  <a:lnTo>
                    <a:pt x="138" y="148"/>
                  </a:lnTo>
                  <a:lnTo>
                    <a:pt x="138" y="146"/>
                  </a:lnTo>
                  <a:lnTo>
                    <a:pt x="138" y="144"/>
                  </a:lnTo>
                  <a:lnTo>
                    <a:pt x="136" y="138"/>
                  </a:lnTo>
                  <a:lnTo>
                    <a:pt x="136" y="138"/>
                  </a:lnTo>
                  <a:lnTo>
                    <a:pt x="134" y="134"/>
                  </a:lnTo>
                  <a:lnTo>
                    <a:pt x="132" y="132"/>
                  </a:lnTo>
                  <a:lnTo>
                    <a:pt x="132" y="132"/>
                  </a:lnTo>
                  <a:lnTo>
                    <a:pt x="128" y="128"/>
                  </a:lnTo>
                  <a:lnTo>
                    <a:pt x="128" y="124"/>
                  </a:lnTo>
                  <a:lnTo>
                    <a:pt x="128" y="124"/>
                  </a:lnTo>
                  <a:lnTo>
                    <a:pt x="126" y="116"/>
                  </a:lnTo>
                  <a:lnTo>
                    <a:pt x="126" y="116"/>
                  </a:lnTo>
                  <a:lnTo>
                    <a:pt x="126" y="112"/>
                  </a:lnTo>
                  <a:lnTo>
                    <a:pt x="126" y="108"/>
                  </a:lnTo>
                  <a:lnTo>
                    <a:pt x="126" y="108"/>
                  </a:lnTo>
                  <a:lnTo>
                    <a:pt x="128" y="106"/>
                  </a:lnTo>
                  <a:lnTo>
                    <a:pt x="126" y="104"/>
                  </a:lnTo>
                  <a:lnTo>
                    <a:pt x="126" y="100"/>
                  </a:lnTo>
                  <a:lnTo>
                    <a:pt x="126" y="100"/>
                  </a:lnTo>
                  <a:lnTo>
                    <a:pt x="126" y="96"/>
                  </a:lnTo>
                  <a:lnTo>
                    <a:pt x="124" y="92"/>
                  </a:lnTo>
                  <a:lnTo>
                    <a:pt x="124" y="92"/>
                  </a:lnTo>
                  <a:lnTo>
                    <a:pt x="118" y="66"/>
                  </a:lnTo>
                  <a:lnTo>
                    <a:pt x="118" y="66"/>
                  </a:lnTo>
                  <a:lnTo>
                    <a:pt x="118" y="64"/>
                  </a:lnTo>
                  <a:lnTo>
                    <a:pt x="120" y="60"/>
                  </a:lnTo>
                  <a:lnTo>
                    <a:pt x="126" y="54"/>
                  </a:lnTo>
                  <a:lnTo>
                    <a:pt x="126" y="54"/>
                  </a:lnTo>
                  <a:lnTo>
                    <a:pt x="126" y="50"/>
                  </a:lnTo>
                  <a:lnTo>
                    <a:pt x="124" y="46"/>
                  </a:lnTo>
                  <a:lnTo>
                    <a:pt x="122" y="42"/>
                  </a:lnTo>
                  <a:lnTo>
                    <a:pt x="122" y="42"/>
                  </a:lnTo>
                  <a:lnTo>
                    <a:pt x="120" y="44"/>
                  </a:lnTo>
                  <a:lnTo>
                    <a:pt x="118" y="42"/>
                  </a:lnTo>
                  <a:lnTo>
                    <a:pt x="118" y="42"/>
                  </a:lnTo>
                  <a:lnTo>
                    <a:pt x="116" y="38"/>
                  </a:lnTo>
                  <a:lnTo>
                    <a:pt x="116" y="32"/>
                  </a:lnTo>
                  <a:lnTo>
                    <a:pt x="118" y="24"/>
                  </a:lnTo>
                  <a:lnTo>
                    <a:pt x="122" y="20"/>
                  </a:lnTo>
                  <a:lnTo>
                    <a:pt x="122" y="18"/>
                  </a:lnTo>
                  <a:lnTo>
                    <a:pt x="122" y="18"/>
                  </a:lnTo>
                  <a:lnTo>
                    <a:pt x="122" y="18"/>
                  </a:lnTo>
                  <a:lnTo>
                    <a:pt x="116" y="18"/>
                  </a:lnTo>
                  <a:lnTo>
                    <a:pt x="116" y="18"/>
                  </a:lnTo>
                  <a:lnTo>
                    <a:pt x="108" y="12"/>
                  </a:lnTo>
                  <a:lnTo>
                    <a:pt x="108" y="12"/>
                  </a:lnTo>
                  <a:lnTo>
                    <a:pt x="104" y="4"/>
                  </a:lnTo>
                  <a:lnTo>
                    <a:pt x="100" y="0"/>
                  </a:lnTo>
                  <a:lnTo>
                    <a:pt x="100" y="0"/>
                  </a:lnTo>
                  <a:lnTo>
                    <a:pt x="96" y="2"/>
                  </a:lnTo>
                  <a:lnTo>
                    <a:pt x="92" y="6"/>
                  </a:lnTo>
                  <a:lnTo>
                    <a:pt x="90" y="6"/>
                  </a:lnTo>
                  <a:lnTo>
                    <a:pt x="90" y="6"/>
                  </a:lnTo>
                  <a:lnTo>
                    <a:pt x="82" y="4"/>
                  </a:lnTo>
                  <a:lnTo>
                    <a:pt x="82" y="4"/>
                  </a:lnTo>
                  <a:lnTo>
                    <a:pt x="80" y="6"/>
                  </a:lnTo>
                  <a:lnTo>
                    <a:pt x="78" y="8"/>
                  </a:lnTo>
                  <a:lnTo>
                    <a:pt x="76" y="10"/>
                  </a:lnTo>
                  <a:lnTo>
                    <a:pt x="76" y="10"/>
                  </a:lnTo>
                  <a:lnTo>
                    <a:pt x="72" y="12"/>
                  </a:lnTo>
                  <a:lnTo>
                    <a:pt x="70" y="14"/>
                  </a:lnTo>
                  <a:lnTo>
                    <a:pt x="70" y="14"/>
                  </a:lnTo>
                  <a:lnTo>
                    <a:pt x="70" y="18"/>
                  </a:lnTo>
                  <a:lnTo>
                    <a:pt x="68" y="20"/>
                  </a:lnTo>
                  <a:lnTo>
                    <a:pt x="68" y="20"/>
                  </a:lnTo>
                  <a:lnTo>
                    <a:pt x="70" y="22"/>
                  </a:lnTo>
                  <a:lnTo>
                    <a:pt x="70" y="28"/>
                  </a:lnTo>
                  <a:lnTo>
                    <a:pt x="70" y="28"/>
                  </a:lnTo>
                  <a:lnTo>
                    <a:pt x="68" y="32"/>
                  </a:lnTo>
                  <a:lnTo>
                    <a:pt x="62" y="36"/>
                  </a:lnTo>
                  <a:lnTo>
                    <a:pt x="62" y="36"/>
                  </a:lnTo>
                  <a:lnTo>
                    <a:pt x="60" y="38"/>
                  </a:lnTo>
                  <a:lnTo>
                    <a:pt x="60" y="40"/>
                  </a:lnTo>
                  <a:lnTo>
                    <a:pt x="60" y="42"/>
                  </a:lnTo>
                  <a:lnTo>
                    <a:pt x="52" y="36"/>
                  </a:lnTo>
                  <a:lnTo>
                    <a:pt x="52" y="36"/>
                  </a:lnTo>
                  <a:lnTo>
                    <a:pt x="52" y="34"/>
                  </a:lnTo>
                  <a:lnTo>
                    <a:pt x="48" y="34"/>
                  </a:lnTo>
                  <a:lnTo>
                    <a:pt x="48" y="34"/>
                  </a:lnTo>
                  <a:lnTo>
                    <a:pt x="46" y="34"/>
                  </a:lnTo>
                  <a:lnTo>
                    <a:pt x="46" y="36"/>
                  </a:lnTo>
                  <a:lnTo>
                    <a:pt x="46" y="36"/>
                  </a:lnTo>
                  <a:lnTo>
                    <a:pt x="42" y="34"/>
                  </a:lnTo>
                  <a:lnTo>
                    <a:pt x="42" y="34"/>
                  </a:lnTo>
                  <a:lnTo>
                    <a:pt x="34" y="34"/>
                  </a:lnTo>
                  <a:lnTo>
                    <a:pt x="28" y="36"/>
                  </a:lnTo>
                  <a:lnTo>
                    <a:pt x="14" y="20"/>
                  </a:lnTo>
                  <a:lnTo>
                    <a:pt x="14" y="20"/>
                  </a:lnTo>
                  <a:lnTo>
                    <a:pt x="10" y="20"/>
                  </a:lnTo>
                  <a:lnTo>
                    <a:pt x="8" y="20"/>
                  </a:lnTo>
                  <a:lnTo>
                    <a:pt x="8" y="22"/>
                  </a:lnTo>
                  <a:lnTo>
                    <a:pt x="6" y="24"/>
                  </a:lnTo>
                  <a:lnTo>
                    <a:pt x="0" y="28"/>
                  </a:lnTo>
                  <a:lnTo>
                    <a:pt x="0" y="28"/>
                  </a:lnTo>
                  <a:lnTo>
                    <a:pt x="4" y="28"/>
                  </a:lnTo>
                  <a:lnTo>
                    <a:pt x="8" y="30"/>
                  </a:lnTo>
                  <a:lnTo>
                    <a:pt x="8" y="32"/>
                  </a:lnTo>
                  <a:lnTo>
                    <a:pt x="8" y="32"/>
                  </a:lnTo>
                  <a:lnTo>
                    <a:pt x="12" y="38"/>
                  </a:lnTo>
                  <a:lnTo>
                    <a:pt x="14" y="40"/>
                  </a:lnTo>
                  <a:lnTo>
                    <a:pt x="18" y="40"/>
                  </a:lnTo>
                  <a:lnTo>
                    <a:pt x="18" y="40"/>
                  </a:lnTo>
                  <a:lnTo>
                    <a:pt x="24" y="42"/>
                  </a:lnTo>
                  <a:lnTo>
                    <a:pt x="26" y="42"/>
                  </a:lnTo>
                  <a:lnTo>
                    <a:pt x="28" y="44"/>
                  </a:lnTo>
                  <a:lnTo>
                    <a:pt x="28" y="44"/>
                  </a:lnTo>
                  <a:lnTo>
                    <a:pt x="34" y="52"/>
                  </a:lnTo>
                  <a:lnTo>
                    <a:pt x="34" y="52"/>
                  </a:lnTo>
                  <a:lnTo>
                    <a:pt x="36" y="54"/>
                  </a:lnTo>
                  <a:lnTo>
                    <a:pt x="36" y="58"/>
                  </a:lnTo>
                  <a:lnTo>
                    <a:pt x="36" y="58"/>
                  </a:lnTo>
                  <a:lnTo>
                    <a:pt x="36" y="60"/>
                  </a:lnTo>
                  <a:lnTo>
                    <a:pt x="36" y="62"/>
                  </a:lnTo>
                  <a:lnTo>
                    <a:pt x="36" y="64"/>
                  </a:lnTo>
                  <a:lnTo>
                    <a:pt x="36" y="66"/>
                  </a:lnTo>
                  <a:lnTo>
                    <a:pt x="36" y="66"/>
                  </a:lnTo>
                  <a:lnTo>
                    <a:pt x="38" y="70"/>
                  </a:lnTo>
                  <a:lnTo>
                    <a:pt x="38" y="74"/>
                  </a:lnTo>
                  <a:lnTo>
                    <a:pt x="38" y="74"/>
                  </a:lnTo>
                  <a:lnTo>
                    <a:pt x="38" y="80"/>
                  </a:lnTo>
                  <a:lnTo>
                    <a:pt x="36" y="84"/>
                  </a:lnTo>
                  <a:lnTo>
                    <a:pt x="36" y="84"/>
                  </a:lnTo>
                  <a:lnTo>
                    <a:pt x="38" y="88"/>
                  </a:lnTo>
                  <a:lnTo>
                    <a:pt x="40" y="9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5" name="Freeform 190"/>
            <p:cNvSpPr>
              <a:spLocks noChangeAspect="1" noEditPoints="1"/>
            </p:cNvSpPr>
            <p:nvPr/>
          </p:nvSpPr>
          <p:spPr bwMode="gray">
            <a:xfrm>
              <a:off x="2889913" y="5927823"/>
              <a:ext cx="81605" cy="36189"/>
            </a:xfrm>
            <a:custGeom>
              <a:avLst/>
              <a:gdLst/>
              <a:ahLst/>
              <a:cxnLst>
                <a:cxn ang="0">
                  <a:pos x="46" y="10"/>
                </a:cxn>
                <a:cxn ang="0">
                  <a:pos x="42" y="10"/>
                </a:cxn>
                <a:cxn ang="0">
                  <a:pos x="40" y="10"/>
                </a:cxn>
                <a:cxn ang="0">
                  <a:pos x="34" y="14"/>
                </a:cxn>
                <a:cxn ang="0">
                  <a:pos x="30" y="12"/>
                </a:cxn>
                <a:cxn ang="0">
                  <a:pos x="32" y="18"/>
                </a:cxn>
                <a:cxn ang="0">
                  <a:pos x="24" y="18"/>
                </a:cxn>
                <a:cxn ang="0">
                  <a:pos x="22" y="18"/>
                </a:cxn>
                <a:cxn ang="0">
                  <a:pos x="22" y="22"/>
                </a:cxn>
                <a:cxn ang="0">
                  <a:pos x="22" y="22"/>
                </a:cxn>
                <a:cxn ang="0">
                  <a:pos x="22" y="22"/>
                </a:cxn>
                <a:cxn ang="0">
                  <a:pos x="18" y="20"/>
                </a:cxn>
                <a:cxn ang="0">
                  <a:pos x="16" y="18"/>
                </a:cxn>
                <a:cxn ang="0">
                  <a:pos x="18" y="18"/>
                </a:cxn>
                <a:cxn ang="0">
                  <a:pos x="18" y="16"/>
                </a:cxn>
                <a:cxn ang="0">
                  <a:pos x="20" y="12"/>
                </a:cxn>
                <a:cxn ang="0">
                  <a:pos x="24" y="8"/>
                </a:cxn>
                <a:cxn ang="0">
                  <a:pos x="26" y="8"/>
                </a:cxn>
                <a:cxn ang="0">
                  <a:pos x="26" y="6"/>
                </a:cxn>
                <a:cxn ang="0">
                  <a:pos x="26" y="4"/>
                </a:cxn>
                <a:cxn ang="0">
                  <a:pos x="32" y="0"/>
                </a:cxn>
                <a:cxn ang="0">
                  <a:pos x="36" y="2"/>
                </a:cxn>
                <a:cxn ang="0">
                  <a:pos x="34" y="4"/>
                </a:cxn>
                <a:cxn ang="0">
                  <a:pos x="34" y="4"/>
                </a:cxn>
                <a:cxn ang="0">
                  <a:pos x="36" y="6"/>
                </a:cxn>
                <a:cxn ang="0">
                  <a:pos x="40" y="4"/>
                </a:cxn>
                <a:cxn ang="0">
                  <a:pos x="42" y="2"/>
                </a:cxn>
                <a:cxn ang="0">
                  <a:pos x="42" y="2"/>
                </a:cxn>
                <a:cxn ang="0">
                  <a:pos x="42" y="6"/>
                </a:cxn>
                <a:cxn ang="0">
                  <a:pos x="48" y="8"/>
                </a:cxn>
                <a:cxn ang="0">
                  <a:pos x="24" y="2"/>
                </a:cxn>
                <a:cxn ang="0">
                  <a:pos x="14" y="2"/>
                </a:cxn>
                <a:cxn ang="0">
                  <a:pos x="6" y="0"/>
                </a:cxn>
                <a:cxn ang="0">
                  <a:pos x="6" y="4"/>
                </a:cxn>
                <a:cxn ang="0">
                  <a:pos x="4" y="6"/>
                </a:cxn>
                <a:cxn ang="0">
                  <a:pos x="8" y="6"/>
                </a:cxn>
                <a:cxn ang="0">
                  <a:pos x="8" y="10"/>
                </a:cxn>
                <a:cxn ang="0">
                  <a:pos x="2" y="14"/>
                </a:cxn>
                <a:cxn ang="0">
                  <a:pos x="2" y="20"/>
                </a:cxn>
                <a:cxn ang="0">
                  <a:pos x="6" y="18"/>
                </a:cxn>
                <a:cxn ang="0">
                  <a:pos x="6" y="14"/>
                </a:cxn>
                <a:cxn ang="0">
                  <a:pos x="10" y="14"/>
                </a:cxn>
                <a:cxn ang="0">
                  <a:pos x="14" y="14"/>
                </a:cxn>
                <a:cxn ang="0">
                  <a:pos x="18" y="6"/>
                </a:cxn>
                <a:cxn ang="0">
                  <a:pos x="20" y="6"/>
                </a:cxn>
              </a:cxnLst>
              <a:rect l="0" t="0" r="r" b="b"/>
              <a:pathLst>
                <a:path w="48" h="22">
                  <a:moveTo>
                    <a:pt x="48" y="8"/>
                  </a:moveTo>
                  <a:lnTo>
                    <a:pt x="46" y="10"/>
                  </a:lnTo>
                  <a:lnTo>
                    <a:pt x="46" y="10"/>
                  </a:lnTo>
                  <a:lnTo>
                    <a:pt x="42" y="10"/>
                  </a:lnTo>
                  <a:lnTo>
                    <a:pt x="40" y="8"/>
                  </a:lnTo>
                  <a:lnTo>
                    <a:pt x="40" y="10"/>
                  </a:lnTo>
                  <a:lnTo>
                    <a:pt x="40" y="10"/>
                  </a:lnTo>
                  <a:lnTo>
                    <a:pt x="34" y="14"/>
                  </a:lnTo>
                  <a:lnTo>
                    <a:pt x="30" y="12"/>
                  </a:lnTo>
                  <a:lnTo>
                    <a:pt x="30" y="12"/>
                  </a:lnTo>
                  <a:lnTo>
                    <a:pt x="32" y="18"/>
                  </a:lnTo>
                  <a:lnTo>
                    <a:pt x="32" y="18"/>
                  </a:lnTo>
                  <a:lnTo>
                    <a:pt x="28" y="18"/>
                  </a:lnTo>
                  <a:lnTo>
                    <a:pt x="24" y="18"/>
                  </a:lnTo>
                  <a:lnTo>
                    <a:pt x="24" y="18"/>
                  </a:lnTo>
                  <a:lnTo>
                    <a:pt x="22" y="18"/>
                  </a:lnTo>
                  <a:lnTo>
                    <a:pt x="22" y="20"/>
                  </a:lnTo>
                  <a:lnTo>
                    <a:pt x="22" y="22"/>
                  </a:lnTo>
                  <a:lnTo>
                    <a:pt x="22" y="22"/>
                  </a:lnTo>
                  <a:lnTo>
                    <a:pt x="22" y="22"/>
                  </a:lnTo>
                  <a:lnTo>
                    <a:pt x="22" y="22"/>
                  </a:lnTo>
                  <a:lnTo>
                    <a:pt x="22" y="22"/>
                  </a:lnTo>
                  <a:lnTo>
                    <a:pt x="18" y="20"/>
                  </a:lnTo>
                  <a:lnTo>
                    <a:pt x="18" y="20"/>
                  </a:lnTo>
                  <a:lnTo>
                    <a:pt x="16" y="18"/>
                  </a:lnTo>
                  <a:lnTo>
                    <a:pt x="16" y="18"/>
                  </a:lnTo>
                  <a:lnTo>
                    <a:pt x="18" y="18"/>
                  </a:lnTo>
                  <a:lnTo>
                    <a:pt x="18" y="18"/>
                  </a:lnTo>
                  <a:lnTo>
                    <a:pt x="18" y="16"/>
                  </a:lnTo>
                  <a:lnTo>
                    <a:pt x="18" y="16"/>
                  </a:lnTo>
                  <a:lnTo>
                    <a:pt x="18" y="16"/>
                  </a:lnTo>
                  <a:lnTo>
                    <a:pt x="20" y="12"/>
                  </a:lnTo>
                  <a:lnTo>
                    <a:pt x="24" y="8"/>
                  </a:lnTo>
                  <a:lnTo>
                    <a:pt x="24" y="8"/>
                  </a:lnTo>
                  <a:lnTo>
                    <a:pt x="26" y="8"/>
                  </a:lnTo>
                  <a:lnTo>
                    <a:pt x="26" y="8"/>
                  </a:lnTo>
                  <a:lnTo>
                    <a:pt x="26" y="6"/>
                  </a:lnTo>
                  <a:lnTo>
                    <a:pt x="26" y="6"/>
                  </a:lnTo>
                  <a:lnTo>
                    <a:pt x="26" y="4"/>
                  </a:lnTo>
                  <a:lnTo>
                    <a:pt x="26" y="4"/>
                  </a:lnTo>
                  <a:lnTo>
                    <a:pt x="32" y="0"/>
                  </a:lnTo>
                  <a:lnTo>
                    <a:pt x="32" y="0"/>
                  </a:lnTo>
                  <a:lnTo>
                    <a:pt x="36" y="0"/>
                  </a:lnTo>
                  <a:lnTo>
                    <a:pt x="36" y="2"/>
                  </a:lnTo>
                  <a:lnTo>
                    <a:pt x="36" y="2"/>
                  </a:lnTo>
                  <a:lnTo>
                    <a:pt x="34" y="4"/>
                  </a:lnTo>
                  <a:lnTo>
                    <a:pt x="34" y="4"/>
                  </a:lnTo>
                  <a:lnTo>
                    <a:pt x="34" y="4"/>
                  </a:lnTo>
                  <a:lnTo>
                    <a:pt x="36" y="6"/>
                  </a:lnTo>
                  <a:lnTo>
                    <a:pt x="36" y="6"/>
                  </a:lnTo>
                  <a:lnTo>
                    <a:pt x="40" y="4"/>
                  </a:lnTo>
                  <a:lnTo>
                    <a:pt x="40" y="4"/>
                  </a:lnTo>
                  <a:lnTo>
                    <a:pt x="40" y="2"/>
                  </a:lnTo>
                  <a:lnTo>
                    <a:pt x="42" y="2"/>
                  </a:lnTo>
                  <a:lnTo>
                    <a:pt x="42" y="2"/>
                  </a:lnTo>
                  <a:lnTo>
                    <a:pt x="42" y="2"/>
                  </a:lnTo>
                  <a:lnTo>
                    <a:pt x="42" y="6"/>
                  </a:lnTo>
                  <a:lnTo>
                    <a:pt x="42" y="6"/>
                  </a:lnTo>
                  <a:lnTo>
                    <a:pt x="48" y="8"/>
                  </a:lnTo>
                  <a:lnTo>
                    <a:pt x="48" y="8"/>
                  </a:lnTo>
                  <a:close/>
                  <a:moveTo>
                    <a:pt x="20" y="6"/>
                  </a:moveTo>
                  <a:lnTo>
                    <a:pt x="24" y="2"/>
                  </a:lnTo>
                  <a:lnTo>
                    <a:pt x="24" y="2"/>
                  </a:lnTo>
                  <a:lnTo>
                    <a:pt x="14" y="2"/>
                  </a:lnTo>
                  <a:lnTo>
                    <a:pt x="6" y="0"/>
                  </a:lnTo>
                  <a:lnTo>
                    <a:pt x="6" y="0"/>
                  </a:lnTo>
                  <a:lnTo>
                    <a:pt x="6" y="4"/>
                  </a:lnTo>
                  <a:lnTo>
                    <a:pt x="6" y="4"/>
                  </a:lnTo>
                  <a:lnTo>
                    <a:pt x="6" y="6"/>
                  </a:lnTo>
                  <a:lnTo>
                    <a:pt x="4" y="6"/>
                  </a:lnTo>
                  <a:lnTo>
                    <a:pt x="4" y="6"/>
                  </a:lnTo>
                  <a:lnTo>
                    <a:pt x="8" y="6"/>
                  </a:lnTo>
                  <a:lnTo>
                    <a:pt x="8" y="6"/>
                  </a:lnTo>
                  <a:lnTo>
                    <a:pt x="8" y="10"/>
                  </a:lnTo>
                  <a:lnTo>
                    <a:pt x="8" y="10"/>
                  </a:lnTo>
                  <a:lnTo>
                    <a:pt x="2" y="14"/>
                  </a:lnTo>
                  <a:lnTo>
                    <a:pt x="0" y="16"/>
                  </a:lnTo>
                  <a:lnTo>
                    <a:pt x="2" y="20"/>
                  </a:lnTo>
                  <a:lnTo>
                    <a:pt x="2" y="20"/>
                  </a:lnTo>
                  <a:lnTo>
                    <a:pt x="6" y="18"/>
                  </a:lnTo>
                  <a:lnTo>
                    <a:pt x="6" y="16"/>
                  </a:lnTo>
                  <a:lnTo>
                    <a:pt x="6" y="14"/>
                  </a:lnTo>
                  <a:lnTo>
                    <a:pt x="6" y="14"/>
                  </a:lnTo>
                  <a:lnTo>
                    <a:pt x="10" y="14"/>
                  </a:lnTo>
                  <a:lnTo>
                    <a:pt x="10" y="14"/>
                  </a:lnTo>
                  <a:lnTo>
                    <a:pt x="14" y="14"/>
                  </a:lnTo>
                  <a:lnTo>
                    <a:pt x="14" y="14"/>
                  </a:lnTo>
                  <a:lnTo>
                    <a:pt x="18" y="6"/>
                  </a:lnTo>
                  <a:lnTo>
                    <a:pt x="18" y="6"/>
                  </a:lnTo>
                  <a:lnTo>
                    <a:pt x="20" y="6"/>
                  </a:lnTo>
                  <a:lnTo>
                    <a:pt x="20" y="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6" name="Freeform 193"/>
            <p:cNvSpPr>
              <a:spLocks noChangeAspect="1"/>
            </p:cNvSpPr>
            <p:nvPr/>
          </p:nvSpPr>
          <p:spPr bwMode="gray">
            <a:xfrm>
              <a:off x="4833144" y="2634594"/>
              <a:ext cx="105407" cy="82249"/>
            </a:xfrm>
            <a:custGeom>
              <a:avLst/>
              <a:gdLst/>
              <a:ahLst/>
              <a:cxnLst>
                <a:cxn ang="0">
                  <a:pos x="60" y="14"/>
                </a:cxn>
                <a:cxn ang="0">
                  <a:pos x="60" y="12"/>
                </a:cxn>
                <a:cxn ang="0">
                  <a:pos x="62" y="10"/>
                </a:cxn>
                <a:cxn ang="0">
                  <a:pos x="58" y="4"/>
                </a:cxn>
                <a:cxn ang="0">
                  <a:pos x="52" y="2"/>
                </a:cxn>
                <a:cxn ang="0">
                  <a:pos x="48" y="0"/>
                </a:cxn>
                <a:cxn ang="0">
                  <a:pos x="44" y="0"/>
                </a:cxn>
                <a:cxn ang="0">
                  <a:pos x="44" y="4"/>
                </a:cxn>
                <a:cxn ang="0">
                  <a:pos x="30" y="4"/>
                </a:cxn>
                <a:cxn ang="0">
                  <a:pos x="30" y="2"/>
                </a:cxn>
                <a:cxn ang="0">
                  <a:pos x="26" y="2"/>
                </a:cxn>
                <a:cxn ang="0">
                  <a:pos x="26" y="2"/>
                </a:cxn>
                <a:cxn ang="0">
                  <a:pos x="24" y="6"/>
                </a:cxn>
                <a:cxn ang="0">
                  <a:pos x="12" y="6"/>
                </a:cxn>
                <a:cxn ang="0">
                  <a:pos x="0" y="10"/>
                </a:cxn>
                <a:cxn ang="0">
                  <a:pos x="0" y="28"/>
                </a:cxn>
                <a:cxn ang="0">
                  <a:pos x="6" y="28"/>
                </a:cxn>
                <a:cxn ang="0">
                  <a:pos x="4" y="38"/>
                </a:cxn>
                <a:cxn ang="0">
                  <a:pos x="12" y="38"/>
                </a:cxn>
                <a:cxn ang="0">
                  <a:pos x="16" y="38"/>
                </a:cxn>
                <a:cxn ang="0">
                  <a:pos x="16" y="36"/>
                </a:cxn>
                <a:cxn ang="0">
                  <a:pos x="26" y="38"/>
                </a:cxn>
                <a:cxn ang="0">
                  <a:pos x="30" y="40"/>
                </a:cxn>
                <a:cxn ang="0">
                  <a:pos x="34" y="42"/>
                </a:cxn>
                <a:cxn ang="0">
                  <a:pos x="44" y="48"/>
                </a:cxn>
                <a:cxn ang="0">
                  <a:pos x="46" y="44"/>
                </a:cxn>
                <a:cxn ang="0">
                  <a:pos x="48" y="40"/>
                </a:cxn>
                <a:cxn ang="0">
                  <a:pos x="52" y="36"/>
                </a:cxn>
                <a:cxn ang="0">
                  <a:pos x="54" y="30"/>
                </a:cxn>
                <a:cxn ang="0">
                  <a:pos x="50" y="28"/>
                </a:cxn>
                <a:cxn ang="0">
                  <a:pos x="50" y="22"/>
                </a:cxn>
                <a:cxn ang="0">
                  <a:pos x="48" y="16"/>
                </a:cxn>
                <a:cxn ang="0">
                  <a:pos x="52" y="14"/>
                </a:cxn>
                <a:cxn ang="0">
                  <a:pos x="56" y="14"/>
                </a:cxn>
                <a:cxn ang="0">
                  <a:pos x="56" y="16"/>
                </a:cxn>
              </a:cxnLst>
              <a:rect l="0" t="0" r="r" b="b"/>
              <a:pathLst>
                <a:path w="62" h="50">
                  <a:moveTo>
                    <a:pt x="56" y="16"/>
                  </a:moveTo>
                  <a:lnTo>
                    <a:pt x="60" y="14"/>
                  </a:lnTo>
                  <a:lnTo>
                    <a:pt x="60" y="14"/>
                  </a:lnTo>
                  <a:lnTo>
                    <a:pt x="60" y="12"/>
                  </a:lnTo>
                  <a:lnTo>
                    <a:pt x="62" y="10"/>
                  </a:lnTo>
                  <a:lnTo>
                    <a:pt x="62" y="10"/>
                  </a:lnTo>
                  <a:lnTo>
                    <a:pt x="60" y="6"/>
                  </a:lnTo>
                  <a:lnTo>
                    <a:pt x="58" y="4"/>
                  </a:lnTo>
                  <a:lnTo>
                    <a:pt x="58" y="4"/>
                  </a:lnTo>
                  <a:lnTo>
                    <a:pt x="52" y="2"/>
                  </a:lnTo>
                  <a:lnTo>
                    <a:pt x="48" y="0"/>
                  </a:lnTo>
                  <a:lnTo>
                    <a:pt x="48" y="0"/>
                  </a:lnTo>
                  <a:lnTo>
                    <a:pt x="44" y="0"/>
                  </a:lnTo>
                  <a:lnTo>
                    <a:pt x="44" y="0"/>
                  </a:lnTo>
                  <a:lnTo>
                    <a:pt x="44" y="0"/>
                  </a:lnTo>
                  <a:lnTo>
                    <a:pt x="44" y="4"/>
                  </a:lnTo>
                  <a:lnTo>
                    <a:pt x="44" y="4"/>
                  </a:lnTo>
                  <a:lnTo>
                    <a:pt x="30" y="4"/>
                  </a:lnTo>
                  <a:lnTo>
                    <a:pt x="30" y="4"/>
                  </a:lnTo>
                  <a:lnTo>
                    <a:pt x="30" y="2"/>
                  </a:lnTo>
                  <a:lnTo>
                    <a:pt x="28" y="2"/>
                  </a:lnTo>
                  <a:lnTo>
                    <a:pt x="26" y="2"/>
                  </a:lnTo>
                  <a:lnTo>
                    <a:pt x="26" y="2"/>
                  </a:lnTo>
                  <a:lnTo>
                    <a:pt x="26" y="2"/>
                  </a:lnTo>
                  <a:lnTo>
                    <a:pt x="24" y="6"/>
                  </a:lnTo>
                  <a:lnTo>
                    <a:pt x="24" y="6"/>
                  </a:lnTo>
                  <a:lnTo>
                    <a:pt x="18" y="6"/>
                  </a:lnTo>
                  <a:lnTo>
                    <a:pt x="12" y="6"/>
                  </a:lnTo>
                  <a:lnTo>
                    <a:pt x="0" y="10"/>
                  </a:lnTo>
                  <a:lnTo>
                    <a:pt x="0" y="10"/>
                  </a:lnTo>
                  <a:lnTo>
                    <a:pt x="0" y="20"/>
                  </a:lnTo>
                  <a:lnTo>
                    <a:pt x="0" y="28"/>
                  </a:lnTo>
                  <a:lnTo>
                    <a:pt x="0" y="28"/>
                  </a:lnTo>
                  <a:lnTo>
                    <a:pt x="6" y="28"/>
                  </a:lnTo>
                  <a:lnTo>
                    <a:pt x="6" y="28"/>
                  </a:lnTo>
                  <a:lnTo>
                    <a:pt x="4" y="38"/>
                  </a:lnTo>
                  <a:lnTo>
                    <a:pt x="4" y="38"/>
                  </a:lnTo>
                  <a:lnTo>
                    <a:pt x="12" y="38"/>
                  </a:lnTo>
                  <a:lnTo>
                    <a:pt x="12" y="38"/>
                  </a:lnTo>
                  <a:lnTo>
                    <a:pt x="16" y="38"/>
                  </a:lnTo>
                  <a:lnTo>
                    <a:pt x="16" y="36"/>
                  </a:lnTo>
                  <a:lnTo>
                    <a:pt x="16" y="36"/>
                  </a:lnTo>
                  <a:lnTo>
                    <a:pt x="20" y="36"/>
                  </a:lnTo>
                  <a:lnTo>
                    <a:pt x="26" y="38"/>
                  </a:lnTo>
                  <a:lnTo>
                    <a:pt x="26" y="38"/>
                  </a:lnTo>
                  <a:lnTo>
                    <a:pt x="30" y="40"/>
                  </a:lnTo>
                  <a:lnTo>
                    <a:pt x="30" y="42"/>
                  </a:lnTo>
                  <a:lnTo>
                    <a:pt x="34" y="42"/>
                  </a:lnTo>
                  <a:lnTo>
                    <a:pt x="38" y="50"/>
                  </a:lnTo>
                  <a:lnTo>
                    <a:pt x="44" y="48"/>
                  </a:lnTo>
                  <a:lnTo>
                    <a:pt x="44" y="48"/>
                  </a:lnTo>
                  <a:lnTo>
                    <a:pt x="46" y="44"/>
                  </a:lnTo>
                  <a:lnTo>
                    <a:pt x="46" y="40"/>
                  </a:lnTo>
                  <a:lnTo>
                    <a:pt x="48" y="40"/>
                  </a:lnTo>
                  <a:lnTo>
                    <a:pt x="48" y="40"/>
                  </a:lnTo>
                  <a:lnTo>
                    <a:pt x="52" y="36"/>
                  </a:lnTo>
                  <a:lnTo>
                    <a:pt x="54" y="34"/>
                  </a:lnTo>
                  <a:lnTo>
                    <a:pt x="54" y="30"/>
                  </a:lnTo>
                  <a:lnTo>
                    <a:pt x="54" y="30"/>
                  </a:lnTo>
                  <a:lnTo>
                    <a:pt x="50" y="28"/>
                  </a:lnTo>
                  <a:lnTo>
                    <a:pt x="50" y="28"/>
                  </a:lnTo>
                  <a:lnTo>
                    <a:pt x="50" y="22"/>
                  </a:lnTo>
                  <a:lnTo>
                    <a:pt x="48" y="16"/>
                  </a:lnTo>
                  <a:lnTo>
                    <a:pt x="48" y="16"/>
                  </a:lnTo>
                  <a:lnTo>
                    <a:pt x="52" y="14"/>
                  </a:lnTo>
                  <a:lnTo>
                    <a:pt x="52" y="14"/>
                  </a:lnTo>
                  <a:lnTo>
                    <a:pt x="56" y="14"/>
                  </a:lnTo>
                  <a:lnTo>
                    <a:pt x="56" y="14"/>
                  </a:lnTo>
                  <a:lnTo>
                    <a:pt x="56" y="16"/>
                  </a:lnTo>
                  <a:lnTo>
                    <a:pt x="56" y="1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7" name="Freeform 196"/>
            <p:cNvSpPr>
              <a:spLocks noChangeAspect="1"/>
            </p:cNvSpPr>
            <p:nvPr/>
          </p:nvSpPr>
          <p:spPr bwMode="gray">
            <a:xfrm>
              <a:off x="2233669" y="4022948"/>
              <a:ext cx="64604" cy="39479"/>
            </a:xfrm>
            <a:custGeom>
              <a:avLst/>
              <a:gdLst/>
              <a:ahLst/>
              <a:cxnLst>
                <a:cxn ang="0">
                  <a:pos x="0" y="12"/>
                </a:cxn>
                <a:cxn ang="0">
                  <a:pos x="0" y="12"/>
                </a:cxn>
                <a:cxn ang="0">
                  <a:pos x="4" y="14"/>
                </a:cxn>
                <a:cxn ang="0">
                  <a:pos x="8" y="16"/>
                </a:cxn>
                <a:cxn ang="0">
                  <a:pos x="8" y="16"/>
                </a:cxn>
                <a:cxn ang="0">
                  <a:pos x="8" y="18"/>
                </a:cxn>
                <a:cxn ang="0">
                  <a:pos x="8" y="20"/>
                </a:cxn>
                <a:cxn ang="0">
                  <a:pos x="8" y="20"/>
                </a:cxn>
                <a:cxn ang="0">
                  <a:pos x="14" y="20"/>
                </a:cxn>
                <a:cxn ang="0">
                  <a:pos x="18" y="20"/>
                </a:cxn>
                <a:cxn ang="0">
                  <a:pos x="18" y="20"/>
                </a:cxn>
                <a:cxn ang="0">
                  <a:pos x="26" y="20"/>
                </a:cxn>
                <a:cxn ang="0">
                  <a:pos x="34" y="24"/>
                </a:cxn>
                <a:cxn ang="0">
                  <a:pos x="34" y="24"/>
                </a:cxn>
                <a:cxn ang="0">
                  <a:pos x="36" y="20"/>
                </a:cxn>
                <a:cxn ang="0">
                  <a:pos x="36" y="20"/>
                </a:cxn>
                <a:cxn ang="0">
                  <a:pos x="38" y="20"/>
                </a:cxn>
                <a:cxn ang="0">
                  <a:pos x="38" y="10"/>
                </a:cxn>
                <a:cxn ang="0">
                  <a:pos x="38" y="10"/>
                </a:cxn>
                <a:cxn ang="0">
                  <a:pos x="38" y="10"/>
                </a:cxn>
                <a:cxn ang="0">
                  <a:pos x="32" y="8"/>
                </a:cxn>
                <a:cxn ang="0">
                  <a:pos x="32" y="8"/>
                </a:cxn>
                <a:cxn ang="0">
                  <a:pos x="28" y="6"/>
                </a:cxn>
                <a:cxn ang="0">
                  <a:pos x="26" y="4"/>
                </a:cxn>
                <a:cxn ang="0">
                  <a:pos x="26" y="4"/>
                </a:cxn>
                <a:cxn ang="0">
                  <a:pos x="18" y="2"/>
                </a:cxn>
                <a:cxn ang="0">
                  <a:pos x="12" y="0"/>
                </a:cxn>
                <a:cxn ang="0">
                  <a:pos x="12" y="0"/>
                </a:cxn>
                <a:cxn ang="0">
                  <a:pos x="10" y="2"/>
                </a:cxn>
                <a:cxn ang="0">
                  <a:pos x="6" y="4"/>
                </a:cxn>
                <a:cxn ang="0">
                  <a:pos x="6" y="8"/>
                </a:cxn>
                <a:cxn ang="0">
                  <a:pos x="6" y="8"/>
                </a:cxn>
                <a:cxn ang="0">
                  <a:pos x="6" y="10"/>
                </a:cxn>
                <a:cxn ang="0">
                  <a:pos x="2" y="10"/>
                </a:cxn>
                <a:cxn ang="0">
                  <a:pos x="0" y="10"/>
                </a:cxn>
                <a:cxn ang="0">
                  <a:pos x="0" y="12"/>
                </a:cxn>
                <a:cxn ang="0">
                  <a:pos x="0" y="12"/>
                </a:cxn>
              </a:cxnLst>
              <a:rect l="0" t="0" r="r" b="b"/>
              <a:pathLst>
                <a:path w="38" h="24">
                  <a:moveTo>
                    <a:pt x="0" y="12"/>
                  </a:moveTo>
                  <a:lnTo>
                    <a:pt x="0" y="12"/>
                  </a:lnTo>
                  <a:lnTo>
                    <a:pt x="4" y="14"/>
                  </a:lnTo>
                  <a:lnTo>
                    <a:pt x="8" y="16"/>
                  </a:lnTo>
                  <a:lnTo>
                    <a:pt x="8" y="16"/>
                  </a:lnTo>
                  <a:lnTo>
                    <a:pt x="8" y="18"/>
                  </a:lnTo>
                  <a:lnTo>
                    <a:pt x="8" y="20"/>
                  </a:lnTo>
                  <a:lnTo>
                    <a:pt x="8" y="20"/>
                  </a:lnTo>
                  <a:lnTo>
                    <a:pt x="14" y="20"/>
                  </a:lnTo>
                  <a:lnTo>
                    <a:pt x="18" y="20"/>
                  </a:lnTo>
                  <a:lnTo>
                    <a:pt x="18" y="20"/>
                  </a:lnTo>
                  <a:lnTo>
                    <a:pt x="26" y="20"/>
                  </a:lnTo>
                  <a:lnTo>
                    <a:pt x="34" y="24"/>
                  </a:lnTo>
                  <a:lnTo>
                    <a:pt x="34" y="24"/>
                  </a:lnTo>
                  <a:lnTo>
                    <a:pt x="36" y="20"/>
                  </a:lnTo>
                  <a:lnTo>
                    <a:pt x="36" y="20"/>
                  </a:lnTo>
                  <a:lnTo>
                    <a:pt x="38" y="20"/>
                  </a:lnTo>
                  <a:lnTo>
                    <a:pt x="38" y="10"/>
                  </a:lnTo>
                  <a:lnTo>
                    <a:pt x="38" y="10"/>
                  </a:lnTo>
                  <a:lnTo>
                    <a:pt x="38" y="10"/>
                  </a:lnTo>
                  <a:lnTo>
                    <a:pt x="32" y="8"/>
                  </a:lnTo>
                  <a:lnTo>
                    <a:pt x="32" y="8"/>
                  </a:lnTo>
                  <a:lnTo>
                    <a:pt x="28" y="6"/>
                  </a:lnTo>
                  <a:lnTo>
                    <a:pt x="26" y="4"/>
                  </a:lnTo>
                  <a:lnTo>
                    <a:pt x="26" y="4"/>
                  </a:lnTo>
                  <a:lnTo>
                    <a:pt x="18" y="2"/>
                  </a:lnTo>
                  <a:lnTo>
                    <a:pt x="12" y="0"/>
                  </a:lnTo>
                  <a:lnTo>
                    <a:pt x="12" y="0"/>
                  </a:lnTo>
                  <a:lnTo>
                    <a:pt x="10" y="2"/>
                  </a:lnTo>
                  <a:lnTo>
                    <a:pt x="6" y="4"/>
                  </a:lnTo>
                  <a:lnTo>
                    <a:pt x="6" y="8"/>
                  </a:lnTo>
                  <a:lnTo>
                    <a:pt x="6" y="8"/>
                  </a:lnTo>
                  <a:lnTo>
                    <a:pt x="6" y="10"/>
                  </a:lnTo>
                  <a:lnTo>
                    <a:pt x="2" y="10"/>
                  </a:lnTo>
                  <a:lnTo>
                    <a:pt x="0" y="10"/>
                  </a:lnTo>
                  <a:lnTo>
                    <a:pt x="0" y="12"/>
                  </a:lnTo>
                  <a:lnTo>
                    <a:pt x="0"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8" name="Freeform 198"/>
            <p:cNvSpPr>
              <a:spLocks noChangeAspect="1"/>
            </p:cNvSpPr>
            <p:nvPr/>
          </p:nvSpPr>
          <p:spPr bwMode="gray">
            <a:xfrm>
              <a:off x="2441082" y="4388131"/>
              <a:ext cx="125808" cy="180946"/>
            </a:xfrm>
            <a:custGeom>
              <a:avLst/>
              <a:gdLst/>
              <a:ahLst/>
              <a:cxnLst>
                <a:cxn ang="0">
                  <a:pos x="26" y="0"/>
                </a:cxn>
                <a:cxn ang="0">
                  <a:pos x="14" y="8"/>
                </a:cxn>
                <a:cxn ang="0">
                  <a:pos x="14" y="12"/>
                </a:cxn>
                <a:cxn ang="0">
                  <a:pos x="16" y="20"/>
                </a:cxn>
                <a:cxn ang="0">
                  <a:pos x="12" y="24"/>
                </a:cxn>
                <a:cxn ang="0">
                  <a:pos x="10" y="34"/>
                </a:cxn>
                <a:cxn ang="0">
                  <a:pos x="12" y="40"/>
                </a:cxn>
                <a:cxn ang="0">
                  <a:pos x="8" y="42"/>
                </a:cxn>
                <a:cxn ang="0">
                  <a:pos x="6" y="44"/>
                </a:cxn>
                <a:cxn ang="0">
                  <a:pos x="4" y="44"/>
                </a:cxn>
                <a:cxn ang="0">
                  <a:pos x="4" y="48"/>
                </a:cxn>
                <a:cxn ang="0">
                  <a:pos x="6" y="50"/>
                </a:cxn>
                <a:cxn ang="0">
                  <a:pos x="6" y="54"/>
                </a:cxn>
                <a:cxn ang="0">
                  <a:pos x="6" y="52"/>
                </a:cxn>
                <a:cxn ang="0">
                  <a:pos x="4" y="62"/>
                </a:cxn>
                <a:cxn ang="0">
                  <a:pos x="6" y="62"/>
                </a:cxn>
                <a:cxn ang="0">
                  <a:pos x="6" y="66"/>
                </a:cxn>
                <a:cxn ang="0">
                  <a:pos x="4" y="66"/>
                </a:cxn>
                <a:cxn ang="0">
                  <a:pos x="0" y="70"/>
                </a:cxn>
                <a:cxn ang="0">
                  <a:pos x="8" y="72"/>
                </a:cxn>
                <a:cxn ang="0">
                  <a:pos x="14" y="72"/>
                </a:cxn>
                <a:cxn ang="0">
                  <a:pos x="16" y="72"/>
                </a:cxn>
                <a:cxn ang="0">
                  <a:pos x="16" y="70"/>
                </a:cxn>
                <a:cxn ang="0">
                  <a:pos x="18" y="70"/>
                </a:cxn>
                <a:cxn ang="0">
                  <a:pos x="18" y="74"/>
                </a:cxn>
                <a:cxn ang="0">
                  <a:pos x="14" y="74"/>
                </a:cxn>
                <a:cxn ang="0">
                  <a:pos x="12" y="78"/>
                </a:cxn>
                <a:cxn ang="0">
                  <a:pos x="14" y="78"/>
                </a:cxn>
                <a:cxn ang="0">
                  <a:pos x="14" y="80"/>
                </a:cxn>
                <a:cxn ang="0">
                  <a:pos x="6" y="88"/>
                </a:cxn>
                <a:cxn ang="0">
                  <a:pos x="10" y="94"/>
                </a:cxn>
                <a:cxn ang="0">
                  <a:pos x="4" y="98"/>
                </a:cxn>
                <a:cxn ang="0">
                  <a:pos x="10" y="104"/>
                </a:cxn>
                <a:cxn ang="0">
                  <a:pos x="14" y="102"/>
                </a:cxn>
                <a:cxn ang="0">
                  <a:pos x="14" y="100"/>
                </a:cxn>
                <a:cxn ang="0">
                  <a:pos x="18" y="108"/>
                </a:cxn>
                <a:cxn ang="0">
                  <a:pos x="20" y="110"/>
                </a:cxn>
                <a:cxn ang="0">
                  <a:pos x="22" y="110"/>
                </a:cxn>
                <a:cxn ang="0">
                  <a:pos x="26" y="108"/>
                </a:cxn>
                <a:cxn ang="0">
                  <a:pos x="30" y="104"/>
                </a:cxn>
                <a:cxn ang="0">
                  <a:pos x="34" y="94"/>
                </a:cxn>
                <a:cxn ang="0">
                  <a:pos x="38" y="88"/>
                </a:cxn>
                <a:cxn ang="0">
                  <a:pos x="44" y="80"/>
                </a:cxn>
                <a:cxn ang="0">
                  <a:pos x="62" y="70"/>
                </a:cxn>
                <a:cxn ang="0">
                  <a:pos x="68" y="64"/>
                </a:cxn>
                <a:cxn ang="0">
                  <a:pos x="70" y="52"/>
                </a:cxn>
                <a:cxn ang="0">
                  <a:pos x="74" y="52"/>
                </a:cxn>
                <a:cxn ang="0">
                  <a:pos x="72" y="44"/>
                </a:cxn>
                <a:cxn ang="0">
                  <a:pos x="72" y="34"/>
                </a:cxn>
                <a:cxn ang="0">
                  <a:pos x="72" y="28"/>
                </a:cxn>
                <a:cxn ang="0">
                  <a:pos x="68" y="26"/>
                </a:cxn>
                <a:cxn ang="0">
                  <a:pos x="62" y="22"/>
                </a:cxn>
                <a:cxn ang="0">
                  <a:pos x="60" y="22"/>
                </a:cxn>
                <a:cxn ang="0">
                  <a:pos x="46" y="20"/>
                </a:cxn>
                <a:cxn ang="0">
                  <a:pos x="44" y="20"/>
                </a:cxn>
                <a:cxn ang="0">
                  <a:pos x="42" y="16"/>
                </a:cxn>
                <a:cxn ang="0">
                  <a:pos x="40" y="10"/>
                </a:cxn>
                <a:cxn ang="0">
                  <a:pos x="32" y="6"/>
                </a:cxn>
                <a:cxn ang="0">
                  <a:pos x="28" y="2"/>
                </a:cxn>
                <a:cxn ang="0">
                  <a:pos x="26" y="0"/>
                </a:cxn>
              </a:cxnLst>
              <a:rect l="0" t="0" r="r" b="b"/>
              <a:pathLst>
                <a:path w="74" h="110">
                  <a:moveTo>
                    <a:pt x="26" y="0"/>
                  </a:moveTo>
                  <a:lnTo>
                    <a:pt x="26" y="0"/>
                  </a:lnTo>
                  <a:lnTo>
                    <a:pt x="14" y="8"/>
                  </a:lnTo>
                  <a:lnTo>
                    <a:pt x="14" y="8"/>
                  </a:lnTo>
                  <a:lnTo>
                    <a:pt x="14" y="10"/>
                  </a:lnTo>
                  <a:lnTo>
                    <a:pt x="14" y="12"/>
                  </a:lnTo>
                  <a:lnTo>
                    <a:pt x="14" y="12"/>
                  </a:lnTo>
                  <a:lnTo>
                    <a:pt x="16" y="20"/>
                  </a:lnTo>
                  <a:lnTo>
                    <a:pt x="16" y="20"/>
                  </a:lnTo>
                  <a:lnTo>
                    <a:pt x="12" y="24"/>
                  </a:lnTo>
                  <a:lnTo>
                    <a:pt x="10" y="28"/>
                  </a:lnTo>
                  <a:lnTo>
                    <a:pt x="10" y="34"/>
                  </a:lnTo>
                  <a:lnTo>
                    <a:pt x="12" y="40"/>
                  </a:lnTo>
                  <a:lnTo>
                    <a:pt x="12" y="40"/>
                  </a:lnTo>
                  <a:lnTo>
                    <a:pt x="8" y="40"/>
                  </a:lnTo>
                  <a:lnTo>
                    <a:pt x="8" y="42"/>
                  </a:lnTo>
                  <a:lnTo>
                    <a:pt x="8" y="42"/>
                  </a:lnTo>
                  <a:lnTo>
                    <a:pt x="6" y="44"/>
                  </a:lnTo>
                  <a:lnTo>
                    <a:pt x="4" y="44"/>
                  </a:lnTo>
                  <a:lnTo>
                    <a:pt x="4" y="44"/>
                  </a:lnTo>
                  <a:lnTo>
                    <a:pt x="4" y="48"/>
                  </a:lnTo>
                  <a:lnTo>
                    <a:pt x="4" y="48"/>
                  </a:lnTo>
                  <a:lnTo>
                    <a:pt x="6" y="50"/>
                  </a:lnTo>
                  <a:lnTo>
                    <a:pt x="6" y="50"/>
                  </a:lnTo>
                  <a:lnTo>
                    <a:pt x="6" y="52"/>
                  </a:lnTo>
                  <a:lnTo>
                    <a:pt x="6" y="54"/>
                  </a:lnTo>
                  <a:lnTo>
                    <a:pt x="6" y="52"/>
                  </a:lnTo>
                  <a:lnTo>
                    <a:pt x="6" y="52"/>
                  </a:lnTo>
                  <a:lnTo>
                    <a:pt x="2" y="56"/>
                  </a:lnTo>
                  <a:lnTo>
                    <a:pt x="4" y="62"/>
                  </a:lnTo>
                  <a:lnTo>
                    <a:pt x="6" y="62"/>
                  </a:lnTo>
                  <a:lnTo>
                    <a:pt x="6" y="62"/>
                  </a:lnTo>
                  <a:lnTo>
                    <a:pt x="6" y="66"/>
                  </a:lnTo>
                  <a:lnTo>
                    <a:pt x="6" y="66"/>
                  </a:lnTo>
                  <a:lnTo>
                    <a:pt x="4" y="66"/>
                  </a:lnTo>
                  <a:lnTo>
                    <a:pt x="4" y="66"/>
                  </a:lnTo>
                  <a:lnTo>
                    <a:pt x="0" y="70"/>
                  </a:lnTo>
                  <a:lnTo>
                    <a:pt x="0" y="70"/>
                  </a:lnTo>
                  <a:lnTo>
                    <a:pt x="8" y="72"/>
                  </a:lnTo>
                  <a:lnTo>
                    <a:pt x="8" y="72"/>
                  </a:lnTo>
                  <a:lnTo>
                    <a:pt x="10" y="74"/>
                  </a:lnTo>
                  <a:lnTo>
                    <a:pt x="14" y="72"/>
                  </a:lnTo>
                  <a:lnTo>
                    <a:pt x="14" y="72"/>
                  </a:lnTo>
                  <a:lnTo>
                    <a:pt x="16" y="72"/>
                  </a:lnTo>
                  <a:lnTo>
                    <a:pt x="16" y="70"/>
                  </a:lnTo>
                  <a:lnTo>
                    <a:pt x="16" y="70"/>
                  </a:lnTo>
                  <a:lnTo>
                    <a:pt x="18" y="70"/>
                  </a:lnTo>
                  <a:lnTo>
                    <a:pt x="18" y="70"/>
                  </a:lnTo>
                  <a:lnTo>
                    <a:pt x="18" y="74"/>
                  </a:lnTo>
                  <a:lnTo>
                    <a:pt x="18" y="74"/>
                  </a:lnTo>
                  <a:lnTo>
                    <a:pt x="14" y="74"/>
                  </a:lnTo>
                  <a:lnTo>
                    <a:pt x="14" y="74"/>
                  </a:lnTo>
                  <a:lnTo>
                    <a:pt x="12" y="76"/>
                  </a:lnTo>
                  <a:lnTo>
                    <a:pt x="12" y="78"/>
                  </a:lnTo>
                  <a:lnTo>
                    <a:pt x="12" y="78"/>
                  </a:lnTo>
                  <a:lnTo>
                    <a:pt x="14" y="78"/>
                  </a:lnTo>
                  <a:lnTo>
                    <a:pt x="14" y="78"/>
                  </a:lnTo>
                  <a:lnTo>
                    <a:pt x="14" y="80"/>
                  </a:lnTo>
                  <a:lnTo>
                    <a:pt x="14" y="80"/>
                  </a:lnTo>
                  <a:lnTo>
                    <a:pt x="6" y="88"/>
                  </a:lnTo>
                  <a:lnTo>
                    <a:pt x="8" y="92"/>
                  </a:lnTo>
                  <a:lnTo>
                    <a:pt x="10" y="94"/>
                  </a:lnTo>
                  <a:lnTo>
                    <a:pt x="4" y="98"/>
                  </a:lnTo>
                  <a:lnTo>
                    <a:pt x="4" y="98"/>
                  </a:lnTo>
                  <a:lnTo>
                    <a:pt x="6" y="100"/>
                  </a:lnTo>
                  <a:lnTo>
                    <a:pt x="10" y="104"/>
                  </a:lnTo>
                  <a:lnTo>
                    <a:pt x="10" y="104"/>
                  </a:lnTo>
                  <a:lnTo>
                    <a:pt x="14" y="102"/>
                  </a:lnTo>
                  <a:lnTo>
                    <a:pt x="14" y="100"/>
                  </a:lnTo>
                  <a:lnTo>
                    <a:pt x="14" y="100"/>
                  </a:lnTo>
                  <a:lnTo>
                    <a:pt x="16" y="102"/>
                  </a:lnTo>
                  <a:lnTo>
                    <a:pt x="18" y="108"/>
                  </a:lnTo>
                  <a:lnTo>
                    <a:pt x="18" y="108"/>
                  </a:lnTo>
                  <a:lnTo>
                    <a:pt x="20" y="110"/>
                  </a:lnTo>
                  <a:lnTo>
                    <a:pt x="22" y="110"/>
                  </a:lnTo>
                  <a:lnTo>
                    <a:pt x="22" y="110"/>
                  </a:lnTo>
                  <a:lnTo>
                    <a:pt x="22" y="110"/>
                  </a:lnTo>
                  <a:lnTo>
                    <a:pt x="26" y="108"/>
                  </a:lnTo>
                  <a:lnTo>
                    <a:pt x="28" y="106"/>
                  </a:lnTo>
                  <a:lnTo>
                    <a:pt x="30" y="104"/>
                  </a:lnTo>
                  <a:lnTo>
                    <a:pt x="30" y="104"/>
                  </a:lnTo>
                  <a:lnTo>
                    <a:pt x="34" y="94"/>
                  </a:lnTo>
                  <a:lnTo>
                    <a:pt x="38" y="88"/>
                  </a:lnTo>
                  <a:lnTo>
                    <a:pt x="38" y="88"/>
                  </a:lnTo>
                  <a:lnTo>
                    <a:pt x="44" y="80"/>
                  </a:lnTo>
                  <a:lnTo>
                    <a:pt x="44" y="80"/>
                  </a:lnTo>
                  <a:lnTo>
                    <a:pt x="50" y="76"/>
                  </a:lnTo>
                  <a:lnTo>
                    <a:pt x="62" y="70"/>
                  </a:lnTo>
                  <a:lnTo>
                    <a:pt x="62" y="70"/>
                  </a:lnTo>
                  <a:lnTo>
                    <a:pt x="68" y="64"/>
                  </a:lnTo>
                  <a:lnTo>
                    <a:pt x="70" y="58"/>
                  </a:lnTo>
                  <a:lnTo>
                    <a:pt x="70" y="52"/>
                  </a:lnTo>
                  <a:lnTo>
                    <a:pt x="74" y="52"/>
                  </a:lnTo>
                  <a:lnTo>
                    <a:pt x="74" y="52"/>
                  </a:lnTo>
                  <a:lnTo>
                    <a:pt x="74" y="50"/>
                  </a:lnTo>
                  <a:lnTo>
                    <a:pt x="72" y="44"/>
                  </a:lnTo>
                  <a:lnTo>
                    <a:pt x="72" y="44"/>
                  </a:lnTo>
                  <a:lnTo>
                    <a:pt x="72" y="34"/>
                  </a:lnTo>
                  <a:lnTo>
                    <a:pt x="68" y="32"/>
                  </a:lnTo>
                  <a:lnTo>
                    <a:pt x="72" y="28"/>
                  </a:lnTo>
                  <a:lnTo>
                    <a:pt x="72" y="28"/>
                  </a:lnTo>
                  <a:lnTo>
                    <a:pt x="68" y="26"/>
                  </a:lnTo>
                  <a:lnTo>
                    <a:pt x="62" y="22"/>
                  </a:lnTo>
                  <a:lnTo>
                    <a:pt x="62" y="22"/>
                  </a:lnTo>
                  <a:lnTo>
                    <a:pt x="62" y="20"/>
                  </a:lnTo>
                  <a:lnTo>
                    <a:pt x="60" y="22"/>
                  </a:lnTo>
                  <a:lnTo>
                    <a:pt x="60" y="24"/>
                  </a:lnTo>
                  <a:lnTo>
                    <a:pt x="46" y="20"/>
                  </a:lnTo>
                  <a:lnTo>
                    <a:pt x="46" y="20"/>
                  </a:lnTo>
                  <a:lnTo>
                    <a:pt x="44" y="20"/>
                  </a:lnTo>
                  <a:lnTo>
                    <a:pt x="42" y="16"/>
                  </a:lnTo>
                  <a:lnTo>
                    <a:pt x="42" y="16"/>
                  </a:lnTo>
                  <a:lnTo>
                    <a:pt x="42" y="12"/>
                  </a:lnTo>
                  <a:lnTo>
                    <a:pt x="40" y="10"/>
                  </a:lnTo>
                  <a:lnTo>
                    <a:pt x="40" y="10"/>
                  </a:lnTo>
                  <a:lnTo>
                    <a:pt x="32" y="6"/>
                  </a:lnTo>
                  <a:lnTo>
                    <a:pt x="32" y="6"/>
                  </a:lnTo>
                  <a:lnTo>
                    <a:pt x="28" y="2"/>
                  </a:lnTo>
                  <a:lnTo>
                    <a:pt x="28" y="0"/>
                  </a:lnTo>
                  <a:lnTo>
                    <a:pt x="2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49" name="Freeform 199"/>
            <p:cNvSpPr>
              <a:spLocks noChangeAspect="1"/>
            </p:cNvSpPr>
            <p:nvPr/>
          </p:nvSpPr>
          <p:spPr bwMode="gray">
            <a:xfrm>
              <a:off x="2658698" y="3874900"/>
              <a:ext cx="81605" cy="52639"/>
            </a:xfrm>
            <a:custGeom>
              <a:avLst/>
              <a:gdLst/>
              <a:ahLst/>
              <a:cxnLst>
                <a:cxn ang="0">
                  <a:pos x="2" y="26"/>
                </a:cxn>
                <a:cxn ang="0">
                  <a:pos x="2" y="26"/>
                </a:cxn>
                <a:cxn ang="0">
                  <a:pos x="6" y="32"/>
                </a:cxn>
                <a:cxn ang="0">
                  <a:pos x="6" y="32"/>
                </a:cxn>
                <a:cxn ang="0">
                  <a:pos x="8" y="32"/>
                </a:cxn>
                <a:cxn ang="0">
                  <a:pos x="8" y="32"/>
                </a:cxn>
                <a:cxn ang="0">
                  <a:pos x="12" y="26"/>
                </a:cxn>
                <a:cxn ang="0">
                  <a:pos x="12" y="26"/>
                </a:cxn>
                <a:cxn ang="0">
                  <a:pos x="10" y="20"/>
                </a:cxn>
                <a:cxn ang="0">
                  <a:pos x="10" y="20"/>
                </a:cxn>
                <a:cxn ang="0">
                  <a:pos x="18" y="22"/>
                </a:cxn>
                <a:cxn ang="0">
                  <a:pos x="18" y="22"/>
                </a:cxn>
                <a:cxn ang="0">
                  <a:pos x="20" y="26"/>
                </a:cxn>
                <a:cxn ang="0">
                  <a:pos x="20" y="26"/>
                </a:cxn>
                <a:cxn ang="0">
                  <a:pos x="24" y="26"/>
                </a:cxn>
                <a:cxn ang="0">
                  <a:pos x="28" y="24"/>
                </a:cxn>
                <a:cxn ang="0">
                  <a:pos x="28" y="20"/>
                </a:cxn>
                <a:cxn ang="0">
                  <a:pos x="28" y="20"/>
                </a:cxn>
                <a:cxn ang="0">
                  <a:pos x="34" y="20"/>
                </a:cxn>
                <a:cxn ang="0">
                  <a:pos x="42" y="22"/>
                </a:cxn>
                <a:cxn ang="0">
                  <a:pos x="46" y="22"/>
                </a:cxn>
                <a:cxn ang="0">
                  <a:pos x="48" y="20"/>
                </a:cxn>
                <a:cxn ang="0">
                  <a:pos x="48" y="18"/>
                </a:cxn>
                <a:cxn ang="0">
                  <a:pos x="46" y="14"/>
                </a:cxn>
                <a:cxn ang="0">
                  <a:pos x="46" y="14"/>
                </a:cxn>
                <a:cxn ang="0">
                  <a:pos x="42" y="12"/>
                </a:cxn>
                <a:cxn ang="0">
                  <a:pos x="38" y="10"/>
                </a:cxn>
                <a:cxn ang="0">
                  <a:pos x="38" y="10"/>
                </a:cxn>
                <a:cxn ang="0">
                  <a:pos x="36" y="10"/>
                </a:cxn>
                <a:cxn ang="0">
                  <a:pos x="28" y="8"/>
                </a:cxn>
                <a:cxn ang="0">
                  <a:pos x="28" y="8"/>
                </a:cxn>
                <a:cxn ang="0">
                  <a:pos x="26" y="6"/>
                </a:cxn>
                <a:cxn ang="0">
                  <a:pos x="22" y="2"/>
                </a:cxn>
                <a:cxn ang="0">
                  <a:pos x="22" y="2"/>
                </a:cxn>
                <a:cxn ang="0">
                  <a:pos x="18" y="2"/>
                </a:cxn>
                <a:cxn ang="0">
                  <a:pos x="18" y="2"/>
                </a:cxn>
                <a:cxn ang="0">
                  <a:pos x="16" y="0"/>
                </a:cxn>
                <a:cxn ang="0">
                  <a:pos x="16" y="0"/>
                </a:cxn>
                <a:cxn ang="0">
                  <a:pos x="6" y="0"/>
                </a:cxn>
                <a:cxn ang="0">
                  <a:pos x="6" y="0"/>
                </a:cxn>
                <a:cxn ang="0">
                  <a:pos x="2" y="2"/>
                </a:cxn>
                <a:cxn ang="0">
                  <a:pos x="2" y="2"/>
                </a:cxn>
                <a:cxn ang="0">
                  <a:pos x="0" y="2"/>
                </a:cxn>
                <a:cxn ang="0">
                  <a:pos x="2" y="12"/>
                </a:cxn>
                <a:cxn ang="0">
                  <a:pos x="0" y="16"/>
                </a:cxn>
                <a:cxn ang="0">
                  <a:pos x="0" y="18"/>
                </a:cxn>
                <a:cxn ang="0">
                  <a:pos x="0" y="18"/>
                </a:cxn>
                <a:cxn ang="0">
                  <a:pos x="2" y="22"/>
                </a:cxn>
                <a:cxn ang="0">
                  <a:pos x="2" y="22"/>
                </a:cxn>
                <a:cxn ang="0">
                  <a:pos x="2" y="26"/>
                </a:cxn>
                <a:cxn ang="0">
                  <a:pos x="2" y="26"/>
                </a:cxn>
              </a:cxnLst>
              <a:rect l="0" t="0" r="r" b="b"/>
              <a:pathLst>
                <a:path w="48" h="32">
                  <a:moveTo>
                    <a:pt x="2" y="26"/>
                  </a:moveTo>
                  <a:lnTo>
                    <a:pt x="2" y="26"/>
                  </a:lnTo>
                  <a:lnTo>
                    <a:pt x="6" y="32"/>
                  </a:lnTo>
                  <a:lnTo>
                    <a:pt x="6" y="32"/>
                  </a:lnTo>
                  <a:lnTo>
                    <a:pt x="8" y="32"/>
                  </a:lnTo>
                  <a:lnTo>
                    <a:pt x="8" y="32"/>
                  </a:lnTo>
                  <a:lnTo>
                    <a:pt x="12" y="26"/>
                  </a:lnTo>
                  <a:lnTo>
                    <a:pt x="12" y="26"/>
                  </a:lnTo>
                  <a:lnTo>
                    <a:pt x="10" y="20"/>
                  </a:lnTo>
                  <a:lnTo>
                    <a:pt x="10" y="20"/>
                  </a:lnTo>
                  <a:lnTo>
                    <a:pt x="18" y="22"/>
                  </a:lnTo>
                  <a:lnTo>
                    <a:pt x="18" y="22"/>
                  </a:lnTo>
                  <a:lnTo>
                    <a:pt x="20" y="26"/>
                  </a:lnTo>
                  <a:lnTo>
                    <a:pt x="20" y="26"/>
                  </a:lnTo>
                  <a:lnTo>
                    <a:pt x="24" y="26"/>
                  </a:lnTo>
                  <a:lnTo>
                    <a:pt x="28" y="24"/>
                  </a:lnTo>
                  <a:lnTo>
                    <a:pt x="28" y="20"/>
                  </a:lnTo>
                  <a:lnTo>
                    <a:pt x="28" y="20"/>
                  </a:lnTo>
                  <a:lnTo>
                    <a:pt x="34" y="20"/>
                  </a:lnTo>
                  <a:lnTo>
                    <a:pt x="42" y="22"/>
                  </a:lnTo>
                  <a:lnTo>
                    <a:pt x="46" y="22"/>
                  </a:lnTo>
                  <a:lnTo>
                    <a:pt x="48" y="20"/>
                  </a:lnTo>
                  <a:lnTo>
                    <a:pt x="48" y="18"/>
                  </a:lnTo>
                  <a:lnTo>
                    <a:pt x="46" y="14"/>
                  </a:lnTo>
                  <a:lnTo>
                    <a:pt x="46" y="14"/>
                  </a:lnTo>
                  <a:lnTo>
                    <a:pt x="42" y="12"/>
                  </a:lnTo>
                  <a:lnTo>
                    <a:pt x="38" y="10"/>
                  </a:lnTo>
                  <a:lnTo>
                    <a:pt x="38" y="10"/>
                  </a:lnTo>
                  <a:lnTo>
                    <a:pt x="36" y="10"/>
                  </a:lnTo>
                  <a:lnTo>
                    <a:pt x="28" y="8"/>
                  </a:lnTo>
                  <a:lnTo>
                    <a:pt x="28" y="8"/>
                  </a:lnTo>
                  <a:lnTo>
                    <a:pt x="26" y="6"/>
                  </a:lnTo>
                  <a:lnTo>
                    <a:pt x="22" y="2"/>
                  </a:lnTo>
                  <a:lnTo>
                    <a:pt x="22" y="2"/>
                  </a:lnTo>
                  <a:lnTo>
                    <a:pt x="18" y="2"/>
                  </a:lnTo>
                  <a:lnTo>
                    <a:pt x="18" y="2"/>
                  </a:lnTo>
                  <a:lnTo>
                    <a:pt x="16" y="0"/>
                  </a:lnTo>
                  <a:lnTo>
                    <a:pt x="16" y="0"/>
                  </a:lnTo>
                  <a:lnTo>
                    <a:pt x="6" y="0"/>
                  </a:lnTo>
                  <a:lnTo>
                    <a:pt x="6" y="0"/>
                  </a:lnTo>
                  <a:lnTo>
                    <a:pt x="2" y="2"/>
                  </a:lnTo>
                  <a:lnTo>
                    <a:pt x="2" y="2"/>
                  </a:lnTo>
                  <a:lnTo>
                    <a:pt x="0" y="2"/>
                  </a:lnTo>
                  <a:lnTo>
                    <a:pt x="2" y="12"/>
                  </a:lnTo>
                  <a:lnTo>
                    <a:pt x="0" y="16"/>
                  </a:lnTo>
                  <a:lnTo>
                    <a:pt x="0" y="18"/>
                  </a:lnTo>
                  <a:lnTo>
                    <a:pt x="0" y="18"/>
                  </a:lnTo>
                  <a:lnTo>
                    <a:pt x="2" y="22"/>
                  </a:lnTo>
                  <a:lnTo>
                    <a:pt x="2" y="22"/>
                  </a:lnTo>
                  <a:lnTo>
                    <a:pt x="2" y="26"/>
                  </a:lnTo>
                  <a:lnTo>
                    <a:pt x="2" y="2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0" name="Freeform 201"/>
            <p:cNvSpPr>
              <a:spLocks noChangeAspect="1" noEditPoints="1"/>
            </p:cNvSpPr>
            <p:nvPr/>
          </p:nvSpPr>
          <p:spPr bwMode="gray">
            <a:xfrm>
              <a:off x="4474421" y="2700393"/>
              <a:ext cx="107108" cy="128307"/>
            </a:xfrm>
            <a:custGeom>
              <a:avLst/>
              <a:gdLst/>
              <a:ahLst/>
              <a:cxnLst>
                <a:cxn ang="0">
                  <a:pos x="24" y="54"/>
                </a:cxn>
                <a:cxn ang="0">
                  <a:pos x="30" y="60"/>
                </a:cxn>
                <a:cxn ang="0">
                  <a:pos x="32" y="64"/>
                </a:cxn>
                <a:cxn ang="0">
                  <a:pos x="37" y="64"/>
                </a:cxn>
                <a:cxn ang="0">
                  <a:pos x="37" y="54"/>
                </a:cxn>
                <a:cxn ang="0">
                  <a:pos x="30" y="46"/>
                </a:cxn>
                <a:cxn ang="0">
                  <a:pos x="37" y="38"/>
                </a:cxn>
                <a:cxn ang="0">
                  <a:pos x="39" y="32"/>
                </a:cxn>
                <a:cxn ang="0">
                  <a:pos x="32" y="26"/>
                </a:cxn>
                <a:cxn ang="0">
                  <a:pos x="26" y="16"/>
                </a:cxn>
                <a:cxn ang="0">
                  <a:pos x="32" y="16"/>
                </a:cxn>
                <a:cxn ang="0">
                  <a:pos x="37" y="12"/>
                </a:cxn>
                <a:cxn ang="0">
                  <a:pos x="34" y="6"/>
                </a:cxn>
                <a:cxn ang="0">
                  <a:pos x="37" y="0"/>
                </a:cxn>
                <a:cxn ang="0">
                  <a:pos x="26" y="4"/>
                </a:cxn>
                <a:cxn ang="0">
                  <a:pos x="22" y="10"/>
                </a:cxn>
                <a:cxn ang="0">
                  <a:pos x="16" y="14"/>
                </a:cxn>
                <a:cxn ang="0">
                  <a:pos x="8" y="16"/>
                </a:cxn>
                <a:cxn ang="0">
                  <a:pos x="2" y="22"/>
                </a:cxn>
                <a:cxn ang="0">
                  <a:pos x="2" y="24"/>
                </a:cxn>
                <a:cxn ang="0">
                  <a:pos x="8" y="20"/>
                </a:cxn>
                <a:cxn ang="0">
                  <a:pos x="12" y="18"/>
                </a:cxn>
                <a:cxn ang="0">
                  <a:pos x="22" y="28"/>
                </a:cxn>
                <a:cxn ang="0">
                  <a:pos x="16" y="24"/>
                </a:cxn>
                <a:cxn ang="0">
                  <a:pos x="0" y="30"/>
                </a:cxn>
                <a:cxn ang="0">
                  <a:pos x="2" y="42"/>
                </a:cxn>
                <a:cxn ang="0">
                  <a:pos x="2" y="48"/>
                </a:cxn>
                <a:cxn ang="0">
                  <a:pos x="4" y="56"/>
                </a:cxn>
                <a:cxn ang="0">
                  <a:pos x="10" y="64"/>
                </a:cxn>
                <a:cxn ang="0">
                  <a:pos x="61" y="66"/>
                </a:cxn>
                <a:cxn ang="0">
                  <a:pos x="51" y="70"/>
                </a:cxn>
                <a:cxn ang="0">
                  <a:pos x="45" y="68"/>
                </a:cxn>
                <a:cxn ang="0">
                  <a:pos x="43" y="68"/>
                </a:cxn>
                <a:cxn ang="0">
                  <a:pos x="43" y="72"/>
                </a:cxn>
                <a:cxn ang="0">
                  <a:pos x="45" y="76"/>
                </a:cxn>
                <a:cxn ang="0">
                  <a:pos x="49" y="78"/>
                </a:cxn>
                <a:cxn ang="0">
                  <a:pos x="53" y="76"/>
                </a:cxn>
                <a:cxn ang="0">
                  <a:pos x="57" y="72"/>
                </a:cxn>
                <a:cxn ang="0">
                  <a:pos x="63" y="66"/>
                </a:cxn>
                <a:cxn ang="0">
                  <a:pos x="39" y="66"/>
                </a:cxn>
                <a:cxn ang="0">
                  <a:pos x="37" y="74"/>
                </a:cxn>
                <a:cxn ang="0">
                  <a:pos x="39" y="68"/>
                </a:cxn>
                <a:cxn ang="0">
                  <a:pos x="39" y="66"/>
                </a:cxn>
                <a:cxn ang="0">
                  <a:pos x="55" y="38"/>
                </a:cxn>
                <a:cxn ang="0">
                  <a:pos x="53" y="46"/>
                </a:cxn>
                <a:cxn ang="0">
                  <a:pos x="49" y="50"/>
                </a:cxn>
                <a:cxn ang="0">
                  <a:pos x="49" y="46"/>
                </a:cxn>
                <a:cxn ang="0">
                  <a:pos x="43" y="50"/>
                </a:cxn>
                <a:cxn ang="0">
                  <a:pos x="39" y="50"/>
                </a:cxn>
                <a:cxn ang="0">
                  <a:pos x="41" y="54"/>
                </a:cxn>
                <a:cxn ang="0">
                  <a:pos x="43" y="62"/>
                </a:cxn>
                <a:cxn ang="0">
                  <a:pos x="49" y="62"/>
                </a:cxn>
                <a:cxn ang="0">
                  <a:pos x="51" y="60"/>
                </a:cxn>
                <a:cxn ang="0">
                  <a:pos x="55" y="66"/>
                </a:cxn>
                <a:cxn ang="0">
                  <a:pos x="55" y="62"/>
                </a:cxn>
                <a:cxn ang="0">
                  <a:pos x="61" y="58"/>
                </a:cxn>
                <a:cxn ang="0">
                  <a:pos x="57" y="52"/>
                </a:cxn>
                <a:cxn ang="0">
                  <a:pos x="61" y="50"/>
                </a:cxn>
                <a:cxn ang="0">
                  <a:pos x="59" y="38"/>
                </a:cxn>
                <a:cxn ang="0">
                  <a:pos x="12" y="20"/>
                </a:cxn>
                <a:cxn ang="0">
                  <a:pos x="10" y="26"/>
                </a:cxn>
                <a:cxn ang="0">
                  <a:pos x="14" y="22"/>
                </a:cxn>
                <a:cxn ang="0">
                  <a:pos x="12" y="20"/>
                </a:cxn>
              </a:cxnLst>
              <a:rect l="0" t="0" r="r" b="b"/>
              <a:pathLst>
                <a:path w="63" h="78">
                  <a:moveTo>
                    <a:pt x="22" y="64"/>
                  </a:moveTo>
                  <a:lnTo>
                    <a:pt x="22" y="64"/>
                  </a:lnTo>
                  <a:lnTo>
                    <a:pt x="24" y="54"/>
                  </a:lnTo>
                  <a:lnTo>
                    <a:pt x="24" y="54"/>
                  </a:lnTo>
                  <a:lnTo>
                    <a:pt x="30" y="60"/>
                  </a:lnTo>
                  <a:lnTo>
                    <a:pt x="30" y="60"/>
                  </a:lnTo>
                  <a:lnTo>
                    <a:pt x="30" y="64"/>
                  </a:lnTo>
                  <a:lnTo>
                    <a:pt x="32" y="64"/>
                  </a:lnTo>
                  <a:lnTo>
                    <a:pt x="32" y="64"/>
                  </a:lnTo>
                  <a:lnTo>
                    <a:pt x="32" y="64"/>
                  </a:lnTo>
                  <a:lnTo>
                    <a:pt x="34" y="64"/>
                  </a:lnTo>
                  <a:lnTo>
                    <a:pt x="37" y="64"/>
                  </a:lnTo>
                  <a:lnTo>
                    <a:pt x="37" y="64"/>
                  </a:lnTo>
                  <a:lnTo>
                    <a:pt x="37" y="54"/>
                  </a:lnTo>
                  <a:lnTo>
                    <a:pt x="37" y="54"/>
                  </a:lnTo>
                  <a:lnTo>
                    <a:pt x="26" y="54"/>
                  </a:lnTo>
                  <a:lnTo>
                    <a:pt x="26" y="54"/>
                  </a:lnTo>
                  <a:lnTo>
                    <a:pt x="30" y="46"/>
                  </a:lnTo>
                  <a:lnTo>
                    <a:pt x="32" y="36"/>
                  </a:lnTo>
                  <a:lnTo>
                    <a:pt x="32" y="36"/>
                  </a:lnTo>
                  <a:lnTo>
                    <a:pt x="37" y="38"/>
                  </a:lnTo>
                  <a:lnTo>
                    <a:pt x="41" y="34"/>
                  </a:lnTo>
                  <a:lnTo>
                    <a:pt x="39" y="32"/>
                  </a:lnTo>
                  <a:lnTo>
                    <a:pt x="39" y="32"/>
                  </a:lnTo>
                  <a:lnTo>
                    <a:pt x="34" y="32"/>
                  </a:lnTo>
                  <a:lnTo>
                    <a:pt x="34" y="32"/>
                  </a:lnTo>
                  <a:lnTo>
                    <a:pt x="32" y="26"/>
                  </a:lnTo>
                  <a:lnTo>
                    <a:pt x="32" y="18"/>
                  </a:lnTo>
                  <a:lnTo>
                    <a:pt x="32" y="18"/>
                  </a:lnTo>
                  <a:lnTo>
                    <a:pt x="26" y="16"/>
                  </a:lnTo>
                  <a:lnTo>
                    <a:pt x="26" y="16"/>
                  </a:lnTo>
                  <a:lnTo>
                    <a:pt x="32" y="16"/>
                  </a:lnTo>
                  <a:lnTo>
                    <a:pt x="32" y="16"/>
                  </a:lnTo>
                  <a:lnTo>
                    <a:pt x="34" y="12"/>
                  </a:lnTo>
                  <a:lnTo>
                    <a:pt x="34" y="12"/>
                  </a:lnTo>
                  <a:lnTo>
                    <a:pt x="37" y="12"/>
                  </a:lnTo>
                  <a:lnTo>
                    <a:pt x="37" y="12"/>
                  </a:lnTo>
                  <a:lnTo>
                    <a:pt x="34" y="6"/>
                  </a:lnTo>
                  <a:lnTo>
                    <a:pt x="34" y="6"/>
                  </a:lnTo>
                  <a:lnTo>
                    <a:pt x="37" y="2"/>
                  </a:lnTo>
                  <a:lnTo>
                    <a:pt x="37" y="2"/>
                  </a:lnTo>
                  <a:lnTo>
                    <a:pt x="37" y="0"/>
                  </a:lnTo>
                  <a:lnTo>
                    <a:pt x="37" y="0"/>
                  </a:lnTo>
                  <a:lnTo>
                    <a:pt x="30" y="2"/>
                  </a:lnTo>
                  <a:lnTo>
                    <a:pt x="26" y="4"/>
                  </a:lnTo>
                  <a:lnTo>
                    <a:pt x="26" y="4"/>
                  </a:lnTo>
                  <a:lnTo>
                    <a:pt x="24" y="8"/>
                  </a:lnTo>
                  <a:lnTo>
                    <a:pt x="22" y="10"/>
                  </a:lnTo>
                  <a:lnTo>
                    <a:pt x="22" y="12"/>
                  </a:lnTo>
                  <a:lnTo>
                    <a:pt x="22" y="12"/>
                  </a:lnTo>
                  <a:lnTo>
                    <a:pt x="16" y="14"/>
                  </a:lnTo>
                  <a:lnTo>
                    <a:pt x="14" y="14"/>
                  </a:lnTo>
                  <a:lnTo>
                    <a:pt x="12" y="14"/>
                  </a:lnTo>
                  <a:lnTo>
                    <a:pt x="8" y="16"/>
                  </a:lnTo>
                  <a:lnTo>
                    <a:pt x="8" y="16"/>
                  </a:lnTo>
                  <a:lnTo>
                    <a:pt x="2" y="22"/>
                  </a:lnTo>
                  <a:lnTo>
                    <a:pt x="2" y="22"/>
                  </a:lnTo>
                  <a:lnTo>
                    <a:pt x="2" y="24"/>
                  </a:lnTo>
                  <a:lnTo>
                    <a:pt x="2" y="24"/>
                  </a:lnTo>
                  <a:lnTo>
                    <a:pt x="2" y="24"/>
                  </a:lnTo>
                  <a:lnTo>
                    <a:pt x="6" y="24"/>
                  </a:lnTo>
                  <a:lnTo>
                    <a:pt x="6" y="24"/>
                  </a:lnTo>
                  <a:lnTo>
                    <a:pt x="8" y="20"/>
                  </a:lnTo>
                  <a:lnTo>
                    <a:pt x="8" y="20"/>
                  </a:lnTo>
                  <a:lnTo>
                    <a:pt x="10" y="18"/>
                  </a:lnTo>
                  <a:lnTo>
                    <a:pt x="12" y="18"/>
                  </a:lnTo>
                  <a:lnTo>
                    <a:pt x="20" y="18"/>
                  </a:lnTo>
                  <a:lnTo>
                    <a:pt x="20" y="18"/>
                  </a:lnTo>
                  <a:lnTo>
                    <a:pt x="22" y="28"/>
                  </a:lnTo>
                  <a:lnTo>
                    <a:pt x="22" y="28"/>
                  </a:lnTo>
                  <a:lnTo>
                    <a:pt x="18" y="24"/>
                  </a:lnTo>
                  <a:lnTo>
                    <a:pt x="16" y="24"/>
                  </a:lnTo>
                  <a:lnTo>
                    <a:pt x="12" y="32"/>
                  </a:lnTo>
                  <a:lnTo>
                    <a:pt x="12" y="32"/>
                  </a:lnTo>
                  <a:lnTo>
                    <a:pt x="0" y="30"/>
                  </a:lnTo>
                  <a:lnTo>
                    <a:pt x="0" y="30"/>
                  </a:lnTo>
                  <a:lnTo>
                    <a:pt x="2" y="40"/>
                  </a:lnTo>
                  <a:lnTo>
                    <a:pt x="2" y="42"/>
                  </a:lnTo>
                  <a:lnTo>
                    <a:pt x="6" y="44"/>
                  </a:lnTo>
                  <a:lnTo>
                    <a:pt x="6" y="46"/>
                  </a:lnTo>
                  <a:lnTo>
                    <a:pt x="2" y="48"/>
                  </a:lnTo>
                  <a:lnTo>
                    <a:pt x="2" y="48"/>
                  </a:lnTo>
                  <a:lnTo>
                    <a:pt x="2" y="52"/>
                  </a:lnTo>
                  <a:lnTo>
                    <a:pt x="4" y="56"/>
                  </a:lnTo>
                  <a:lnTo>
                    <a:pt x="10" y="62"/>
                  </a:lnTo>
                  <a:lnTo>
                    <a:pt x="10" y="62"/>
                  </a:lnTo>
                  <a:lnTo>
                    <a:pt x="10" y="64"/>
                  </a:lnTo>
                  <a:lnTo>
                    <a:pt x="22" y="64"/>
                  </a:lnTo>
                  <a:close/>
                  <a:moveTo>
                    <a:pt x="61" y="66"/>
                  </a:moveTo>
                  <a:lnTo>
                    <a:pt x="61" y="66"/>
                  </a:lnTo>
                  <a:lnTo>
                    <a:pt x="55" y="68"/>
                  </a:lnTo>
                  <a:lnTo>
                    <a:pt x="51" y="70"/>
                  </a:lnTo>
                  <a:lnTo>
                    <a:pt x="51" y="70"/>
                  </a:lnTo>
                  <a:lnTo>
                    <a:pt x="49" y="70"/>
                  </a:lnTo>
                  <a:lnTo>
                    <a:pt x="49" y="70"/>
                  </a:lnTo>
                  <a:lnTo>
                    <a:pt x="45" y="68"/>
                  </a:lnTo>
                  <a:lnTo>
                    <a:pt x="45" y="68"/>
                  </a:lnTo>
                  <a:lnTo>
                    <a:pt x="43" y="68"/>
                  </a:lnTo>
                  <a:lnTo>
                    <a:pt x="43" y="68"/>
                  </a:lnTo>
                  <a:lnTo>
                    <a:pt x="43" y="68"/>
                  </a:lnTo>
                  <a:lnTo>
                    <a:pt x="43" y="70"/>
                  </a:lnTo>
                  <a:lnTo>
                    <a:pt x="43" y="72"/>
                  </a:lnTo>
                  <a:lnTo>
                    <a:pt x="43" y="72"/>
                  </a:lnTo>
                  <a:lnTo>
                    <a:pt x="45" y="76"/>
                  </a:lnTo>
                  <a:lnTo>
                    <a:pt x="45" y="76"/>
                  </a:lnTo>
                  <a:lnTo>
                    <a:pt x="45" y="76"/>
                  </a:lnTo>
                  <a:lnTo>
                    <a:pt x="47" y="78"/>
                  </a:lnTo>
                  <a:lnTo>
                    <a:pt x="49" y="78"/>
                  </a:lnTo>
                  <a:lnTo>
                    <a:pt x="51" y="76"/>
                  </a:lnTo>
                  <a:lnTo>
                    <a:pt x="51" y="76"/>
                  </a:lnTo>
                  <a:lnTo>
                    <a:pt x="53" y="76"/>
                  </a:lnTo>
                  <a:lnTo>
                    <a:pt x="55" y="76"/>
                  </a:lnTo>
                  <a:lnTo>
                    <a:pt x="55" y="76"/>
                  </a:lnTo>
                  <a:lnTo>
                    <a:pt x="57" y="72"/>
                  </a:lnTo>
                  <a:lnTo>
                    <a:pt x="57" y="72"/>
                  </a:lnTo>
                  <a:lnTo>
                    <a:pt x="61" y="68"/>
                  </a:lnTo>
                  <a:lnTo>
                    <a:pt x="63" y="66"/>
                  </a:lnTo>
                  <a:lnTo>
                    <a:pt x="61" y="66"/>
                  </a:lnTo>
                  <a:lnTo>
                    <a:pt x="61" y="66"/>
                  </a:lnTo>
                  <a:close/>
                  <a:moveTo>
                    <a:pt x="39" y="66"/>
                  </a:moveTo>
                  <a:lnTo>
                    <a:pt x="39" y="66"/>
                  </a:lnTo>
                  <a:lnTo>
                    <a:pt x="37" y="72"/>
                  </a:lnTo>
                  <a:lnTo>
                    <a:pt x="37" y="74"/>
                  </a:lnTo>
                  <a:lnTo>
                    <a:pt x="37" y="74"/>
                  </a:lnTo>
                  <a:lnTo>
                    <a:pt x="37" y="74"/>
                  </a:lnTo>
                  <a:lnTo>
                    <a:pt x="39" y="68"/>
                  </a:lnTo>
                  <a:lnTo>
                    <a:pt x="41" y="66"/>
                  </a:lnTo>
                  <a:lnTo>
                    <a:pt x="39" y="64"/>
                  </a:lnTo>
                  <a:lnTo>
                    <a:pt x="39" y="66"/>
                  </a:lnTo>
                  <a:lnTo>
                    <a:pt x="39" y="66"/>
                  </a:lnTo>
                  <a:close/>
                  <a:moveTo>
                    <a:pt x="55" y="38"/>
                  </a:moveTo>
                  <a:lnTo>
                    <a:pt x="55" y="38"/>
                  </a:lnTo>
                  <a:lnTo>
                    <a:pt x="51" y="40"/>
                  </a:lnTo>
                  <a:lnTo>
                    <a:pt x="53" y="46"/>
                  </a:lnTo>
                  <a:lnTo>
                    <a:pt x="53" y="46"/>
                  </a:lnTo>
                  <a:lnTo>
                    <a:pt x="51" y="48"/>
                  </a:lnTo>
                  <a:lnTo>
                    <a:pt x="51" y="50"/>
                  </a:lnTo>
                  <a:lnTo>
                    <a:pt x="49" y="50"/>
                  </a:lnTo>
                  <a:lnTo>
                    <a:pt x="49" y="50"/>
                  </a:lnTo>
                  <a:lnTo>
                    <a:pt x="49" y="46"/>
                  </a:lnTo>
                  <a:lnTo>
                    <a:pt x="49" y="46"/>
                  </a:lnTo>
                  <a:lnTo>
                    <a:pt x="45" y="46"/>
                  </a:lnTo>
                  <a:lnTo>
                    <a:pt x="43" y="46"/>
                  </a:lnTo>
                  <a:lnTo>
                    <a:pt x="43" y="50"/>
                  </a:lnTo>
                  <a:lnTo>
                    <a:pt x="43" y="50"/>
                  </a:lnTo>
                  <a:lnTo>
                    <a:pt x="39" y="50"/>
                  </a:lnTo>
                  <a:lnTo>
                    <a:pt x="39" y="50"/>
                  </a:lnTo>
                  <a:lnTo>
                    <a:pt x="39" y="52"/>
                  </a:lnTo>
                  <a:lnTo>
                    <a:pt x="39" y="52"/>
                  </a:lnTo>
                  <a:lnTo>
                    <a:pt x="41" y="54"/>
                  </a:lnTo>
                  <a:lnTo>
                    <a:pt x="43" y="54"/>
                  </a:lnTo>
                  <a:lnTo>
                    <a:pt x="43" y="54"/>
                  </a:lnTo>
                  <a:lnTo>
                    <a:pt x="43" y="62"/>
                  </a:lnTo>
                  <a:lnTo>
                    <a:pt x="43" y="62"/>
                  </a:lnTo>
                  <a:lnTo>
                    <a:pt x="49" y="62"/>
                  </a:lnTo>
                  <a:lnTo>
                    <a:pt x="49" y="62"/>
                  </a:lnTo>
                  <a:lnTo>
                    <a:pt x="47" y="60"/>
                  </a:lnTo>
                  <a:lnTo>
                    <a:pt x="49" y="60"/>
                  </a:lnTo>
                  <a:lnTo>
                    <a:pt x="51" y="60"/>
                  </a:lnTo>
                  <a:lnTo>
                    <a:pt x="51" y="66"/>
                  </a:lnTo>
                  <a:lnTo>
                    <a:pt x="51" y="66"/>
                  </a:lnTo>
                  <a:lnTo>
                    <a:pt x="55" y="66"/>
                  </a:lnTo>
                  <a:lnTo>
                    <a:pt x="55" y="66"/>
                  </a:lnTo>
                  <a:lnTo>
                    <a:pt x="55" y="62"/>
                  </a:lnTo>
                  <a:lnTo>
                    <a:pt x="55" y="62"/>
                  </a:lnTo>
                  <a:lnTo>
                    <a:pt x="59" y="60"/>
                  </a:lnTo>
                  <a:lnTo>
                    <a:pt x="61" y="58"/>
                  </a:lnTo>
                  <a:lnTo>
                    <a:pt x="61" y="58"/>
                  </a:lnTo>
                  <a:lnTo>
                    <a:pt x="61" y="54"/>
                  </a:lnTo>
                  <a:lnTo>
                    <a:pt x="61" y="54"/>
                  </a:lnTo>
                  <a:lnTo>
                    <a:pt x="57" y="52"/>
                  </a:lnTo>
                  <a:lnTo>
                    <a:pt x="57" y="52"/>
                  </a:lnTo>
                  <a:lnTo>
                    <a:pt x="61" y="50"/>
                  </a:lnTo>
                  <a:lnTo>
                    <a:pt x="61" y="50"/>
                  </a:lnTo>
                  <a:lnTo>
                    <a:pt x="61" y="44"/>
                  </a:lnTo>
                  <a:lnTo>
                    <a:pt x="59" y="38"/>
                  </a:lnTo>
                  <a:lnTo>
                    <a:pt x="59" y="38"/>
                  </a:lnTo>
                  <a:lnTo>
                    <a:pt x="55" y="38"/>
                  </a:lnTo>
                  <a:lnTo>
                    <a:pt x="55" y="38"/>
                  </a:lnTo>
                  <a:close/>
                  <a:moveTo>
                    <a:pt x="12" y="20"/>
                  </a:moveTo>
                  <a:lnTo>
                    <a:pt x="12" y="20"/>
                  </a:lnTo>
                  <a:lnTo>
                    <a:pt x="10" y="24"/>
                  </a:lnTo>
                  <a:lnTo>
                    <a:pt x="10" y="26"/>
                  </a:lnTo>
                  <a:lnTo>
                    <a:pt x="12" y="24"/>
                  </a:lnTo>
                  <a:lnTo>
                    <a:pt x="12" y="24"/>
                  </a:lnTo>
                  <a:lnTo>
                    <a:pt x="14" y="22"/>
                  </a:lnTo>
                  <a:lnTo>
                    <a:pt x="14" y="20"/>
                  </a:lnTo>
                  <a:lnTo>
                    <a:pt x="12" y="20"/>
                  </a:lnTo>
                  <a:lnTo>
                    <a:pt x="12" y="2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1" name="Freeform 202"/>
            <p:cNvSpPr>
              <a:spLocks noChangeAspect="1"/>
            </p:cNvSpPr>
            <p:nvPr/>
          </p:nvSpPr>
          <p:spPr bwMode="gray">
            <a:xfrm>
              <a:off x="4567927" y="2933978"/>
              <a:ext cx="136009" cy="85539"/>
            </a:xfrm>
            <a:custGeom>
              <a:avLst/>
              <a:gdLst/>
              <a:ahLst/>
              <a:cxnLst>
                <a:cxn ang="0">
                  <a:pos x="64" y="46"/>
                </a:cxn>
                <a:cxn ang="0">
                  <a:pos x="66" y="42"/>
                </a:cxn>
                <a:cxn ang="0">
                  <a:pos x="70" y="40"/>
                </a:cxn>
                <a:cxn ang="0">
                  <a:pos x="72" y="38"/>
                </a:cxn>
                <a:cxn ang="0">
                  <a:pos x="72" y="34"/>
                </a:cxn>
                <a:cxn ang="0">
                  <a:pos x="80" y="32"/>
                </a:cxn>
                <a:cxn ang="0">
                  <a:pos x="78" y="26"/>
                </a:cxn>
                <a:cxn ang="0">
                  <a:pos x="74" y="24"/>
                </a:cxn>
                <a:cxn ang="0">
                  <a:pos x="74" y="22"/>
                </a:cxn>
                <a:cxn ang="0">
                  <a:pos x="70" y="18"/>
                </a:cxn>
                <a:cxn ang="0">
                  <a:pos x="68" y="18"/>
                </a:cxn>
                <a:cxn ang="0">
                  <a:pos x="58" y="16"/>
                </a:cxn>
                <a:cxn ang="0">
                  <a:pos x="54" y="12"/>
                </a:cxn>
                <a:cxn ang="0">
                  <a:pos x="50" y="10"/>
                </a:cxn>
                <a:cxn ang="0">
                  <a:pos x="48" y="10"/>
                </a:cxn>
                <a:cxn ang="0">
                  <a:pos x="46" y="8"/>
                </a:cxn>
                <a:cxn ang="0">
                  <a:pos x="44" y="6"/>
                </a:cxn>
                <a:cxn ang="0">
                  <a:pos x="32" y="4"/>
                </a:cxn>
                <a:cxn ang="0">
                  <a:pos x="26" y="0"/>
                </a:cxn>
                <a:cxn ang="0">
                  <a:pos x="18" y="6"/>
                </a:cxn>
                <a:cxn ang="0">
                  <a:pos x="10" y="12"/>
                </a:cxn>
                <a:cxn ang="0">
                  <a:pos x="6" y="14"/>
                </a:cxn>
                <a:cxn ang="0">
                  <a:pos x="2" y="14"/>
                </a:cxn>
                <a:cxn ang="0">
                  <a:pos x="0" y="20"/>
                </a:cxn>
                <a:cxn ang="0">
                  <a:pos x="4" y="24"/>
                </a:cxn>
                <a:cxn ang="0">
                  <a:pos x="6" y="28"/>
                </a:cxn>
                <a:cxn ang="0">
                  <a:pos x="8" y="36"/>
                </a:cxn>
                <a:cxn ang="0">
                  <a:pos x="10" y="40"/>
                </a:cxn>
                <a:cxn ang="0">
                  <a:pos x="14" y="40"/>
                </a:cxn>
                <a:cxn ang="0">
                  <a:pos x="16" y="42"/>
                </a:cxn>
                <a:cxn ang="0">
                  <a:pos x="20" y="46"/>
                </a:cxn>
                <a:cxn ang="0">
                  <a:pos x="28" y="52"/>
                </a:cxn>
                <a:cxn ang="0">
                  <a:pos x="30" y="50"/>
                </a:cxn>
                <a:cxn ang="0">
                  <a:pos x="34" y="44"/>
                </a:cxn>
                <a:cxn ang="0">
                  <a:pos x="36" y="42"/>
                </a:cxn>
                <a:cxn ang="0">
                  <a:pos x="42" y="42"/>
                </a:cxn>
                <a:cxn ang="0">
                  <a:pos x="44" y="44"/>
                </a:cxn>
                <a:cxn ang="0">
                  <a:pos x="54" y="48"/>
                </a:cxn>
                <a:cxn ang="0">
                  <a:pos x="64" y="46"/>
                </a:cxn>
              </a:cxnLst>
              <a:rect l="0" t="0" r="r" b="b"/>
              <a:pathLst>
                <a:path w="80" h="52">
                  <a:moveTo>
                    <a:pt x="64" y="46"/>
                  </a:moveTo>
                  <a:lnTo>
                    <a:pt x="64" y="46"/>
                  </a:lnTo>
                  <a:lnTo>
                    <a:pt x="64" y="44"/>
                  </a:lnTo>
                  <a:lnTo>
                    <a:pt x="66" y="42"/>
                  </a:lnTo>
                  <a:lnTo>
                    <a:pt x="70" y="40"/>
                  </a:lnTo>
                  <a:lnTo>
                    <a:pt x="70" y="40"/>
                  </a:lnTo>
                  <a:lnTo>
                    <a:pt x="70" y="40"/>
                  </a:lnTo>
                  <a:lnTo>
                    <a:pt x="72" y="38"/>
                  </a:lnTo>
                  <a:lnTo>
                    <a:pt x="72" y="36"/>
                  </a:lnTo>
                  <a:lnTo>
                    <a:pt x="72" y="34"/>
                  </a:lnTo>
                  <a:lnTo>
                    <a:pt x="72" y="34"/>
                  </a:lnTo>
                  <a:lnTo>
                    <a:pt x="80" y="32"/>
                  </a:lnTo>
                  <a:lnTo>
                    <a:pt x="80" y="32"/>
                  </a:lnTo>
                  <a:lnTo>
                    <a:pt x="78" y="26"/>
                  </a:lnTo>
                  <a:lnTo>
                    <a:pt x="76" y="24"/>
                  </a:lnTo>
                  <a:lnTo>
                    <a:pt x="74" y="24"/>
                  </a:lnTo>
                  <a:lnTo>
                    <a:pt x="74" y="24"/>
                  </a:lnTo>
                  <a:lnTo>
                    <a:pt x="74" y="22"/>
                  </a:lnTo>
                  <a:lnTo>
                    <a:pt x="72" y="20"/>
                  </a:lnTo>
                  <a:lnTo>
                    <a:pt x="70" y="18"/>
                  </a:lnTo>
                  <a:lnTo>
                    <a:pt x="68" y="18"/>
                  </a:lnTo>
                  <a:lnTo>
                    <a:pt x="68" y="18"/>
                  </a:lnTo>
                  <a:lnTo>
                    <a:pt x="64" y="18"/>
                  </a:lnTo>
                  <a:lnTo>
                    <a:pt x="58" y="16"/>
                  </a:lnTo>
                  <a:lnTo>
                    <a:pt x="58" y="16"/>
                  </a:lnTo>
                  <a:lnTo>
                    <a:pt x="54" y="12"/>
                  </a:lnTo>
                  <a:lnTo>
                    <a:pt x="52" y="10"/>
                  </a:lnTo>
                  <a:lnTo>
                    <a:pt x="50" y="10"/>
                  </a:lnTo>
                  <a:lnTo>
                    <a:pt x="50" y="10"/>
                  </a:lnTo>
                  <a:lnTo>
                    <a:pt x="48" y="10"/>
                  </a:lnTo>
                  <a:lnTo>
                    <a:pt x="46" y="10"/>
                  </a:lnTo>
                  <a:lnTo>
                    <a:pt x="46" y="8"/>
                  </a:lnTo>
                  <a:lnTo>
                    <a:pt x="44" y="6"/>
                  </a:lnTo>
                  <a:lnTo>
                    <a:pt x="44" y="6"/>
                  </a:lnTo>
                  <a:lnTo>
                    <a:pt x="36" y="6"/>
                  </a:lnTo>
                  <a:lnTo>
                    <a:pt x="32" y="4"/>
                  </a:lnTo>
                  <a:lnTo>
                    <a:pt x="26" y="0"/>
                  </a:lnTo>
                  <a:lnTo>
                    <a:pt x="26" y="0"/>
                  </a:lnTo>
                  <a:lnTo>
                    <a:pt x="18" y="6"/>
                  </a:lnTo>
                  <a:lnTo>
                    <a:pt x="18" y="6"/>
                  </a:lnTo>
                  <a:lnTo>
                    <a:pt x="12" y="8"/>
                  </a:lnTo>
                  <a:lnTo>
                    <a:pt x="10" y="12"/>
                  </a:lnTo>
                  <a:lnTo>
                    <a:pt x="10" y="12"/>
                  </a:lnTo>
                  <a:lnTo>
                    <a:pt x="6" y="14"/>
                  </a:lnTo>
                  <a:lnTo>
                    <a:pt x="2" y="14"/>
                  </a:lnTo>
                  <a:lnTo>
                    <a:pt x="2" y="14"/>
                  </a:lnTo>
                  <a:lnTo>
                    <a:pt x="0" y="16"/>
                  </a:lnTo>
                  <a:lnTo>
                    <a:pt x="0" y="20"/>
                  </a:lnTo>
                  <a:lnTo>
                    <a:pt x="0" y="20"/>
                  </a:lnTo>
                  <a:lnTo>
                    <a:pt x="4" y="24"/>
                  </a:lnTo>
                  <a:lnTo>
                    <a:pt x="6" y="28"/>
                  </a:lnTo>
                  <a:lnTo>
                    <a:pt x="6" y="28"/>
                  </a:lnTo>
                  <a:lnTo>
                    <a:pt x="8" y="32"/>
                  </a:lnTo>
                  <a:lnTo>
                    <a:pt x="8" y="36"/>
                  </a:lnTo>
                  <a:lnTo>
                    <a:pt x="8" y="36"/>
                  </a:lnTo>
                  <a:lnTo>
                    <a:pt x="10" y="40"/>
                  </a:lnTo>
                  <a:lnTo>
                    <a:pt x="12" y="40"/>
                  </a:lnTo>
                  <a:lnTo>
                    <a:pt x="14" y="40"/>
                  </a:lnTo>
                  <a:lnTo>
                    <a:pt x="16" y="42"/>
                  </a:lnTo>
                  <a:lnTo>
                    <a:pt x="16" y="42"/>
                  </a:lnTo>
                  <a:lnTo>
                    <a:pt x="20" y="46"/>
                  </a:lnTo>
                  <a:lnTo>
                    <a:pt x="20" y="46"/>
                  </a:lnTo>
                  <a:lnTo>
                    <a:pt x="24" y="50"/>
                  </a:lnTo>
                  <a:lnTo>
                    <a:pt x="28" y="52"/>
                  </a:lnTo>
                  <a:lnTo>
                    <a:pt x="30" y="50"/>
                  </a:lnTo>
                  <a:lnTo>
                    <a:pt x="30" y="50"/>
                  </a:lnTo>
                  <a:lnTo>
                    <a:pt x="30" y="50"/>
                  </a:lnTo>
                  <a:lnTo>
                    <a:pt x="34" y="44"/>
                  </a:lnTo>
                  <a:lnTo>
                    <a:pt x="36" y="42"/>
                  </a:lnTo>
                  <a:lnTo>
                    <a:pt x="36" y="42"/>
                  </a:lnTo>
                  <a:lnTo>
                    <a:pt x="38" y="42"/>
                  </a:lnTo>
                  <a:lnTo>
                    <a:pt x="42" y="42"/>
                  </a:lnTo>
                  <a:lnTo>
                    <a:pt x="44" y="44"/>
                  </a:lnTo>
                  <a:lnTo>
                    <a:pt x="44" y="44"/>
                  </a:lnTo>
                  <a:lnTo>
                    <a:pt x="48" y="46"/>
                  </a:lnTo>
                  <a:lnTo>
                    <a:pt x="54" y="48"/>
                  </a:lnTo>
                  <a:lnTo>
                    <a:pt x="54" y="48"/>
                  </a:lnTo>
                  <a:lnTo>
                    <a:pt x="64" y="46"/>
                  </a:lnTo>
                  <a:lnTo>
                    <a:pt x="64" y="4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2" name="Freeform 203"/>
            <p:cNvSpPr>
              <a:spLocks noChangeAspect="1" noEditPoints="1"/>
            </p:cNvSpPr>
            <p:nvPr/>
          </p:nvSpPr>
          <p:spPr bwMode="gray">
            <a:xfrm>
              <a:off x="5026957" y="3427469"/>
              <a:ext cx="54404" cy="32900"/>
            </a:xfrm>
            <a:custGeom>
              <a:avLst/>
              <a:gdLst/>
              <a:ahLst/>
              <a:cxnLst>
                <a:cxn ang="0">
                  <a:pos x="26" y="12"/>
                </a:cxn>
                <a:cxn ang="0">
                  <a:pos x="26" y="12"/>
                </a:cxn>
                <a:cxn ang="0">
                  <a:pos x="24" y="6"/>
                </a:cxn>
                <a:cxn ang="0">
                  <a:pos x="28" y="6"/>
                </a:cxn>
                <a:cxn ang="0">
                  <a:pos x="28" y="6"/>
                </a:cxn>
                <a:cxn ang="0">
                  <a:pos x="30" y="2"/>
                </a:cxn>
                <a:cxn ang="0">
                  <a:pos x="32" y="0"/>
                </a:cxn>
                <a:cxn ang="0">
                  <a:pos x="32" y="0"/>
                </a:cxn>
                <a:cxn ang="0">
                  <a:pos x="32" y="0"/>
                </a:cxn>
                <a:cxn ang="0">
                  <a:pos x="26" y="4"/>
                </a:cxn>
                <a:cxn ang="0">
                  <a:pos x="22" y="6"/>
                </a:cxn>
                <a:cxn ang="0">
                  <a:pos x="22" y="6"/>
                </a:cxn>
                <a:cxn ang="0">
                  <a:pos x="16" y="6"/>
                </a:cxn>
                <a:cxn ang="0">
                  <a:pos x="10" y="6"/>
                </a:cxn>
                <a:cxn ang="0">
                  <a:pos x="10" y="6"/>
                </a:cxn>
                <a:cxn ang="0">
                  <a:pos x="12" y="10"/>
                </a:cxn>
                <a:cxn ang="0">
                  <a:pos x="12" y="10"/>
                </a:cxn>
                <a:cxn ang="0">
                  <a:pos x="8" y="10"/>
                </a:cxn>
                <a:cxn ang="0">
                  <a:pos x="8" y="10"/>
                </a:cxn>
                <a:cxn ang="0">
                  <a:pos x="10" y="12"/>
                </a:cxn>
                <a:cxn ang="0">
                  <a:pos x="14" y="12"/>
                </a:cxn>
                <a:cxn ang="0">
                  <a:pos x="14" y="12"/>
                </a:cxn>
                <a:cxn ang="0">
                  <a:pos x="18" y="10"/>
                </a:cxn>
                <a:cxn ang="0">
                  <a:pos x="18" y="10"/>
                </a:cxn>
                <a:cxn ang="0">
                  <a:pos x="20" y="10"/>
                </a:cxn>
                <a:cxn ang="0">
                  <a:pos x="20" y="10"/>
                </a:cxn>
                <a:cxn ang="0">
                  <a:pos x="26" y="12"/>
                </a:cxn>
                <a:cxn ang="0">
                  <a:pos x="26" y="12"/>
                </a:cxn>
                <a:cxn ang="0">
                  <a:pos x="26" y="12"/>
                </a:cxn>
                <a:cxn ang="0">
                  <a:pos x="26" y="12"/>
                </a:cxn>
                <a:cxn ang="0">
                  <a:pos x="24" y="12"/>
                </a:cxn>
                <a:cxn ang="0">
                  <a:pos x="24" y="12"/>
                </a:cxn>
                <a:cxn ang="0">
                  <a:pos x="22" y="14"/>
                </a:cxn>
                <a:cxn ang="0">
                  <a:pos x="18" y="16"/>
                </a:cxn>
                <a:cxn ang="0">
                  <a:pos x="18" y="16"/>
                </a:cxn>
                <a:cxn ang="0">
                  <a:pos x="12" y="20"/>
                </a:cxn>
                <a:cxn ang="0">
                  <a:pos x="8" y="20"/>
                </a:cxn>
                <a:cxn ang="0">
                  <a:pos x="2" y="16"/>
                </a:cxn>
                <a:cxn ang="0">
                  <a:pos x="2" y="16"/>
                </a:cxn>
                <a:cxn ang="0">
                  <a:pos x="0" y="12"/>
                </a:cxn>
                <a:cxn ang="0">
                  <a:pos x="0" y="12"/>
                </a:cxn>
                <a:cxn ang="0">
                  <a:pos x="8" y="10"/>
                </a:cxn>
                <a:cxn ang="0">
                  <a:pos x="8" y="10"/>
                </a:cxn>
                <a:cxn ang="0">
                  <a:pos x="10" y="12"/>
                </a:cxn>
                <a:cxn ang="0">
                  <a:pos x="14" y="12"/>
                </a:cxn>
                <a:cxn ang="0">
                  <a:pos x="14" y="12"/>
                </a:cxn>
                <a:cxn ang="0">
                  <a:pos x="18" y="10"/>
                </a:cxn>
                <a:cxn ang="0">
                  <a:pos x="18" y="10"/>
                </a:cxn>
                <a:cxn ang="0">
                  <a:pos x="20" y="10"/>
                </a:cxn>
                <a:cxn ang="0">
                  <a:pos x="20" y="10"/>
                </a:cxn>
                <a:cxn ang="0">
                  <a:pos x="26" y="12"/>
                </a:cxn>
                <a:cxn ang="0">
                  <a:pos x="26" y="12"/>
                </a:cxn>
              </a:cxnLst>
              <a:rect l="0" t="0" r="r" b="b"/>
              <a:pathLst>
                <a:path w="32" h="20">
                  <a:moveTo>
                    <a:pt x="26" y="12"/>
                  </a:moveTo>
                  <a:lnTo>
                    <a:pt x="26" y="12"/>
                  </a:lnTo>
                  <a:lnTo>
                    <a:pt x="24" y="6"/>
                  </a:lnTo>
                  <a:lnTo>
                    <a:pt x="28" y="6"/>
                  </a:lnTo>
                  <a:lnTo>
                    <a:pt x="28" y="6"/>
                  </a:lnTo>
                  <a:lnTo>
                    <a:pt x="30" y="2"/>
                  </a:lnTo>
                  <a:lnTo>
                    <a:pt x="32" y="0"/>
                  </a:lnTo>
                  <a:lnTo>
                    <a:pt x="32" y="0"/>
                  </a:lnTo>
                  <a:lnTo>
                    <a:pt x="32" y="0"/>
                  </a:lnTo>
                  <a:lnTo>
                    <a:pt x="26" y="4"/>
                  </a:lnTo>
                  <a:lnTo>
                    <a:pt x="22" y="6"/>
                  </a:lnTo>
                  <a:lnTo>
                    <a:pt x="22" y="6"/>
                  </a:lnTo>
                  <a:lnTo>
                    <a:pt x="16" y="6"/>
                  </a:lnTo>
                  <a:lnTo>
                    <a:pt x="10" y="6"/>
                  </a:lnTo>
                  <a:lnTo>
                    <a:pt x="10" y="6"/>
                  </a:lnTo>
                  <a:lnTo>
                    <a:pt x="12" y="10"/>
                  </a:lnTo>
                  <a:lnTo>
                    <a:pt x="12" y="10"/>
                  </a:lnTo>
                  <a:lnTo>
                    <a:pt x="8" y="10"/>
                  </a:lnTo>
                  <a:lnTo>
                    <a:pt x="8" y="10"/>
                  </a:lnTo>
                  <a:lnTo>
                    <a:pt x="10" y="12"/>
                  </a:lnTo>
                  <a:lnTo>
                    <a:pt x="14" y="12"/>
                  </a:lnTo>
                  <a:lnTo>
                    <a:pt x="14" y="12"/>
                  </a:lnTo>
                  <a:lnTo>
                    <a:pt x="18" y="10"/>
                  </a:lnTo>
                  <a:lnTo>
                    <a:pt x="18" y="10"/>
                  </a:lnTo>
                  <a:lnTo>
                    <a:pt x="20" y="10"/>
                  </a:lnTo>
                  <a:lnTo>
                    <a:pt x="20" y="10"/>
                  </a:lnTo>
                  <a:lnTo>
                    <a:pt x="26" y="12"/>
                  </a:lnTo>
                  <a:lnTo>
                    <a:pt x="26" y="12"/>
                  </a:lnTo>
                  <a:close/>
                  <a:moveTo>
                    <a:pt x="26" y="12"/>
                  </a:moveTo>
                  <a:lnTo>
                    <a:pt x="26" y="12"/>
                  </a:lnTo>
                  <a:lnTo>
                    <a:pt x="24" y="12"/>
                  </a:lnTo>
                  <a:lnTo>
                    <a:pt x="24" y="12"/>
                  </a:lnTo>
                  <a:lnTo>
                    <a:pt x="22" y="14"/>
                  </a:lnTo>
                  <a:lnTo>
                    <a:pt x="18" y="16"/>
                  </a:lnTo>
                  <a:lnTo>
                    <a:pt x="18" y="16"/>
                  </a:lnTo>
                  <a:lnTo>
                    <a:pt x="12" y="20"/>
                  </a:lnTo>
                  <a:lnTo>
                    <a:pt x="8" y="20"/>
                  </a:lnTo>
                  <a:lnTo>
                    <a:pt x="2" y="16"/>
                  </a:lnTo>
                  <a:lnTo>
                    <a:pt x="2" y="16"/>
                  </a:lnTo>
                  <a:lnTo>
                    <a:pt x="0" y="12"/>
                  </a:lnTo>
                  <a:lnTo>
                    <a:pt x="0" y="12"/>
                  </a:lnTo>
                  <a:lnTo>
                    <a:pt x="8" y="10"/>
                  </a:lnTo>
                  <a:lnTo>
                    <a:pt x="8" y="10"/>
                  </a:lnTo>
                  <a:lnTo>
                    <a:pt x="10" y="12"/>
                  </a:lnTo>
                  <a:lnTo>
                    <a:pt x="14" y="12"/>
                  </a:lnTo>
                  <a:lnTo>
                    <a:pt x="14" y="12"/>
                  </a:lnTo>
                  <a:lnTo>
                    <a:pt x="18" y="10"/>
                  </a:lnTo>
                  <a:lnTo>
                    <a:pt x="18" y="10"/>
                  </a:lnTo>
                  <a:lnTo>
                    <a:pt x="20" y="10"/>
                  </a:lnTo>
                  <a:lnTo>
                    <a:pt x="20" y="10"/>
                  </a:lnTo>
                  <a:lnTo>
                    <a:pt x="26" y="12"/>
                  </a:lnTo>
                  <a:lnTo>
                    <a:pt x="26"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3" name="Freeform 204"/>
            <p:cNvSpPr>
              <a:spLocks noChangeAspect="1" noEditPoints="1"/>
            </p:cNvSpPr>
            <p:nvPr/>
          </p:nvSpPr>
          <p:spPr bwMode="gray">
            <a:xfrm>
              <a:off x="2364120" y="3776203"/>
              <a:ext cx="230468" cy="98698"/>
            </a:xfrm>
            <a:custGeom>
              <a:avLst/>
              <a:gdLst/>
              <a:ahLst/>
              <a:cxnLst>
                <a:cxn ang="0">
                  <a:pos x="22" y="24"/>
                </a:cxn>
                <a:cxn ang="0">
                  <a:pos x="24" y="24"/>
                </a:cxn>
                <a:cxn ang="0">
                  <a:pos x="20" y="30"/>
                </a:cxn>
                <a:cxn ang="0">
                  <a:pos x="22" y="30"/>
                </a:cxn>
                <a:cxn ang="0">
                  <a:pos x="28" y="20"/>
                </a:cxn>
                <a:cxn ang="0">
                  <a:pos x="22" y="18"/>
                </a:cxn>
                <a:cxn ang="0">
                  <a:pos x="12" y="6"/>
                </a:cxn>
                <a:cxn ang="0">
                  <a:pos x="4" y="18"/>
                </a:cxn>
                <a:cxn ang="0">
                  <a:pos x="0" y="20"/>
                </a:cxn>
                <a:cxn ang="0">
                  <a:pos x="12" y="20"/>
                </a:cxn>
                <a:cxn ang="0">
                  <a:pos x="16" y="16"/>
                </a:cxn>
                <a:cxn ang="0">
                  <a:pos x="18" y="12"/>
                </a:cxn>
                <a:cxn ang="0">
                  <a:pos x="26" y="8"/>
                </a:cxn>
                <a:cxn ang="0">
                  <a:pos x="38" y="8"/>
                </a:cxn>
                <a:cxn ang="0">
                  <a:pos x="38" y="12"/>
                </a:cxn>
                <a:cxn ang="0">
                  <a:pos x="48" y="14"/>
                </a:cxn>
                <a:cxn ang="0">
                  <a:pos x="56" y="18"/>
                </a:cxn>
                <a:cxn ang="0">
                  <a:pos x="58" y="24"/>
                </a:cxn>
                <a:cxn ang="0">
                  <a:pos x="64" y="26"/>
                </a:cxn>
                <a:cxn ang="0">
                  <a:pos x="66" y="30"/>
                </a:cxn>
                <a:cxn ang="0">
                  <a:pos x="80" y="28"/>
                </a:cxn>
                <a:cxn ang="0">
                  <a:pos x="82" y="38"/>
                </a:cxn>
                <a:cxn ang="0">
                  <a:pos x="98" y="46"/>
                </a:cxn>
                <a:cxn ang="0">
                  <a:pos x="94" y="54"/>
                </a:cxn>
                <a:cxn ang="0">
                  <a:pos x="92" y="60"/>
                </a:cxn>
                <a:cxn ang="0">
                  <a:pos x="126" y="54"/>
                </a:cxn>
                <a:cxn ang="0">
                  <a:pos x="130" y="56"/>
                </a:cxn>
                <a:cxn ang="0">
                  <a:pos x="136" y="52"/>
                </a:cxn>
                <a:cxn ang="0">
                  <a:pos x="136" y="48"/>
                </a:cxn>
                <a:cxn ang="0">
                  <a:pos x="124" y="46"/>
                </a:cxn>
                <a:cxn ang="0">
                  <a:pos x="118" y="44"/>
                </a:cxn>
                <a:cxn ang="0">
                  <a:pos x="108" y="36"/>
                </a:cxn>
                <a:cxn ang="0">
                  <a:pos x="102" y="30"/>
                </a:cxn>
                <a:cxn ang="0">
                  <a:pos x="98" y="30"/>
                </a:cxn>
                <a:cxn ang="0">
                  <a:pos x="96" y="24"/>
                </a:cxn>
                <a:cxn ang="0">
                  <a:pos x="90" y="20"/>
                </a:cxn>
                <a:cxn ang="0">
                  <a:pos x="86" y="20"/>
                </a:cxn>
                <a:cxn ang="0">
                  <a:pos x="78" y="18"/>
                </a:cxn>
                <a:cxn ang="0">
                  <a:pos x="70" y="14"/>
                </a:cxn>
                <a:cxn ang="0">
                  <a:pos x="66" y="6"/>
                </a:cxn>
                <a:cxn ang="0">
                  <a:pos x="42" y="2"/>
                </a:cxn>
                <a:cxn ang="0">
                  <a:pos x="38" y="4"/>
                </a:cxn>
                <a:cxn ang="0">
                  <a:pos x="38" y="0"/>
                </a:cxn>
                <a:cxn ang="0">
                  <a:pos x="22" y="0"/>
                </a:cxn>
              </a:cxnLst>
              <a:rect l="0" t="0" r="r" b="b"/>
              <a:pathLst>
                <a:path w="136" h="60">
                  <a:moveTo>
                    <a:pt x="22" y="18"/>
                  </a:moveTo>
                  <a:lnTo>
                    <a:pt x="22" y="18"/>
                  </a:lnTo>
                  <a:lnTo>
                    <a:pt x="22" y="24"/>
                  </a:lnTo>
                  <a:lnTo>
                    <a:pt x="22" y="24"/>
                  </a:lnTo>
                  <a:lnTo>
                    <a:pt x="24" y="22"/>
                  </a:lnTo>
                  <a:lnTo>
                    <a:pt x="24" y="24"/>
                  </a:lnTo>
                  <a:lnTo>
                    <a:pt x="24" y="26"/>
                  </a:lnTo>
                  <a:lnTo>
                    <a:pt x="20" y="30"/>
                  </a:lnTo>
                  <a:lnTo>
                    <a:pt x="20" y="30"/>
                  </a:lnTo>
                  <a:lnTo>
                    <a:pt x="18" y="30"/>
                  </a:lnTo>
                  <a:lnTo>
                    <a:pt x="20" y="30"/>
                  </a:lnTo>
                  <a:lnTo>
                    <a:pt x="22" y="30"/>
                  </a:lnTo>
                  <a:lnTo>
                    <a:pt x="22" y="30"/>
                  </a:lnTo>
                  <a:lnTo>
                    <a:pt x="28" y="26"/>
                  </a:lnTo>
                  <a:lnTo>
                    <a:pt x="28" y="20"/>
                  </a:lnTo>
                  <a:lnTo>
                    <a:pt x="28" y="20"/>
                  </a:lnTo>
                  <a:lnTo>
                    <a:pt x="22" y="18"/>
                  </a:lnTo>
                  <a:lnTo>
                    <a:pt x="22" y="18"/>
                  </a:lnTo>
                  <a:close/>
                  <a:moveTo>
                    <a:pt x="22" y="0"/>
                  </a:moveTo>
                  <a:lnTo>
                    <a:pt x="22" y="0"/>
                  </a:lnTo>
                  <a:lnTo>
                    <a:pt x="12" y="6"/>
                  </a:lnTo>
                  <a:lnTo>
                    <a:pt x="4" y="14"/>
                  </a:lnTo>
                  <a:lnTo>
                    <a:pt x="4" y="14"/>
                  </a:lnTo>
                  <a:lnTo>
                    <a:pt x="4" y="18"/>
                  </a:lnTo>
                  <a:lnTo>
                    <a:pt x="4" y="18"/>
                  </a:lnTo>
                  <a:lnTo>
                    <a:pt x="0" y="20"/>
                  </a:lnTo>
                  <a:lnTo>
                    <a:pt x="0" y="20"/>
                  </a:lnTo>
                  <a:lnTo>
                    <a:pt x="6" y="22"/>
                  </a:lnTo>
                  <a:lnTo>
                    <a:pt x="12" y="20"/>
                  </a:lnTo>
                  <a:lnTo>
                    <a:pt x="12" y="20"/>
                  </a:lnTo>
                  <a:lnTo>
                    <a:pt x="12" y="16"/>
                  </a:lnTo>
                  <a:lnTo>
                    <a:pt x="12" y="16"/>
                  </a:lnTo>
                  <a:lnTo>
                    <a:pt x="16" y="16"/>
                  </a:lnTo>
                  <a:lnTo>
                    <a:pt x="16" y="16"/>
                  </a:lnTo>
                  <a:lnTo>
                    <a:pt x="16" y="16"/>
                  </a:lnTo>
                  <a:lnTo>
                    <a:pt x="18" y="12"/>
                  </a:lnTo>
                  <a:lnTo>
                    <a:pt x="18" y="12"/>
                  </a:lnTo>
                  <a:lnTo>
                    <a:pt x="22" y="8"/>
                  </a:lnTo>
                  <a:lnTo>
                    <a:pt x="26" y="8"/>
                  </a:lnTo>
                  <a:lnTo>
                    <a:pt x="30" y="6"/>
                  </a:lnTo>
                  <a:lnTo>
                    <a:pt x="30" y="6"/>
                  </a:lnTo>
                  <a:lnTo>
                    <a:pt x="38" y="8"/>
                  </a:lnTo>
                  <a:lnTo>
                    <a:pt x="38" y="8"/>
                  </a:lnTo>
                  <a:lnTo>
                    <a:pt x="38" y="12"/>
                  </a:lnTo>
                  <a:lnTo>
                    <a:pt x="38" y="12"/>
                  </a:lnTo>
                  <a:lnTo>
                    <a:pt x="42" y="14"/>
                  </a:lnTo>
                  <a:lnTo>
                    <a:pt x="48" y="14"/>
                  </a:lnTo>
                  <a:lnTo>
                    <a:pt x="48" y="14"/>
                  </a:lnTo>
                  <a:lnTo>
                    <a:pt x="52" y="18"/>
                  </a:lnTo>
                  <a:lnTo>
                    <a:pt x="52" y="18"/>
                  </a:lnTo>
                  <a:lnTo>
                    <a:pt x="56" y="18"/>
                  </a:lnTo>
                  <a:lnTo>
                    <a:pt x="56" y="18"/>
                  </a:lnTo>
                  <a:lnTo>
                    <a:pt x="56" y="20"/>
                  </a:lnTo>
                  <a:lnTo>
                    <a:pt x="58" y="24"/>
                  </a:lnTo>
                  <a:lnTo>
                    <a:pt x="58" y="24"/>
                  </a:lnTo>
                  <a:lnTo>
                    <a:pt x="60" y="24"/>
                  </a:lnTo>
                  <a:lnTo>
                    <a:pt x="64" y="26"/>
                  </a:lnTo>
                  <a:lnTo>
                    <a:pt x="64" y="26"/>
                  </a:lnTo>
                  <a:lnTo>
                    <a:pt x="66" y="30"/>
                  </a:lnTo>
                  <a:lnTo>
                    <a:pt x="66" y="30"/>
                  </a:lnTo>
                  <a:lnTo>
                    <a:pt x="74" y="30"/>
                  </a:lnTo>
                  <a:lnTo>
                    <a:pt x="80" y="28"/>
                  </a:lnTo>
                  <a:lnTo>
                    <a:pt x="80" y="28"/>
                  </a:lnTo>
                  <a:lnTo>
                    <a:pt x="80" y="34"/>
                  </a:lnTo>
                  <a:lnTo>
                    <a:pt x="80" y="34"/>
                  </a:lnTo>
                  <a:lnTo>
                    <a:pt x="82" y="38"/>
                  </a:lnTo>
                  <a:lnTo>
                    <a:pt x="86" y="42"/>
                  </a:lnTo>
                  <a:lnTo>
                    <a:pt x="98" y="46"/>
                  </a:lnTo>
                  <a:lnTo>
                    <a:pt x="98" y="46"/>
                  </a:lnTo>
                  <a:lnTo>
                    <a:pt x="98" y="50"/>
                  </a:lnTo>
                  <a:lnTo>
                    <a:pt x="98" y="50"/>
                  </a:lnTo>
                  <a:lnTo>
                    <a:pt x="94" y="54"/>
                  </a:lnTo>
                  <a:lnTo>
                    <a:pt x="92" y="56"/>
                  </a:lnTo>
                  <a:lnTo>
                    <a:pt x="92" y="56"/>
                  </a:lnTo>
                  <a:lnTo>
                    <a:pt x="92" y="60"/>
                  </a:lnTo>
                  <a:lnTo>
                    <a:pt x="92" y="60"/>
                  </a:lnTo>
                  <a:lnTo>
                    <a:pt x="110" y="56"/>
                  </a:lnTo>
                  <a:lnTo>
                    <a:pt x="126" y="54"/>
                  </a:lnTo>
                  <a:lnTo>
                    <a:pt x="126" y="54"/>
                  </a:lnTo>
                  <a:lnTo>
                    <a:pt x="128" y="56"/>
                  </a:lnTo>
                  <a:lnTo>
                    <a:pt x="130" y="56"/>
                  </a:lnTo>
                  <a:lnTo>
                    <a:pt x="130" y="56"/>
                  </a:lnTo>
                  <a:lnTo>
                    <a:pt x="136" y="52"/>
                  </a:lnTo>
                  <a:lnTo>
                    <a:pt x="136" y="52"/>
                  </a:lnTo>
                  <a:lnTo>
                    <a:pt x="136" y="50"/>
                  </a:lnTo>
                  <a:lnTo>
                    <a:pt x="136" y="48"/>
                  </a:lnTo>
                  <a:lnTo>
                    <a:pt x="136" y="48"/>
                  </a:lnTo>
                  <a:lnTo>
                    <a:pt x="130" y="44"/>
                  </a:lnTo>
                  <a:lnTo>
                    <a:pt x="130" y="44"/>
                  </a:lnTo>
                  <a:lnTo>
                    <a:pt x="124" y="46"/>
                  </a:lnTo>
                  <a:lnTo>
                    <a:pt x="120" y="46"/>
                  </a:lnTo>
                  <a:lnTo>
                    <a:pt x="118" y="44"/>
                  </a:lnTo>
                  <a:lnTo>
                    <a:pt x="118" y="44"/>
                  </a:lnTo>
                  <a:lnTo>
                    <a:pt x="120" y="36"/>
                  </a:lnTo>
                  <a:lnTo>
                    <a:pt x="120" y="36"/>
                  </a:lnTo>
                  <a:lnTo>
                    <a:pt x="108" y="36"/>
                  </a:lnTo>
                  <a:lnTo>
                    <a:pt x="106" y="34"/>
                  </a:lnTo>
                  <a:lnTo>
                    <a:pt x="102" y="30"/>
                  </a:lnTo>
                  <a:lnTo>
                    <a:pt x="102" y="30"/>
                  </a:lnTo>
                  <a:lnTo>
                    <a:pt x="100" y="30"/>
                  </a:lnTo>
                  <a:lnTo>
                    <a:pt x="98" y="30"/>
                  </a:lnTo>
                  <a:lnTo>
                    <a:pt x="98" y="30"/>
                  </a:lnTo>
                  <a:lnTo>
                    <a:pt x="98" y="26"/>
                  </a:lnTo>
                  <a:lnTo>
                    <a:pt x="96" y="24"/>
                  </a:lnTo>
                  <a:lnTo>
                    <a:pt x="96" y="24"/>
                  </a:lnTo>
                  <a:lnTo>
                    <a:pt x="92" y="22"/>
                  </a:lnTo>
                  <a:lnTo>
                    <a:pt x="90" y="24"/>
                  </a:lnTo>
                  <a:lnTo>
                    <a:pt x="90" y="20"/>
                  </a:lnTo>
                  <a:lnTo>
                    <a:pt x="90" y="20"/>
                  </a:lnTo>
                  <a:lnTo>
                    <a:pt x="86" y="20"/>
                  </a:lnTo>
                  <a:lnTo>
                    <a:pt x="86" y="20"/>
                  </a:lnTo>
                  <a:lnTo>
                    <a:pt x="84" y="18"/>
                  </a:lnTo>
                  <a:lnTo>
                    <a:pt x="84" y="18"/>
                  </a:lnTo>
                  <a:lnTo>
                    <a:pt x="78" y="18"/>
                  </a:lnTo>
                  <a:lnTo>
                    <a:pt x="72" y="16"/>
                  </a:lnTo>
                  <a:lnTo>
                    <a:pt x="72" y="16"/>
                  </a:lnTo>
                  <a:lnTo>
                    <a:pt x="70" y="14"/>
                  </a:lnTo>
                  <a:lnTo>
                    <a:pt x="68" y="12"/>
                  </a:lnTo>
                  <a:lnTo>
                    <a:pt x="66" y="6"/>
                  </a:lnTo>
                  <a:lnTo>
                    <a:pt x="66" y="6"/>
                  </a:lnTo>
                  <a:lnTo>
                    <a:pt x="54" y="4"/>
                  </a:lnTo>
                  <a:lnTo>
                    <a:pt x="42" y="2"/>
                  </a:lnTo>
                  <a:lnTo>
                    <a:pt x="42" y="2"/>
                  </a:lnTo>
                  <a:lnTo>
                    <a:pt x="42" y="4"/>
                  </a:lnTo>
                  <a:lnTo>
                    <a:pt x="40" y="4"/>
                  </a:lnTo>
                  <a:lnTo>
                    <a:pt x="38" y="4"/>
                  </a:lnTo>
                  <a:lnTo>
                    <a:pt x="38" y="4"/>
                  </a:lnTo>
                  <a:lnTo>
                    <a:pt x="38" y="0"/>
                  </a:lnTo>
                  <a:lnTo>
                    <a:pt x="38" y="0"/>
                  </a:lnTo>
                  <a:lnTo>
                    <a:pt x="30" y="0"/>
                  </a:lnTo>
                  <a:lnTo>
                    <a:pt x="22" y="0"/>
                  </a:lnTo>
                  <a:lnTo>
                    <a:pt x="2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4" name="Freeform 205"/>
            <p:cNvSpPr>
              <a:spLocks noChangeAspect="1"/>
            </p:cNvSpPr>
            <p:nvPr/>
          </p:nvSpPr>
          <p:spPr bwMode="gray">
            <a:xfrm>
              <a:off x="4587274" y="3078735"/>
              <a:ext cx="139535" cy="144758"/>
            </a:xfrm>
            <a:custGeom>
              <a:avLst/>
              <a:gdLst/>
              <a:ahLst/>
              <a:cxnLst>
                <a:cxn ang="0">
                  <a:pos x="66" y="84"/>
                </a:cxn>
                <a:cxn ang="0">
                  <a:pos x="62" y="80"/>
                </a:cxn>
                <a:cxn ang="0">
                  <a:pos x="56" y="76"/>
                </a:cxn>
                <a:cxn ang="0">
                  <a:pos x="46" y="64"/>
                </a:cxn>
                <a:cxn ang="0">
                  <a:pos x="38" y="54"/>
                </a:cxn>
                <a:cxn ang="0">
                  <a:pos x="40" y="52"/>
                </a:cxn>
                <a:cxn ang="0">
                  <a:pos x="32" y="40"/>
                </a:cxn>
                <a:cxn ang="0">
                  <a:pos x="32" y="34"/>
                </a:cxn>
                <a:cxn ang="0">
                  <a:pos x="36" y="34"/>
                </a:cxn>
                <a:cxn ang="0">
                  <a:pos x="42" y="38"/>
                </a:cxn>
                <a:cxn ang="0">
                  <a:pos x="44" y="38"/>
                </a:cxn>
                <a:cxn ang="0">
                  <a:pos x="50" y="40"/>
                </a:cxn>
                <a:cxn ang="0">
                  <a:pos x="60" y="38"/>
                </a:cxn>
                <a:cxn ang="0">
                  <a:pos x="66" y="40"/>
                </a:cxn>
                <a:cxn ang="0">
                  <a:pos x="68" y="42"/>
                </a:cxn>
                <a:cxn ang="0">
                  <a:pos x="80" y="44"/>
                </a:cxn>
                <a:cxn ang="0">
                  <a:pos x="82" y="40"/>
                </a:cxn>
                <a:cxn ang="0">
                  <a:pos x="80" y="34"/>
                </a:cxn>
                <a:cxn ang="0">
                  <a:pos x="80" y="30"/>
                </a:cxn>
                <a:cxn ang="0">
                  <a:pos x="74" y="30"/>
                </a:cxn>
                <a:cxn ang="0">
                  <a:pos x="66" y="26"/>
                </a:cxn>
                <a:cxn ang="0">
                  <a:pos x="54" y="16"/>
                </a:cxn>
                <a:cxn ang="0">
                  <a:pos x="48" y="6"/>
                </a:cxn>
                <a:cxn ang="0">
                  <a:pos x="42" y="0"/>
                </a:cxn>
                <a:cxn ang="0">
                  <a:pos x="38" y="4"/>
                </a:cxn>
                <a:cxn ang="0">
                  <a:pos x="32" y="8"/>
                </a:cxn>
                <a:cxn ang="0">
                  <a:pos x="28" y="10"/>
                </a:cxn>
                <a:cxn ang="0">
                  <a:pos x="22" y="22"/>
                </a:cxn>
                <a:cxn ang="0">
                  <a:pos x="18" y="20"/>
                </a:cxn>
                <a:cxn ang="0">
                  <a:pos x="16" y="20"/>
                </a:cxn>
                <a:cxn ang="0">
                  <a:pos x="16" y="28"/>
                </a:cxn>
                <a:cxn ang="0">
                  <a:pos x="0" y="34"/>
                </a:cxn>
                <a:cxn ang="0">
                  <a:pos x="2" y="40"/>
                </a:cxn>
                <a:cxn ang="0">
                  <a:pos x="6" y="44"/>
                </a:cxn>
                <a:cxn ang="0">
                  <a:pos x="6" y="42"/>
                </a:cxn>
                <a:cxn ang="0">
                  <a:pos x="10" y="40"/>
                </a:cxn>
                <a:cxn ang="0">
                  <a:pos x="16" y="34"/>
                </a:cxn>
                <a:cxn ang="0">
                  <a:pos x="16" y="46"/>
                </a:cxn>
                <a:cxn ang="0">
                  <a:pos x="24" y="56"/>
                </a:cxn>
                <a:cxn ang="0">
                  <a:pos x="22" y="60"/>
                </a:cxn>
                <a:cxn ang="0">
                  <a:pos x="28" y="64"/>
                </a:cxn>
                <a:cxn ang="0">
                  <a:pos x="34" y="66"/>
                </a:cxn>
                <a:cxn ang="0">
                  <a:pos x="38" y="68"/>
                </a:cxn>
                <a:cxn ang="0">
                  <a:pos x="54" y="80"/>
                </a:cxn>
                <a:cxn ang="0">
                  <a:pos x="60" y="80"/>
                </a:cxn>
                <a:cxn ang="0">
                  <a:pos x="66" y="88"/>
                </a:cxn>
                <a:cxn ang="0">
                  <a:pos x="70" y="88"/>
                </a:cxn>
              </a:cxnLst>
              <a:rect l="0" t="0" r="r" b="b"/>
              <a:pathLst>
                <a:path w="82" h="88">
                  <a:moveTo>
                    <a:pt x="70" y="88"/>
                  </a:moveTo>
                  <a:lnTo>
                    <a:pt x="70" y="88"/>
                  </a:lnTo>
                  <a:lnTo>
                    <a:pt x="66" y="84"/>
                  </a:lnTo>
                  <a:lnTo>
                    <a:pt x="66" y="84"/>
                  </a:lnTo>
                  <a:lnTo>
                    <a:pt x="62" y="80"/>
                  </a:lnTo>
                  <a:lnTo>
                    <a:pt x="62" y="80"/>
                  </a:lnTo>
                  <a:lnTo>
                    <a:pt x="60" y="78"/>
                  </a:lnTo>
                  <a:lnTo>
                    <a:pt x="56" y="76"/>
                  </a:lnTo>
                  <a:lnTo>
                    <a:pt x="56" y="76"/>
                  </a:lnTo>
                  <a:lnTo>
                    <a:pt x="52" y="70"/>
                  </a:lnTo>
                  <a:lnTo>
                    <a:pt x="52" y="70"/>
                  </a:lnTo>
                  <a:lnTo>
                    <a:pt x="46" y="64"/>
                  </a:lnTo>
                  <a:lnTo>
                    <a:pt x="40" y="56"/>
                  </a:lnTo>
                  <a:lnTo>
                    <a:pt x="40" y="56"/>
                  </a:lnTo>
                  <a:lnTo>
                    <a:pt x="38" y="54"/>
                  </a:lnTo>
                  <a:lnTo>
                    <a:pt x="40" y="54"/>
                  </a:lnTo>
                  <a:lnTo>
                    <a:pt x="40" y="52"/>
                  </a:lnTo>
                  <a:lnTo>
                    <a:pt x="40" y="52"/>
                  </a:lnTo>
                  <a:lnTo>
                    <a:pt x="36" y="44"/>
                  </a:lnTo>
                  <a:lnTo>
                    <a:pt x="32" y="40"/>
                  </a:lnTo>
                  <a:lnTo>
                    <a:pt x="32" y="40"/>
                  </a:lnTo>
                  <a:lnTo>
                    <a:pt x="32" y="36"/>
                  </a:lnTo>
                  <a:lnTo>
                    <a:pt x="32" y="36"/>
                  </a:lnTo>
                  <a:lnTo>
                    <a:pt x="32" y="34"/>
                  </a:lnTo>
                  <a:lnTo>
                    <a:pt x="34" y="34"/>
                  </a:lnTo>
                  <a:lnTo>
                    <a:pt x="36" y="34"/>
                  </a:lnTo>
                  <a:lnTo>
                    <a:pt x="36" y="34"/>
                  </a:lnTo>
                  <a:lnTo>
                    <a:pt x="38" y="38"/>
                  </a:lnTo>
                  <a:lnTo>
                    <a:pt x="40" y="38"/>
                  </a:lnTo>
                  <a:lnTo>
                    <a:pt x="42" y="38"/>
                  </a:lnTo>
                  <a:lnTo>
                    <a:pt x="42" y="38"/>
                  </a:lnTo>
                  <a:lnTo>
                    <a:pt x="42" y="36"/>
                  </a:lnTo>
                  <a:lnTo>
                    <a:pt x="44" y="38"/>
                  </a:lnTo>
                  <a:lnTo>
                    <a:pt x="48" y="40"/>
                  </a:lnTo>
                  <a:lnTo>
                    <a:pt x="48" y="40"/>
                  </a:lnTo>
                  <a:lnTo>
                    <a:pt x="50" y="40"/>
                  </a:lnTo>
                  <a:lnTo>
                    <a:pt x="52" y="38"/>
                  </a:lnTo>
                  <a:lnTo>
                    <a:pt x="56" y="38"/>
                  </a:lnTo>
                  <a:lnTo>
                    <a:pt x="60" y="38"/>
                  </a:lnTo>
                  <a:lnTo>
                    <a:pt x="60" y="38"/>
                  </a:lnTo>
                  <a:lnTo>
                    <a:pt x="66" y="40"/>
                  </a:lnTo>
                  <a:lnTo>
                    <a:pt x="66" y="40"/>
                  </a:lnTo>
                  <a:lnTo>
                    <a:pt x="66" y="40"/>
                  </a:lnTo>
                  <a:lnTo>
                    <a:pt x="68" y="42"/>
                  </a:lnTo>
                  <a:lnTo>
                    <a:pt x="68" y="42"/>
                  </a:lnTo>
                  <a:lnTo>
                    <a:pt x="70" y="44"/>
                  </a:lnTo>
                  <a:lnTo>
                    <a:pt x="74" y="44"/>
                  </a:lnTo>
                  <a:lnTo>
                    <a:pt x="80" y="44"/>
                  </a:lnTo>
                  <a:lnTo>
                    <a:pt x="80" y="44"/>
                  </a:lnTo>
                  <a:lnTo>
                    <a:pt x="82" y="42"/>
                  </a:lnTo>
                  <a:lnTo>
                    <a:pt x="82" y="40"/>
                  </a:lnTo>
                  <a:lnTo>
                    <a:pt x="80" y="36"/>
                  </a:lnTo>
                  <a:lnTo>
                    <a:pt x="80" y="36"/>
                  </a:lnTo>
                  <a:lnTo>
                    <a:pt x="80" y="34"/>
                  </a:lnTo>
                  <a:lnTo>
                    <a:pt x="80" y="32"/>
                  </a:lnTo>
                  <a:lnTo>
                    <a:pt x="82" y="30"/>
                  </a:lnTo>
                  <a:lnTo>
                    <a:pt x="80" y="30"/>
                  </a:lnTo>
                  <a:lnTo>
                    <a:pt x="80" y="30"/>
                  </a:lnTo>
                  <a:lnTo>
                    <a:pt x="76" y="30"/>
                  </a:lnTo>
                  <a:lnTo>
                    <a:pt x="74" y="30"/>
                  </a:lnTo>
                  <a:lnTo>
                    <a:pt x="70" y="28"/>
                  </a:lnTo>
                  <a:lnTo>
                    <a:pt x="70" y="28"/>
                  </a:lnTo>
                  <a:lnTo>
                    <a:pt x="66" y="26"/>
                  </a:lnTo>
                  <a:lnTo>
                    <a:pt x="60" y="22"/>
                  </a:lnTo>
                  <a:lnTo>
                    <a:pt x="60" y="22"/>
                  </a:lnTo>
                  <a:lnTo>
                    <a:pt x="54" y="16"/>
                  </a:lnTo>
                  <a:lnTo>
                    <a:pt x="50" y="10"/>
                  </a:lnTo>
                  <a:lnTo>
                    <a:pt x="50" y="10"/>
                  </a:lnTo>
                  <a:lnTo>
                    <a:pt x="48" y="6"/>
                  </a:lnTo>
                  <a:lnTo>
                    <a:pt x="46" y="4"/>
                  </a:lnTo>
                  <a:lnTo>
                    <a:pt x="42" y="0"/>
                  </a:lnTo>
                  <a:lnTo>
                    <a:pt x="42" y="0"/>
                  </a:lnTo>
                  <a:lnTo>
                    <a:pt x="40" y="2"/>
                  </a:lnTo>
                  <a:lnTo>
                    <a:pt x="38" y="4"/>
                  </a:lnTo>
                  <a:lnTo>
                    <a:pt x="38" y="4"/>
                  </a:lnTo>
                  <a:lnTo>
                    <a:pt x="36" y="8"/>
                  </a:lnTo>
                  <a:lnTo>
                    <a:pt x="32" y="8"/>
                  </a:lnTo>
                  <a:lnTo>
                    <a:pt x="32" y="8"/>
                  </a:lnTo>
                  <a:lnTo>
                    <a:pt x="30" y="8"/>
                  </a:lnTo>
                  <a:lnTo>
                    <a:pt x="28" y="10"/>
                  </a:lnTo>
                  <a:lnTo>
                    <a:pt x="28" y="10"/>
                  </a:lnTo>
                  <a:lnTo>
                    <a:pt x="26" y="18"/>
                  </a:lnTo>
                  <a:lnTo>
                    <a:pt x="24" y="22"/>
                  </a:lnTo>
                  <a:lnTo>
                    <a:pt x="22" y="22"/>
                  </a:lnTo>
                  <a:lnTo>
                    <a:pt x="22" y="22"/>
                  </a:lnTo>
                  <a:lnTo>
                    <a:pt x="20" y="22"/>
                  </a:lnTo>
                  <a:lnTo>
                    <a:pt x="18" y="20"/>
                  </a:lnTo>
                  <a:lnTo>
                    <a:pt x="18" y="18"/>
                  </a:lnTo>
                  <a:lnTo>
                    <a:pt x="16" y="20"/>
                  </a:lnTo>
                  <a:lnTo>
                    <a:pt x="16" y="20"/>
                  </a:lnTo>
                  <a:lnTo>
                    <a:pt x="18" y="24"/>
                  </a:lnTo>
                  <a:lnTo>
                    <a:pt x="16" y="28"/>
                  </a:lnTo>
                  <a:lnTo>
                    <a:pt x="16" y="28"/>
                  </a:lnTo>
                  <a:lnTo>
                    <a:pt x="12" y="30"/>
                  </a:lnTo>
                  <a:lnTo>
                    <a:pt x="8" y="32"/>
                  </a:lnTo>
                  <a:lnTo>
                    <a:pt x="0" y="34"/>
                  </a:lnTo>
                  <a:lnTo>
                    <a:pt x="0" y="34"/>
                  </a:lnTo>
                  <a:lnTo>
                    <a:pt x="0" y="34"/>
                  </a:lnTo>
                  <a:lnTo>
                    <a:pt x="2" y="40"/>
                  </a:lnTo>
                  <a:lnTo>
                    <a:pt x="2" y="46"/>
                  </a:lnTo>
                  <a:lnTo>
                    <a:pt x="2" y="46"/>
                  </a:lnTo>
                  <a:lnTo>
                    <a:pt x="6" y="44"/>
                  </a:lnTo>
                  <a:lnTo>
                    <a:pt x="6" y="44"/>
                  </a:lnTo>
                  <a:lnTo>
                    <a:pt x="6" y="42"/>
                  </a:lnTo>
                  <a:lnTo>
                    <a:pt x="6" y="42"/>
                  </a:lnTo>
                  <a:lnTo>
                    <a:pt x="8" y="40"/>
                  </a:lnTo>
                  <a:lnTo>
                    <a:pt x="10" y="40"/>
                  </a:lnTo>
                  <a:lnTo>
                    <a:pt x="10" y="40"/>
                  </a:lnTo>
                  <a:lnTo>
                    <a:pt x="14" y="30"/>
                  </a:lnTo>
                  <a:lnTo>
                    <a:pt x="14" y="30"/>
                  </a:lnTo>
                  <a:lnTo>
                    <a:pt x="16" y="34"/>
                  </a:lnTo>
                  <a:lnTo>
                    <a:pt x="18" y="38"/>
                  </a:lnTo>
                  <a:lnTo>
                    <a:pt x="16" y="46"/>
                  </a:lnTo>
                  <a:lnTo>
                    <a:pt x="16" y="46"/>
                  </a:lnTo>
                  <a:lnTo>
                    <a:pt x="24" y="52"/>
                  </a:lnTo>
                  <a:lnTo>
                    <a:pt x="26" y="54"/>
                  </a:lnTo>
                  <a:lnTo>
                    <a:pt x="24" y="56"/>
                  </a:lnTo>
                  <a:lnTo>
                    <a:pt x="22" y="56"/>
                  </a:lnTo>
                  <a:lnTo>
                    <a:pt x="22" y="56"/>
                  </a:lnTo>
                  <a:lnTo>
                    <a:pt x="22" y="60"/>
                  </a:lnTo>
                  <a:lnTo>
                    <a:pt x="22" y="60"/>
                  </a:lnTo>
                  <a:lnTo>
                    <a:pt x="28" y="64"/>
                  </a:lnTo>
                  <a:lnTo>
                    <a:pt x="28" y="64"/>
                  </a:lnTo>
                  <a:lnTo>
                    <a:pt x="32" y="64"/>
                  </a:lnTo>
                  <a:lnTo>
                    <a:pt x="32" y="64"/>
                  </a:lnTo>
                  <a:lnTo>
                    <a:pt x="34" y="66"/>
                  </a:lnTo>
                  <a:lnTo>
                    <a:pt x="34" y="68"/>
                  </a:lnTo>
                  <a:lnTo>
                    <a:pt x="34" y="68"/>
                  </a:lnTo>
                  <a:lnTo>
                    <a:pt x="38" y="68"/>
                  </a:lnTo>
                  <a:lnTo>
                    <a:pt x="42" y="66"/>
                  </a:lnTo>
                  <a:lnTo>
                    <a:pt x="42" y="66"/>
                  </a:lnTo>
                  <a:lnTo>
                    <a:pt x="54" y="80"/>
                  </a:lnTo>
                  <a:lnTo>
                    <a:pt x="54" y="80"/>
                  </a:lnTo>
                  <a:lnTo>
                    <a:pt x="58" y="80"/>
                  </a:lnTo>
                  <a:lnTo>
                    <a:pt x="60" y="80"/>
                  </a:lnTo>
                  <a:lnTo>
                    <a:pt x="60" y="80"/>
                  </a:lnTo>
                  <a:lnTo>
                    <a:pt x="62" y="84"/>
                  </a:lnTo>
                  <a:lnTo>
                    <a:pt x="66" y="88"/>
                  </a:lnTo>
                  <a:lnTo>
                    <a:pt x="66" y="88"/>
                  </a:lnTo>
                  <a:lnTo>
                    <a:pt x="70" y="88"/>
                  </a:lnTo>
                  <a:lnTo>
                    <a:pt x="70" y="8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5" name="Freeform 206"/>
            <p:cNvSpPr>
              <a:spLocks noChangeAspect="1"/>
            </p:cNvSpPr>
            <p:nvPr/>
          </p:nvSpPr>
          <p:spPr bwMode="gray">
            <a:xfrm>
              <a:off x="2326493" y="4108486"/>
              <a:ext cx="81526" cy="88828"/>
            </a:xfrm>
            <a:custGeom>
              <a:avLst/>
              <a:gdLst/>
              <a:ahLst/>
              <a:cxnLst>
                <a:cxn ang="0">
                  <a:pos x="16" y="6"/>
                </a:cxn>
                <a:cxn ang="0">
                  <a:pos x="22" y="6"/>
                </a:cxn>
                <a:cxn ang="0">
                  <a:pos x="24" y="6"/>
                </a:cxn>
                <a:cxn ang="0">
                  <a:pos x="26" y="8"/>
                </a:cxn>
                <a:cxn ang="0">
                  <a:pos x="32" y="8"/>
                </a:cxn>
                <a:cxn ang="0">
                  <a:pos x="34" y="18"/>
                </a:cxn>
                <a:cxn ang="0">
                  <a:pos x="40" y="24"/>
                </a:cxn>
                <a:cxn ang="0">
                  <a:pos x="42" y="32"/>
                </a:cxn>
                <a:cxn ang="0">
                  <a:pos x="40" y="32"/>
                </a:cxn>
                <a:cxn ang="0">
                  <a:pos x="40" y="38"/>
                </a:cxn>
                <a:cxn ang="0">
                  <a:pos x="38" y="42"/>
                </a:cxn>
                <a:cxn ang="0">
                  <a:pos x="42" y="46"/>
                </a:cxn>
                <a:cxn ang="0">
                  <a:pos x="42" y="48"/>
                </a:cxn>
                <a:cxn ang="0">
                  <a:pos x="38" y="46"/>
                </a:cxn>
                <a:cxn ang="0">
                  <a:pos x="34" y="46"/>
                </a:cxn>
                <a:cxn ang="0">
                  <a:pos x="34" y="52"/>
                </a:cxn>
                <a:cxn ang="0">
                  <a:pos x="30" y="46"/>
                </a:cxn>
                <a:cxn ang="0">
                  <a:pos x="32" y="38"/>
                </a:cxn>
                <a:cxn ang="0">
                  <a:pos x="24" y="34"/>
                </a:cxn>
                <a:cxn ang="0">
                  <a:pos x="24" y="34"/>
                </a:cxn>
                <a:cxn ang="0">
                  <a:pos x="20" y="34"/>
                </a:cxn>
                <a:cxn ang="0">
                  <a:pos x="18" y="26"/>
                </a:cxn>
                <a:cxn ang="0">
                  <a:pos x="14" y="24"/>
                </a:cxn>
                <a:cxn ang="0">
                  <a:pos x="12" y="24"/>
                </a:cxn>
                <a:cxn ang="0">
                  <a:pos x="14" y="28"/>
                </a:cxn>
                <a:cxn ang="0">
                  <a:pos x="12" y="32"/>
                </a:cxn>
                <a:cxn ang="0">
                  <a:pos x="8" y="32"/>
                </a:cxn>
                <a:cxn ang="0">
                  <a:pos x="6" y="28"/>
                </a:cxn>
                <a:cxn ang="0">
                  <a:pos x="2" y="26"/>
                </a:cxn>
                <a:cxn ang="0">
                  <a:pos x="2" y="18"/>
                </a:cxn>
                <a:cxn ang="0">
                  <a:pos x="6" y="16"/>
                </a:cxn>
                <a:cxn ang="0">
                  <a:pos x="4" y="14"/>
                </a:cxn>
                <a:cxn ang="0">
                  <a:pos x="4" y="14"/>
                </a:cxn>
                <a:cxn ang="0">
                  <a:pos x="2" y="4"/>
                </a:cxn>
                <a:cxn ang="0">
                  <a:pos x="0" y="2"/>
                </a:cxn>
                <a:cxn ang="0">
                  <a:pos x="2" y="0"/>
                </a:cxn>
                <a:cxn ang="0">
                  <a:pos x="6" y="2"/>
                </a:cxn>
                <a:cxn ang="0">
                  <a:pos x="16" y="6"/>
                </a:cxn>
                <a:cxn ang="0">
                  <a:pos x="16" y="6"/>
                </a:cxn>
              </a:cxnLst>
              <a:rect l="0" t="0" r="r" b="b"/>
              <a:pathLst>
                <a:path w="48" h="54">
                  <a:moveTo>
                    <a:pt x="16" y="6"/>
                  </a:moveTo>
                  <a:lnTo>
                    <a:pt x="16" y="6"/>
                  </a:lnTo>
                  <a:lnTo>
                    <a:pt x="20" y="6"/>
                  </a:lnTo>
                  <a:lnTo>
                    <a:pt x="22" y="6"/>
                  </a:lnTo>
                  <a:lnTo>
                    <a:pt x="22" y="6"/>
                  </a:lnTo>
                  <a:lnTo>
                    <a:pt x="24" y="6"/>
                  </a:lnTo>
                  <a:lnTo>
                    <a:pt x="26" y="8"/>
                  </a:lnTo>
                  <a:lnTo>
                    <a:pt x="26" y="8"/>
                  </a:lnTo>
                  <a:lnTo>
                    <a:pt x="32" y="8"/>
                  </a:lnTo>
                  <a:lnTo>
                    <a:pt x="32" y="8"/>
                  </a:lnTo>
                  <a:lnTo>
                    <a:pt x="32" y="14"/>
                  </a:lnTo>
                  <a:lnTo>
                    <a:pt x="34" y="18"/>
                  </a:lnTo>
                  <a:lnTo>
                    <a:pt x="34" y="18"/>
                  </a:lnTo>
                  <a:lnTo>
                    <a:pt x="40" y="24"/>
                  </a:lnTo>
                  <a:lnTo>
                    <a:pt x="48" y="30"/>
                  </a:lnTo>
                  <a:lnTo>
                    <a:pt x="42" y="32"/>
                  </a:lnTo>
                  <a:lnTo>
                    <a:pt x="40" y="32"/>
                  </a:lnTo>
                  <a:lnTo>
                    <a:pt x="40" y="32"/>
                  </a:lnTo>
                  <a:lnTo>
                    <a:pt x="40" y="34"/>
                  </a:lnTo>
                  <a:lnTo>
                    <a:pt x="40" y="38"/>
                  </a:lnTo>
                  <a:lnTo>
                    <a:pt x="40" y="38"/>
                  </a:lnTo>
                  <a:lnTo>
                    <a:pt x="38" y="42"/>
                  </a:lnTo>
                  <a:lnTo>
                    <a:pt x="40" y="44"/>
                  </a:lnTo>
                  <a:lnTo>
                    <a:pt x="42" y="46"/>
                  </a:lnTo>
                  <a:lnTo>
                    <a:pt x="42" y="48"/>
                  </a:lnTo>
                  <a:lnTo>
                    <a:pt x="42" y="48"/>
                  </a:lnTo>
                  <a:lnTo>
                    <a:pt x="40" y="54"/>
                  </a:lnTo>
                  <a:lnTo>
                    <a:pt x="38" y="46"/>
                  </a:lnTo>
                  <a:lnTo>
                    <a:pt x="38" y="46"/>
                  </a:lnTo>
                  <a:lnTo>
                    <a:pt x="34" y="46"/>
                  </a:lnTo>
                  <a:lnTo>
                    <a:pt x="34" y="46"/>
                  </a:lnTo>
                  <a:lnTo>
                    <a:pt x="34" y="52"/>
                  </a:lnTo>
                  <a:lnTo>
                    <a:pt x="34" y="52"/>
                  </a:lnTo>
                  <a:lnTo>
                    <a:pt x="30" y="46"/>
                  </a:lnTo>
                  <a:lnTo>
                    <a:pt x="32" y="38"/>
                  </a:lnTo>
                  <a:lnTo>
                    <a:pt x="32" y="38"/>
                  </a:lnTo>
                  <a:lnTo>
                    <a:pt x="24" y="34"/>
                  </a:lnTo>
                  <a:lnTo>
                    <a:pt x="24" y="34"/>
                  </a:lnTo>
                  <a:lnTo>
                    <a:pt x="24" y="34"/>
                  </a:lnTo>
                  <a:lnTo>
                    <a:pt x="24" y="34"/>
                  </a:lnTo>
                  <a:lnTo>
                    <a:pt x="20" y="34"/>
                  </a:lnTo>
                  <a:lnTo>
                    <a:pt x="20" y="34"/>
                  </a:lnTo>
                  <a:lnTo>
                    <a:pt x="20" y="30"/>
                  </a:lnTo>
                  <a:lnTo>
                    <a:pt x="18" y="26"/>
                  </a:lnTo>
                  <a:lnTo>
                    <a:pt x="18" y="26"/>
                  </a:lnTo>
                  <a:lnTo>
                    <a:pt x="14" y="24"/>
                  </a:lnTo>
                  <a:lnTo>
                    <a:pt x="12" y="24"/>
                  </a:lnTo>
                  <a:lnTo>
                    <a:pt x="12" y="24"/>
                  </a:lnTo>
                  <a:lnTo>
                    <a:pt x="14" y="28"/>
                  </a:lnTo>
                  <a:lnTo>
                    <a:pt x="14" y="28"/>
                  </a:lnTo>
                  <a:lnTo>
                    <a:pt x="12" y="30"/>
                  </a:lnTo>
                  <a:lnTo>
                    <a:pt x="12" y="32"/>
                  </a:lnTo>
                  <a:lnTo>
                    <a:pt x="12" y="32"/>
                  </a:lnTo>
                  <a:lnTo>
                    <a:pt x="8" y="32"/>
                  </a:lnTo>
                  <a:lnTo>
                    <a:pt x="8" y="32"/>
                  </a:lnTo>
                  <a:lnTo>
                    <a:pt x="6" y="28"/>
                  </a:lnTo>
                  <a:lnTo>
                    <a:pt x="6" y="28"/>
                  </a:lnTo>
                  <a:lnTo>
                    <a:pt x="2" y="26"/>
                  </a:lnTo>
                  <a:lnTo>
                    <a:pt x="2" y="26"/>
                  </a:lnTo>
                  <a:lnTo>
                    <a:pt x="2" y="18"/>
                  </a:lnTo>
                  <a:lnTo>
                    <a:pt x="2" y="18"/>
                  </a:lnTo>
                  <a:lnTo>
                    <a:pt x="6" y="16"/>
                  </a:lnTo>
                  <a:lnTo>
                    <a:pt x="6" y="16"/>
                  </a:lnTo>
                  <a:lnTo>
                    <a:pt x="4" y="14"/>
                  </a:lnTo>
                  <a:lnTo>
                    <a:pt x="4" y="14"/>
                  </a:lnTo>
                  <a:lnTo>
                    <a:pt x="4" y="14"/>
                  </a:lnTo>
                  <a:lnTo>
                    <a:pt x="4" y="10"/>
                  </a:lnTo>
                  <a:lnTo>
                    <a:pt x="2" y="4"/>
                  </a:lnTo>
                  <a:lnTo>
                    <a:pt x="2" y="4"/>
                  </a:lnTo>
                  <a:lnTo>
                    <a:pt x="0" y="2"/>
                  </a:lnTo>
                  <a:lnTo>
                    <a:pt x="0" y="2"/>
                  </a:lnTo>
                  <a:lnTo>
                    <a:pt x="2" y="0"/>
                  </a:lnTo>
                  <a:lnTo>
                    <a:pt x="6" y="2"/>
                  </a:lnTo>
                  <a:lnTo>
                    <a:pt x="6" y="2"/>
                  </a:lnTo>
                  <a:lnTo>
                    <a:pt x="8" y="4"/>
                  </a:lnTo>
                  <a:lnTo>
                    <a:pt x="16" y="6"/>
                  </a:lnTo>
                  <a:lnTo>
                    <a:pt x="16" y="6"/>
                  </a:lnTo>
                  <a:lnTo>
                    <a:pt x="16" y="6"/>
                  </a:lnTo>
                  <a:lnTo>
                    <a:pt x="16" y="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6" name="Freeform 208"/>
            <p:cNvSpPr>
              <a:spLocks noChangeAspect="1"/>
            </p:cNvSpPr>
            <p:nvPr/>
          </p:nvSpPr>
          <p:spPr bwMode="gray">
            <a:xfrm>
              <a:off x="2478570" y="4088746"/>
              <a:ext cx="290045" cy="454011"/>
            </a:xfrm>
            <a:custGeom>
              <a:avLst/>
              <a:gdLst/>
              <a:ahLst/>
              <a:cxnLst>
                <a:cxn ang="0">
                  <a:pos x="108" y="8"/>
                </a:cxn>
                <a:cxn ang="0">
                  <a:pos x="102" y="0"/>
                </a:cxn>
                <a:cxn ang="0">
                  <a:pos x="94" y="4"/>
                </a:cxn>
                <a:cxn ang="0">
                  <a:pos x="86" y="14"/>
                </a:cxn>
                <a:cxn ang="0">
                  <a:pos x="78" y="20"/>
                </a:cxn>
                <a:cxn ang="0">
                  <a:pos x="64" y="22"/>
                </a:cxn>
                <a:cxn ang="0">
                  <a:pos x="62" y="30"/>
                </a:cxn>
                <a:cxn ang="0">
                  <a:pos x="56" y="26"/>
                </a:cxn>
                <a:cxn ang="0">
                  <a:pos x="50" y="38"/>
                </a:cxn>
                <a:cxn ang="0">
                  <a:pos x="46" y="46"/>
                </a:cxn>
                <a:cxn ang="0">
                  <a:pos x="38" y="64"/>
                </a:cxn>
                <a:cxn ang="0">
                  <a:pos x="32" y="74"/>
                </a:cxn>
                <a:cxn ang="0">
                  <a:pos x="24" y="70"/>
                </a:cxn>
                <a:cxn ang="0">
                  <a:pos x="26" y="82"/>
                </a:cxn>
                <a:cxn ang="0">
                  <a:pos x="24" y="88"/>
                </a:cxn>
                <a:cxn ang="0">
                  <a:pos x="20" y="114"/>
                </a:cxn>
                <a:cxn ang="0">
                  <a:pos x="22" y="130"/>
                </a:cxn>
                <a:cxn ang="0">
                  <a:pos x="18" y="138"/>
                </a:cxn>
                <a:cxn ang="0">
                  <a:pos x="26" y="144"/>
                </a:cxn>
                <a:cxn ang="0">
                  <a:pos x="20" y="150"/>
                </a:cxn>
                <a:cxn ang="0">
                  <a:pos x="8" y="160"/>
                </a:cxn>
                <a:cxn ang="0">
                  <a:pos x="4" y="164"/>
                </a:cxn>
                <a:cxn ang="0">
                  <a:pos x="4" y="170"/>
                </a:cxn>
                <a:cxn ang="0">
                  <a:pos x="0" y="176"/>
                </a:cxn>
                <a:cxn ang="0">
                  <a:pos x="2" y="184"/>
                </a:cxn>
                <a:cxn ang="0">
                  <a:pos x="16" y="194"/>
                </a:cxn>
                <a:cxn ang="0">
                  <a:pos x="34" y="206"/>
                </a:cxn>
                <a:cxn ang="0">
                  <a:pos x="36" y="204"/>
                </a:cxn>
                <a:cxn ang="0">
                  <a:pos x="54" y="210"/>
                </a:cxn>
                <a:cxn ang="0">
                  <a:pos x="62" y="220"/>
                </a:cxn>
                <a:cxn ang="0">
                  <a:pos x="70" y="230"/>
                </a:cxn>
                <a:cxn ang="0">
                  <a:pos x="80" y="240"/>
                </a:cxn>
                <a:cxn ang="0">
                  <a:pos x="90" y="238"/>
                </a:cxn>
                <a:cxn ang="0">
                  <a:pos x="104" y="242"/>
                </a:cxn>
                <a:cxn ang="0">
                  <a:pos x="104" y="274"/>
                </a:cxn>
                <a:cxn ang="0">
                  <a:pos x="128" y="238"/>
                </a:cxn>
                <a:cxn ang="0">
                  <a:pos x="126" y="212"/>
                </a:cxn>
                <a:cxn ang="0">
                  <a:pos x="124" y="200"/>
                </a:cxn>
                <a:cxn ang="0">
                  <a:pos x="134" y="196"/>
                </a:cxn>
                <a:cxn ang="0">
                  <a:pos x="158" y="186"/>
                </a:cxn>
                <a:cxn ang="0">
                  <a:pos x="170" y="186"/>
                </a:cxn>
                <a:cxn ang="0">
                  <a:pos x="164" y="178"/>
                </a:cxn>
                <a:cxn ang="0">
                  <a:pos x="162" y="172"/>
                </a:cxn>
                <a:cxn ang="0">
                  <a:pos x="170" y="154"/>
                </a:cxn>
                <a:cxn ang="0">
                  <a:pos x="150" y="138"/>
                </a:cxn>
                <a:cxn ang="0">
                  <a:pos x="144" y="128"/>
                </a:cxn>
                <a:cxn ang="0">
                  <a:pos x="146" y="112"/>
                </a:cxn>
                <a:cxn ang="0">
                  <a:pos x="122" y="100"/>
                </a:cxn>
                <a:cxn ang="0">
                  <a:pos x="106" y="98"/>
                </a:cxn>
                <a:cxn ang="0">
                  <a:pos x="90" y="88"/>
                </a:cxn>
                <a:cxn ang="0">
                  <a:pos x="84" y="76"/>
                </a:cxn>
                <a:cxn ang="0">
                  <a:pos x="76" y="64"/>
                </a:cxn>
                <a:cxn ang="0">
                  <a:pos x="76" y="54"/>
                </a:cxn>
                <a:cxn ang="0">
                  <a:pos x="76" y="38"/>
                </a:cxn>
                <a:cxn ang="0">
                  <a:pos x="102" y="10"/>
                </a:cxn>
              </a:cxnLst>
              <a:rect l="0" t="0" r="r" b="b"/>
              <a:pathLst>
                <a:path w="170" h="276">
                  <a:moveTo>
                    <a:pt x="102" y="10"/>
                  </a:moveTo>
                  <a:lnTo>
                    <a:pt x="102" y="10"/>
                  </a:lnTo>
                  <a:lnTo>
                    <a:pt x="106" y="10"/>
                  </a:lnTo>
                  <a:lnTo>
                    <a:pt x="106" y="10"/>
                  </a:lnTo>
                  <a:lnTo>
                    <a:pt x="108" y="8"/>
                  </a:lnTo>
                  <a:lnTo>
                    <a:pt x="108" y="6"/>
                  </a:lnTo>
                  <a:lnTo>
                    <a:pt x="108" y="6"/>
                  </a:lnTo>
                  <a:lnTo>
                    <a:pt x="104" y="4"/>
                  </a:lnTo>
                  <a:lnTo>
                    <a:pt x="104" y="4"/>
                  </a:lnTo>
                  <a:lnTo>
                    <a:pt x="102" y="0"/>
                  </a:lnTo>
                  <a:lnTo>
                    <a:pt x="102" y="0"/>
                  </a:lnTo>
                  <a:lnTo>
                    <a:pt x="100" y="2"/>
                  </a:lnTo>
                  <a:lnTo>
                    <a:pt x="98" y="2"/>
                  </a:lnTo>
                  <a:lnTo>
                    <a:pt x="98" y="2"/>
                  </a:lnTo>
                  <a:lnTo>
                    <a:pt x="94" y="4"/>
                  </a:lnTo>
                  <a:lnTo>
                    <a:pt x="94" y="4"/>
                  </a:lnTo>
                  <a:lnTo>
                    <a:pt x="94" y="8"/>
                  </a:lnTo>
                  <a:lnTo>
                    <a:pt x="94" y="8"/>
                  </a:lnTo>
                  <a:lnTo>
                    <a:pt x="90" y="12"/>
                  </a:lnTo>
                  <a:lnTo>
                    <a:pt x="86" y="14"/>
                  </a:lnTo>
                  <a:lnTo>
                    <a:pt x="86" y="14"/>
                  </a:lnTo>
                  <a:lnTo>
                    <a:pt x="84" y="14"/>
                  </a:lnTo>
                  <a:lnTo>
                    <a:pt x="82" y="16"/>
                  </a:lnTo>
                  <a:lnTo>
                    <a:pt x="82" y="16"/>
                  </a:lnTo>
                  <a:lnTo>
                    <a:pt x="78" y="20"/>
                  </a:lnTo>
                  <a:lnTo>
                    <a:pt x="72" y="22"/>
                  </a:lnTo>
                  <a:lnTo>
                    <a:pt x="72" y="22"/>
                  </a:lnTo>
                  <a:lnTo>
                    <a:pt x="68" y="22"/>
                  </a:lnTo>
                  <a:lnTo>
                    <a:pt x="64" y="22"/>
                  </a:lnTo>
                  <a:lnTo>
                    <a:pt x="64" y="22"/>
                  </a:lnTo>
                  <a:lnTo>
                    <a:pt x="64" y="24"/>
                  </a:lnTo>
                  <a:lnTo>
                    <a:pt x="62" y="26"/>
                  </a:lnTo>
                  <a:lnTo>
                    <a:pt x="62" y="26"/>
                  </a:lnTo>
                  <a:lnTo>
                    <a:pt x="62" y="30"/>
                  </a:lnTo>
                  <a:lnTo>
                    <a:pt x="62" y="30"/>
                  </a:lnTo>
                  <a:lnTo>
                    <a:pt x="62" y="28"/>
                  </a:lnTo>
                  <a:lnTo>
                    <a:pt x="62" y="28"/>
                  </a:lnTo>
                  <a:lnTo>
                    <a:pt x="60" y="28"/>
                  </a:lnTo>
                  <a:lnTo>
                    <a:pt x="56" y="26"/>
                  </a:lnTo>
                  <a:lnTo>
                    <a:pt x="56" y="26"/>
                  </a:lnTo>
                  <a:lnTo>
                    <a:pt x="54" y="28"/>
                  </a:lnTo>
                  <a:lnTo>
                    <a:pt x="54" y="30"/>
                  </a:lnTo>
                  <a:lnTo>
                    <a:pt x="52" y="32"/>
                  </a:lnTo>
                  <a:lnTo>
                    <a:pt x="52" y="32"/>
                  </a:lnTo>
                  <a:lnTo>
                    <a:pt x="50" y="38"/>
                  </a:lnTo>
                  <a:lnTo>
                    <a:pt x="52" y="44"/>
                  </a:lnTo>
                  <a:lnTo>
                    <a:pt x="52" y="44"/>
                  </a:lnTo>
                  <a:lnTo>
                    <a:pt x="48" y="44"/>
                  </a:lnTo>
                  <a:lnTo>
                    <a:pt x="46" y="46"/>
                  </a:lnTo>
                  <a:lnTo>
                    <a:pt x="46" y="46"/>
                  </a:lnTo>
                  <a:lnTo>
                    <a:pt x="48" y="52"/>
                  </a:lnTo>
                  <a:lnTo>
                    <a:pt x="48" y="52"/>
                  </a:lnTo>
                  <a:lnTo>
                    <a:pt x="42" y="52"/>
                  </a:lnTo>
                  <a:lnTo>
                    <a:pt x="42" y="52"/>
                  </a:lnTo>
                  <a:lnTo>
                    <a:pt x="38" y="64"/>
                  </a:lnTo>
                  <a:lnTo>
                    <a:pt x="36" y="76"/>
                  </a:lnTo>
                  <a:lnTo>
                    <a:pt x="36" y="76"/>
                  </a:lnTo>
                  <a:lnTo>
                    <a:pt x="32" y="76"/>
                  </a:lnTo>
                  <a:lnTo>
                    <a:pt x="32" y="76"/>
                  </a:lnTo>
                  <a:lnTo>
                    <a:pt x="32" y="74"/>
                  </a:lnTo>
                  <a:lnTo>
                    <a:pt x="30" y="72"/>
                  </a:lnTo>
                  <a:lnTo>
                    <a:pt x="28" y="66"/>
                  </a:lnTo>
                  <a:lnTo>
                    <a:pt x="28" y="66"/>
                  </a:lnTo>
                  <a:lnTo>
                    <a:pt x="26" y="66"/>
                  </a:lnTo>
                  <a:lnTo>
                    <a:pt x="24" y="70"/>
                  </a:lnTo>
                  <a:lnTo>
                    <a:pt x="24" y="70"/>
                  </a:lnTo>
                  <a:lnTo>
                    <a:pt x="26" y="72"/>
                  </a:lnTo>
                  <a:lnTo>
                    <a:pt x="28" y="76"/>
                  </a:lnTo>
                  <a:lnTo>
                    <a:pt x="28" y="76"/>
                  </a:lnTo>
                  <a:lnTo>
                    <a:pt x="26" y="82"/>
                  </a:lnTo>
                  <a:lnTo>
                    <a:pt x="24" y="84"/>
                  </a:lnTo>
                  <a:lnTo>
                    <a:pt x="22" y="88"/>
                  </a:lnTo>
                  <a:lnTo>
                    <a:pt x="22" y="88"/>
                  </a:lnTo>
                  <a:lnTo>
                    <a:pt x="24" y="88"/>
                  </a:lnTo>
                  <a:lnTo>
                    <a:pt x="24" y="88"/>
                  </a:lnTo>
                  <a:lnTo>
                    <a:pt x="24" y="100"/>
                  </a:lnTo>
                  <a:lnTo>
                    <a:pt x="24" y="106"/>
                  </a:lnTo>
                  <a:lnTo>
                    <a:pt x="26" y="112"/>
                  </a:lnTo>
                  <a:lnTo>
                    <a:pt x="20" y="114"/>
                  </a:lnTo>
                  <a:lnTo>
                    <a:pt x="20" y="114"/>
                  </a:lnTo>
                  <a:lnTo>
                    <a:pt x="24" y="116"/>
                  </a:lnTo>
                  <a:lnTo>
                    <a:pt x="24" y="116"/>
                  </a:lnTo>
                  <a:lnTo>
                    <a:pt x="22" y="124"/>
                  </a:lnTo>
                  <a:lnTo>
                    <a:pt x="22" y="130"/>
                  </a:lnTo>
                  <a:lnTo>
                    <a:pt x="22" y="130"/>
                  </a:lnTo>
                  <a:lnTo>
                    <a:pt x="18" y="136"/>
                  </a:lnTo>
                  <a:lnTo>
                    <a:pt x="18" y="136"/>
                  </a:lnTo>
                  <a:lnTo>
                    <a:pt x="18" y="136"/>
                  </a:lnTo>
                  <a:lnTo>
                    <a:pt x="18" y="138"/>
                  </a:lnTo>
                  <a:lnTo>
                    <a:pt x="18" y="138"/>
                  </a:lnTo>
                  <a:lnTo>
                    <a:pt x="18" y="140"/>
                  </a:lnTo>
                  <a:lnTo>
                    <a:pt x="22" y="144"/>
                  </a:lnTo>
                  <a:lnTo>
                    <a:pt x="22" y="144"/>
                  </a:lnTo>
                  <a:lnTo>
                    <a:pt x="24" y="144"/>
                  </a:lnTo>
                  <a:lnTo>
                    <a:pt x="26" y="144"/>
                  </a:lnTo>
                  <a:lnTo>
                    <a:pt x="26" y="146"/>
                  </a:lnTo>
                  <a:lnTo>
                    <a:pt x="26" y="146"/>
                  </a:lnTo>
                  <a:lnTo>
                    <a:pt x="22" y="148"/>
                  </a:lnTo>
                  <a:lnTo>
                    <a:pt x="20" y="150"/>
                  </a:lnTo>
                  <a:lnTo>
                    <a:pt x="20" y="150"/>
                  </a:lnTo>
                  <a:lnTo>
                    <a:pt x="18" y="154"/>
                  </a:lnTo>
                  <a:lnTo>
                    <a:pt x="18" y="158"/>
                  </a:lnTo>
                  <a:lnTo>
                    <a:pt x="18" y="158"/>
                  </a:lnTo>
                  <a:lnTo>
                    <a:pt x="14" y="158"/>
                  </a:lnTo>
                  <a:lnTo>
                    <a:pt x="8" y="160"/>
                  </a:lnTo>
                  <a:lnTo>
                    <a:pt x="8" y="160"/>
                  </a:lnTo>
                  <a:lnTo>
                    <a:pt x="6" y="164"/>
                  </a:lnTo>
                  <a:lnTo>
                    <a:pt x="6" y="164"/>
                  </a:lnTo>
                  <a:lnTo>
                    <a:pt x="4" y="164"/>
                  </a:lnTo>
                  <a:lnTo>
                    <a:pt x="4" y="164"/>
                  </a:lnTo>
                  <a:lnTo>
                    <a:pt x="4" y="168"/>
                  </a:lnTo>
                  <a:lnTo>
                    <a:pt x="4" y="168"/>
                  </a:lnTo>
                  <a:lnTo>
                    <a:pt x="4" y="168"/>
                  </a:lnTo>
                  <a:lnTo>
                    <a:pt x="4" y="170"/>
                  </a:lnTo>
                  <a:lnTo>
                    <a:pt x="4" y="170"/>
                  </a:lnTo>
                  <a:lnTo>
                    <a:pt x="6" y="172"/>
                  </a:lnTo>
                  <a:lnTo>
                    <a:pt x="6" y="176"/>
                  </a:lnTo>
                  <a:lnTo>
                    <a:pt x="6" y="176"/>
                  </a:lnTo>
                  <a:lnTo>
                    <a:pt x="4" y="174"/>
                  </a:lnTo>
                  <a:lnTo>
                    <a:pt x="0" y="176"/>
                  </a:lnTo>
                  <a:lnTo>
                    <a:pt x="0" y="176"/>
                  </a:lnTo>
                  <a:lnTo>
                    <a:pt x="0" y="182"/>
                  </a:lnTo>
                  <a:lnTo>
                    <a:pt x="2" y="182"/>
                  </a:lnTo>
                  <a:lnTo>
                    <a:pt x="2" y="182"/>
                  </a:lnTo>
                  <a:lnTo>
                    <a:pt x="2" y="184"/>
                  </a:lnTo>
                  <a:lnTo>
                    <a:pt x="6" y="188"/>
                  </a:lnTo>
                  <a:lnTo>
                    <a:pt x="6" y="188"/>
                  </a:lnTo>
                  <a:lnTo>
                    <a:pt x="14" y="192"/>
                  </a:lnTo>
                  <a:lnTo>
                    <a:pt x="14" y="192"/>
                  </a:lnTo>
                  <a:lnTo>
                    <a:pt x="16" y="194"/>
                  </a:lnTo>
                  <a:lnTo>
                    <a:pt x="16" y="198"/>
                  </a:lnTo>
                  <a:lnTo>
                    <a:pt x="16" y="198"/>
                  </a:lnTo>
                  <a:lnTo>
                    <a:pt x="18" y="202"/>
                  </a:lnTo>
                  <a:lnTo>
                    <a:pt x="20" y="202"/>
                  </a:lnTo>
                  <a:lnTo>
                    <a:pt x="34" y="206"/>
                  </a:lnTo>
                  <a:lnTo>
                    <a:pt x="34" y="206"/>
                  </a:lnTo>
                  <a:lnTo>
                    <a:pt x="34" y="204"/>
                  </a:lnTo>
                  <a:lnTo>
                    <a:pt x="36" y="202"/>
                  </a:lnTo>
                  <a:lnTo>
                    <a:pt x="36" y="204"/>
                  </a:lnTo>
                  <a:lnTo>
                    <a:pt x="36" y="204"/>
                  </a:lnTo>
                  <a:lnTo>
                    <a:pt x="40" y="206"/>
                  </a:lnTo>
                  <a:lnTo>
                    <a:pt x="42" y="208"/>
                  </a:lnTo>
                  <a:lnTo>
                    <a:pt x="48" y="210"/>
                  </a:lnTo>
                  <a:lnTo>
                    <a:pt x="54" y="210"/>
                  </a:lnTo>
                  <a:lnTo>
                    <a:pt x="54" y="210"/>
                  </a:lnTo>
                  <a:lnTo>
                    <a:pt x="54" y="214"/>
                  </a:lnTo>
                  <a:lnTo>
                    <a:pt x="56" y="216"/>
                  </a:lnTo>
                  <a:lnTo>
                    <a:pt x="58" y="216"/>
                  </a:lnTo>
                  <a:lnTo>
                    <a:pt x="58" y="216"/>
                  </a:lnTo>
                  <a:lnTo>
                    <a:pt x="62" y="220"/>
                  </a:lnTo>
                  <a:lnTo>
                    <a:pt x="64" y="224"/>
                  </a:lnTo>
                  <a:lnTo>
                    <a:pt x="64" y="224"/>
                  </a:lnTo>
                  <a:lnTo>
                    <a:pt x="64" y="226"/>
                  </a:lnTo>
                  <a:lnTo>
                    <a:pt x="66" y="228"/>
                  </a:lnTo>
                  <a:lnTo>
                    <a:pt x="70" y="230"/>
                  </a:lnTo>
                  <a:lnTo>
                    <a:pt x="78" y="230"/>
                  </a:lnTo>
                  <a:lnTo>
                    <a:pt x="78" y="236"/>
                  </a:lnTo>
                  <a:lnTo>
                    <a:pt x="78" y="236"/>
                  </a:lnTo>
                  <a:lnTo>
                    <a:pt x="78" y="238"/>
                  </a:lnTo>
                  <a:lnTo>
                    <a:pt x="80" y="240"/>
                  </a:lnTo>
                  <a:lnTo>
                    <a:pt x="82" y="240"/>
                  </a:lnTo>
                  <a:lnTo>
                    <a:pt x="82" y="240"/>
                  </a:lnTo>
                  <a:lnTo>
                    <a:pt x="90" y="242"/>
                  </a:lnTo>
                  <a:lnTo>
                    <a:pt x="90" y="238"/>
                  </a:lnTo>
                  <a:lnTo>
                    <a:pt x="90" y="238"/>
                  </a:lnTo>
                  <a:lnTo>
                    <a:pt x="94" y="238"/>
                  </a:lnTo>
                  <a:lnTo>
                    <a:pt x="98" y="238"/>
                  </a:lnTo>
                  <a:lnTo>
                    <a:pt x="100" y="240"/>
                  </a:lnTo>
                  <a:lnTo>
                    <a:pt x="100" y="240"/>
                  </a:lnTo>
                  <a:lnTo>
                    <a:pt x="104" y="242"/>
                  </a:lnTo>
                  <a:lnTo>
                    <a:pt x="110" y="244"/>
                  </a:lnTo>
                  <a:lnTo>
                    <a:pt x="110" y="244"/>
                  </a:lnTo>
                  <a:lnTo>
                    <a:pt x="114" y="246"/>
                  </a:lnTo>
                  <a:lnTo>
                    <a:pt x="116" y="248"/>
                  </a:lnTo>
                  <a:lnTo>
                    <a:pt x="104" y="274"/>
                  </a:lnTo>
                  <a:lnTo>
                    <a:pt x="110" y="274"/>
                  </a:lnTo>
                  <a:lnTo>
                    <a:pt x="114" y="276"/>
                  </a:lnTo>
                  <a:lnTo>
                    <a:pt x="114" y="276"/>
                  </a:lnTo>
                  <a:lnTo>
                    <a:pt x="128" y="238"/>
                  </a:lnTo>
                  <a:lnTo>
                    <a:pt x="128" y="238"/>
                  </a:lnTo>
                  <a:lnTo>
                    <a:pt x="130" y="232"/>
                  </a:lnTo>
                  <a:lnTo>
                    <a:pt x="132" y="228"/>
                  </a:lnTo>
                  <a:lnTo>
                    <a:pt x="132" y="226"/>
                  </a:lnTo>
                  <a:lnTo>
                    <a:pt x="132" y="226"/>
                  </a:lnTo>
                  <a:lnTo>
                    <a:pt x="126" y="212"/>
                  </a:lnTo>
                  <a:lnTo>
                    <a:pt x="122" y="210"/>
                  </a:lnTo>
                  <a:lnTo>
                    <a:pt x="122" y="204"/>
                  </a:lnTo>
                  <a:lnTo>
                    <a:pt x="130" y="204"/>
                  </a:lnTo>
                  <a:lnTo>
                    <a:pt x="132" y="202"/>
                  </a:lnTo>
                  <a:lnTo>
                    <a:pt x="124" y="200"/>
                  </a:lnTo>
                  <a:lnTo>
                    <a:pt x="126" y="194"/>
                  </a:lnTo>
                  <a:lnTo>
                    <a:pt x="126" y="194"/>
                  </a:lnTo>
                  <a:lnTo>
                    <a:pt x="128" y="196"/>
                  </a:lnTo>
                  <a:lnTo>
                    <a:pt x="134" y="196"/>
                  </a:lnTo>
                  <a:lnTo>
                    <a:pt x="134" y="196"/>
                  </a:lnTo>
                  <a:lnTo>
                    <a:pt x="148" y="196"/>
                  </a:lnTo>
                  <a:lnTo>
                    <a:pt x="148" y="192"/>
                  </a:lnTo>
                  <a:lnTo>
                    <a:pt x="152" y="194"/>
                  </a:lnTo>
                  <a:lnTo>
                    <a:pt x="156" y="194"/>
                  </a:lnTo>
                  <a:lnTo>
                    <a:pt x="158" y="186"/>
                  </a:lnTo>
                  <a:lnTo>
                    <a:pt x="164" y="188"/>
                  </a:lnTo>
                  <a:lnTo>
                    <a:pt x="164" y="194"/>
                  </a:lnTo>
                  <a:lnTo>
                    <a:pt x="168" y="194"/>
                  </a:lnTo>
                  <a:lnTo>
                    <a:pt x="170" y="186"/>
                  </a:lnTo>
                  <a:lnTo>
                    <a:pt x="170" y="186"/>
                  </a:lnTo>
                  <a:lnTo>
                    <a:pt x="166" y="182"/>
                  </a:lnTo>
                  <a:lnTo>
                    <a:pt x="166" y="182"/>
                  </a:lnTo>
                  <a:lnTo>
                    <a:pt x="166" y="176"/>
                  </a:lnTo>
                  <a:lnTo>
                    <a:pt x="166" y="176"/>
                  </a:lnTo>
                  <a:lnTo>
                    <a:pt x="164" y="178"/>
                  </a:lnTo>
                  <a:lnTo>
                    <a:pt x="164" y="178"/>
                  </a:lnTo>
                  <a:lnTo>
                    <a:pt x="162" y="178"/>
                  </a:lnTo>
                  <a:lnTo>
                    <a:pt x="160" y="176"/>
                  </a:lnTo>
                  <a:lnTo>
                    <a:pt x="162" y="172"/>
                  </a:lnTo>
                  <a:lnTo>
                    <a:pt x="162" y="172"/>
                  </a:lnTo>
                  <a:lnTo>
                    <a:pt x="164" y="170"/>
                  </a:lnTo>
                  <a:lnTo>
                    <a:pt x="168" y="164"/>
                  </a:lnTo>
                  <a:lnTo>
                    <a:pt x="168" y="164"/>
                  </a:lnTo>
                  <a:lnTo>
                    <a:pt x="170" y="154"/>
                  </a:lnTo>
                  <a:lnTo>
                    <a:pt x="170" y="154"/>
                  </a:lnTo>
                  <a:lnTo>
                    <a:pt x="164" y="152"/>
                  </a:lnTo>
                  <a:lnTo>
                    <a:pt x="158" y="146"/>
                  </a:lnTo>
                  <a:lnTo>
                    <a:pt x="158" y="146"/>
                  </a:lnTo>
                  <a:lnTo>
                    <a:pt x="154" y="142"/>
                  </a:lnTo>
                  <a:lnTo>
                    <a:pt x="150" y="138"/>
                  </a:lnTo>
                  <a:lnTo>
                    <a:pt x="150" y="138"/>
                  </a:lnTo>
                  <a:lnTo>
                    <a:pt x="146" y="134"/>
                  </a:lnTo>
                  <a:lnTo>
                    <a:pt x="144" y="132"/>
                  </a:lnTo>
                  <a:lnTo>
                    <a:pt x="144" y="128"/>
                  </a:lnTo>
                  <a:lnTo>
                    <a:pt x="144" y="128"/>
                  </a:lnTo>
                  <a:lnTo>
                    <a:pt x="142" y="124"/>
                  </a:lnTo>
                  <a:lnTo>
                    <a:pt x="144" y="122"/>
                  </a:lnTo>
                  <a:lnTo>
                    <a:pt x="146" y="120"/>
                  </a:lnTo>
                  <a:lnTo>
                    <a:pt x="146" y="112"/>
                  </a:lnTo>
                  <a:lnTo>
                    <a:pt x="146" y="112"/>
                  </a:lnTo>
                  <a:lnTo>
                    <a:pt x="138" y="110"/>
                  </a:lnTo>
                  <a:lnTo>
                    <a:pt x="138" y="110"/>
                  </a:lnTo>
                  <a:lnTo>
                    <a:pt x="128" y="112"/>
                  </a:lnTo>
                  <a:lnTo>
                    <a:pt x="128" y="112"/>
                  </a:lnTo>
                  <a:lnTo>
                    <a:pt x="122" y="100"/>
                  </a:lnTo>
                  <a:lnTo>
                    <a:pt x="122" y="100"/>
                  </a:lnTo>
                  <a:lnTo>
                    <a:pt x="118" y="98"/>
                  </a:lnTo>
                  <a:lnTo>
                    <a:pt x="112" y="98"/>
                  </a:lnTo>
                  <a:lnTo>
                    <a:pt x="112" y="98"/>
                  </a:lnTo>
                  <a:lnTo>
                    <a:pt x="106" y="98"/>
                  </a:lnTo>
                  <a:lnTo>
                    <a:pt x="102" y="98"/>
                  </a:lnTo>
                  <a:lnTo>
                    <a:pt x="92" y="96"/>
                  </a:lnTo>
                  <a:lnTo>
                    <a:pt x="92" y="96"/>
                  </a:lnTo>
                  <a:lnTo>
                    <a:pt x="92" y="94"/>
                  </a:lnTo>
                  <a:lnTo>
                    <a:pt x="90" y="88"/>
                  </a:lnTo>
                  <a:lnTo>
                    <a:pt x="90" y="88"/>
                  </a:lnTo>
                  <a:lnTo>
                    <a:pt x="86" y="82"/>
                  </a:lnTo>
                  <a:lnTo>
                    <a:pt x="84" y="78"/>
                  </a:lnTo>
                  <a:lnTo>
                    <a:pt x="84" y="78"/>
                  </a:lnTo>
                  <a:lnTo>
                    <a:pt x="84" y="76"/>
                  </a:lnTo>
                  <a:lnTo>
                    <a:pt x="86" y="76"/>
                  </a:lnTo>
                  <a:lnTo>
                    <a:pt x="88" y="74"/>
                  </a:lnTo>
                  <a:lnTo>
                    <a:pt x="82" y="62"/>
                  </a:lnTo>
                  <a:lnTo>
                    <a:pt x="76" y="64"/>
                  </a:lnTo>
                  <a:lnTo>
                    <a:pt x="76" y="64"/>
                  </a:lnTo>
                  <a:lnTo>
                    <a:pt x="74" y="64"/>
                  </a:lnTo>
                  <a:lnTo>
                    <a:pt x="74" y="62"/>
                  </a:lnTo>
                  <a:lnTo>
                    <a:pt x="74" y="58"/>
                  </a:lnTo>
                  <a:lnTo>
                    <a:pt x="74" y="58"/>
                  </a:lnTo>
                  <a:lnTo>
                    <a:pt x="76" y="54"/>
                  </a:lnTo>
                  <a:lnTo>
                    <a:pt x="76" y="52"/>
                  </a:lnTo>
                  <a:lnTo>
                    <a:pt x="76" y="46"/>
                  </a:lnTo>
                  <a:lnTo>
                    <a:pt x="76" y="46"/>
                  </a:lnTo>
                  <a:lnTo>
                    <a:pt x="78" y="40"/>
                  </a:lnTo>
                  <a:lnTo>
                    <a:pt x="76" y="38"/>
                  </a:lnTo>
                  <a:lnTo>
                    <a:pt x="82" y="36"/>
                  </a:lnTo>
                  <a:lnTo>
                    <a:pt x="88" y="22"/>
                  </a:lnTo>
                  <a:lnTo>
                    <a:pt x="94" y="12"/>
                  </a:lnTo>
                  <a:lnTo>
                    <a:pt x="94" y="12"/>
                  </a:lnTo>
                  <a:lnTo>
                    <a:pt x="102" y="10"/>
                  </a:lnTo>
                  <a:lnTo>
                    <a:pt x="102"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7" name="Freeform 209"/>
            <p:cNvSpPr>
              <a:spLocks noChangeAspect="1"/>
            </p:cNvSpPr>
            <p:nvPr/>
          </p:nvSpPr>
          <p:spPr bwMode="gray">
            <a:xfrm>
              <a:off x="7006403" y="3552487"/>
              <a:ext cx="9406" cy="13160"/>
            </a:xfrm>
            <a:custGeom>
              <a:avLst/>
              <a:gdLst/>
              <a:ahLst/>
              <a:cxnLst>
                <a:cxn ang="0">
                  <a:pos x="4" y="0"/>
                </a:cxn>
                <a:cxn ang="0">
                  <a:pos x="6" y="0"/>
                </a:cxn>
                <a:cxn ang="0">
                  <a:pos x="6" y="0"/>
                </a:cxn>
                <a:cxn ang="0">
                  <a:pos x="6" y="4"/>
                </a:cxn>
                <a:cxn ang="0">
                  <a:pos x="6" y="8"/>
                </a:cxn>
                <a:cxn ang="0">
                  <a:pos x="6" y="8"/>
                </a:cxn>
                <a:cxn ang="0">
                  <a:pos x="4" y="8"/>
                </a:cxn>
                <a:cxn ang="0">
                  <a:pos x="2" y="8"/>
                </a:cxn>
                <a:cxn ang="0">
                  <a:pos x="2" y="6"/>
                </a:cxn>
                <a:cxn ang="0">
                  <a:pos x="2" y="6"/>
                </a:cxn>
                <a:cxn ang="0">
                  <a:pos x="2" y="6"/>
                </a:cxn>
                <a:cxn ang="0">
                  <a:pos x="0" y="6"/>
                </a:cxn>
                <a:cxn ang="0">
                  <a:pos x="0" y="6"/>
                </a:cxn>
                <a:cxn ang="0">
                  <a:pos x="0" y="2"/>
                </a:cxn>
                <a:cxn ang="0">
                  <a:pos x="0" y="2"/>
                </a:cxn>
                <a:cxn ang="0">
                  <a:pos x="4" y="0"/>
                </a:cxn>
                <a:cxn ang="0">
                  <a:pos x="4" y="0"/>
                </a:cxn>
              </a:cxnLst>
              <a:rect l="0" t="0" r="r" b="b"/>
              <a:pathLst>
                <a:path w="6" h="8">
                  <a:moveTo>
                    <a:pt x="4" y="0"/>
                  </a:moveTo>
                  <a:lnTo>
                    <a:pt x="6" y="0"/>
                  </a:lnTo>
                  <a:lnTo>
                    <a:pt x="6" y="0"/>
                  </a:lnTo>
                  <a:lnTo>
                    <a:pt x="6" y="4"/>
                  </a:lnTo>
                  <a:lnTo>
                    <a:pt x="6" y="8"/>
                  </a:lnTo>
                  <a:lnTo>
                    <a:pt x="6" y="8"/>
                  </a:lnTo>
                  <a:lnTo>
                    <a:pt x="4" y="8"/>
                  </a:lnTo>
                  <a:lnTo>
                    <a:pt x="2" y="8"/>
                  </a:lnTo>
                  <a:lnTo>
                    <a:pt x="2" y="6"/>
                  </a:lnTo>
                  <a:lnTo>
                    <a:pt x="2" y="6"/>
                  </a:lnTo>
                  <a:lnTo>
                    <a:pt x="2" y="6"/>
                  </a:lnTo>
                  <a:lnTo>
                    <a:pt x="0" y="6"/>
                  </a:lnTo>
                  <a:lnTo>
                    <a:pt x="0" y="6"/>
                  </a:lnTo>
                  <a:lnTo>
                    <a:pt x="0" y="2"/>
                  </a:lnTo>
                  <a:lnTo>
                    <a:pt x="0" y="2"/>
                  </a:lnTo>
                  <a:lnTo>
                    <a:pt x="4" y="0"/>
                  </a:lnTo>
                  <a:lnTo>
                    <a:pt x="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8" name="Freeform 210"/>
            <p:cNvSpPr>
              <a:spLocks noChangeAspect="1" noEditPoints="1"/>
            </p:cNvSpPr>
            <p:nvPr/>
          </p:nvSpPr>
          <p:spPr bwMode="gray">
            <a:xfrm>
              <a:off x="5938724" y="2858309"/>
              <a:ext cx="1400053" cy="1082390"/>
            </a:xfrm>
            <a:custGeom>
              <a:avLst/>
              <a:gdLst/>
              <a:ahLst/>
              <a:cxnLst>
                <a:cxn ang="0">
                  <a:pos x="480" y="634"/>
                </a:cxn>
                <a:cxn ang="0">
                  <a:pos x="498" y="654"/>
                </a:cxn>
                <a:cxn ang="0">
                  <a:pos x="510" y="630"/>
                </a:cxn>
                <a:cxn ang="0">
                  <a:pos x="646" y="412"/>
                </a:cxn>
                <a:cxn ang="0">
                  <a:pos x="620" y="354"/>
                </a:cxn>
                <a:cxn ang="0">
                  <a:pos x="644" y="330"/>
                </a:cxn>
                <a:cxn ang="0">
                  <a:pos x="662" y="322"/>
                </a:cxn>
                <a:cxn ang="0">
                  <a:pos x="644" y="308"/>
                </a:cxn>
                <a:cxn ang="0">
                  <a:pos x="614" y="320"/>
                </a:cxn>
                <a:cxn ang="0">
                  <a:pos x="596" y="292"/>
                </a:cxn>
                <a:cxn ang="0">
                  <a:pos x="628" y="268"/>
                </a:cxn>
                <a:cxn ang="0">
                  <a:pos x="662" y="252"/>
                </a:cxn>
                <a:cxn ang="0">
                  <a:pos x="648" y="288"/>
                </a:cxn>
                <a:cxn ang="0">
                  <a:pos x="680" y="268"/>
                </a:cxn>
                <a:cxn ang="0">
                  <a:pos x="708" y="246"/>
                </a:cxn>
                <a:cxn ang="0">
                  <a:pos x="756" y="212"/>
                </a:cxn>
                <a:cxn ang="0">
                  <a:pos x="786" y="166"/>
                </a:cxn>
                <a:cxn ang="0">
                  <a:pos x="814" y="148"/>
                </a:cxn>
                <a:cxn ang="0">
                  <a:pos x="798" y="112"/>
                </a:cxn>
                <a:cxn ang="0">
                  <a:pos x="746" y="72"/>
                </a:cxn>
                <a:cxn ang="0">
                  <a:pos x="682" y="6"/>
                </a:cxn>
                <a:cxn ang="0">
                  <a:pos x="636" y="38"/>
                </a:cxn>
                <a:cxn ang="0">
                  <a:pos x="610" y="78"/>
                </a:cxn>
                <a:cxn ang="0">
                  <a:pos x="582" y="120"/>
                </a:cxn>
                <a:cxn ang="0">
                  <a:pos x="614" y="138"/>
                </a:cxn>
                <a:cxn ang="0">
                  <a:pos x="530" y="176"/>
                </a:cxn>
                <a:cxn ang="0">
                  <a:pos x="458" y="220"/>
                </a:cxn>
                <a:cxn ang="0">
                  <a:pos x="334" y="218"/>
                </a:cxn>
                <a:cxn ang="0">
                  <a:pos x="254" y="162"/>
                </a:cxn>
                <a:cxn ang="0">
                  <a:pos x="208" y="86"/>
                </a:cxn>
                <a:cxn ang="0">
                  <a:pos x="124" y="150"/>
                </a:cxn>
                <a:cxn ang="0">
                  <a:pos x="96" y="218"/>
                </a:cxn>
                <a:cxn ang="0">
                  <a:pos x="68" y="240"/>
                </a:cxn>
                <a:cxn ang="0">
                  <a:pos x="34" y="262"/>
                </a:cxn>
                <a:cxn ang="0">
                  <a:pos x="10" y="268"/>
                </a:cxn>
                <a:cxn ang="0">
                  <a:pos x="14" y="298"/>
                </a:cxn>
                <a:cxn ang="0">
                  <a:pos x="64" y="338"/>
                </a:cxn>
                <a:cxn ang="0">
                  <a:pos x="72" y="390"/>
                </a:cxn>
                <a:cxn ang="0">
                  <a:pos x="104" y="444"/>
                </a:cxn>
                <a:cxn ang="0">
                  <a:pos x="170" y="482"/>
                </a:cxn>
                <a:cxn ang="0">
                  <a:pos x="258" y="484"/>
                </a:cxn>
                <a:cxn ang="0">
                  <a:pos x="322" y="488"/>
                </a:cxn>
                <a:cxn ang="0">
                  <a:pos x="332" y="546"/>
                </a:cxn>
                <a:cxn ang="0">
                  <a:pos x="358" y="574"/>
                </a:cxn>
                <a:cxn ang="0">
                  <a:pos x="388" y="578"/>
                </a:cxn>
                <a:cxn ang="0">
                  <a:pos x="460" y="596"/>
                </a:cxn>
                <a:cxn ang="0">
                  <a:pos x="488" y="598"/>
                </a:cxn>
                <a:cxn ang="0">
                  <a:pos x="496" y="608"/>
                </a:cxn>
                <a:cxn ang="0">
                  <a:pos x="516" y="594"/>
                </a:cxn>
                <a:cxn ang="0">
                  <a:pos x="544" y="578"/>
                </a:cxn>
                <a:cxn ang="0">
                  <a:pos x="556" y="578"/>
                </a:cxn>
                <a:cxn ang="0">
                  <a:pos x="580" y="572"/>
                </a:cxn>
                <a:cxn ang="0">
                  <a:pos x="594" y="556"/>
                </a:cxn>
                <a:cxn ang="0">
                  <a:pos x="616" y="538"/>
                </a:cxn>
                <a:cxn ang="0">
                  <a:pos x="624" y="528"/>
                </a:cxn>
                <a:cxn ang="0">
                  <a:pos x="628" y="502"/>
                </a:cxn>
                <a:cxn ang="0">
                  <a:pos x="640" y="484"/>
                </a:cxn>
                <a:cxn ang="0">
                  <a:pos x="646" y="472"/>
                </a:cxn>
                <a:cxn ang="0">
                  <a:pos x="660" y="450"/>
                </a:cxn>
                <a:cxn ang="0">
                  <a:pos x="640" y="440"/>
                </a:cxn>
              </a:cxnLst>
              <a:rect l="0" t="0" r="r" b="b"/>
              <a:pathLst>
                <a:path w="824" h="658">
                  <a:moveTo>
                    <a:pt x="506" y="624"/>
                  </a:moveTo>
                  <a:lnTo>
                    <a:pt x="506" y="624"/>
                  </a:lnTo>
                  <a:lnTo>
                    <a:pt x="498" y="626"/>
                  </a:lnTo>
                  <a:lnTo>
                    <a:pt x="492" y="628"/>
                  </a:lnTo>
                  <a:lnTo>
                    <a:pt x="492" y="628"/>
                  </a:lnTo>
                  <a:lnTo>
                    <a:pt x="488" y="628"/>
                  </a:lnTo>
                  <a:lnTo>
                    <a:pt x="484" y="630"/>
                  </a:lnTo>
                  <a:lnTo>
                    <a:pt x="484" y="630"/>
                  </a:lnTo>
                  <a:lnTo>
                    <a:pt x="484" y="632"/>
                  </a:lnTo>
                  <a:lnTo>
                    <a:pt x="484" y="634"/>
                  </a:lnTo>
                  <a:lnTo>
                    <a:pt x="484" y="634"/>
                  </a:lnTo>
                  <a:lnTo>
                    <a:pt x="482" y="634"/>
                  </a:lnTo>
                  <a:lnTo>
                    <a:pt x="480" y="634"/>
                  </a:lnTo>
                  <a:lnTo>
                    <a:pt x="480" y="634"/>
                  </a:lnTo>
                  <a:lnTo>
                    <a:pt x="474" y="638"/>
                  </a:lnTo>
                  <a:lnTo>
                    <a:pt x="474" y="638"/>
                  </a:lnTo>
                  <a:lnTo>
                    <a:pt x="474" y="646"/>
                  </a:lnTo>
                  <a:lnTo>
                    <a:pt x="476" y="652"/>
                  </a:lnTo>
                  <a:lnTo>
                    <a:pt x="476" y="652"/>
                  </a:lnTo>
                  <a:lnTo>
                    <a:pt x="478" y="652"/>
                  </a:lnTo>
                  <a:lnTo>
                    <a:pt x="482" y="654"/>
                  </a:lnTo>
                  <a:lnTo>
                    <a:pt x="482" y="654"/>
                  </a:lnTo>
                  <a:lnTo>
                    <a:pt x="488" y="658"/>
                  </a:lnTo>
                  <a:lnTo>
                    <a:pt x="488" y="658"/>
                  </a:lnTo>
                  <a:lnTo>
                    <a:pt x="498" y="654"/>
                  </a:lnTo>
                  <a:lnTo>
                    <a:pt x="498" y="654"/>
                  </a:lnTo>
                  <a:lnTo>
                    <a:pt x="498" y="650"/>
                  </a:lnTo>
                  <a:lnTo>
                    <a:pt x="498" y="650"/>
                  </a:lnTo>
                  <a:lnTo>
                    <a:pt x="502" y="650"/>
                  </a:lnTo>
                  <a:lnTo>
                    <a:pt x="504" y="648"/>
                  </a:lnTo>
                  <a:lnTo>
                    <a:pt x="504" y="648"/>
                  </a:lnTo>
                  <a:lnTo>
                    <a:pt x="504" y="646"/>
                  </a:lnTo>
                  <a:lnTo>
                    <a:pt x="504" y="642"/>
                  </a:lnTo>
                  <a:lnTo>
                    <a:pt x="506" y="640"/>
                  </a:lnTo>
                  <a:lnTo>
                    <a:pt x="506" y="640"/>
                  </a:lnTo>
                  <a:lnTo>
                    <a:pt x="508" y="634"/>
                  </a:lnTo>
                  <a:lnTo>
                    <a:pt x="510" y="632"/>
                  </a:lnTo>
                  <a:lnTo>
                    <a:pt x="510" y="632"/>
                  </a:lnTo>
                  <a:lnTo>
                    <a:pt x="510" y="630"/>
                  </a:lnTo>
                  <a:lnTo>
                    <a:pt x="510" y="630"/>
                  </a:lnTo>
                  <a:lnTo>
                    <a:pt x="510" y="630"/>
                  </a:lnTo>
                  <a:lnTo>
                    <a:pt x="510" y="630"/>
                  </a:lnTo>
                  <a:lnTo>
                    <a:pt x="510" y="626"/>
                  </a:lnTo>
                  <a:lnTo>
                    <a:pt x="510" y="626"/>
                  </a:lnTo>
                  <a:lnTo>
                    <a:pt x="506" y="624"/>
                  </a:lnTo>
                  <a:lnTo>
                    <a:pt x="506" y="624"/>
                  </a:lnTo>
                  <a:close/>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lnTo>
                    <a:pt x="630" y="416"/>
                  </a:lnTo>
                  <a:close/>
                </a:path>
              </a:pathLst>
            </a:custGeom>
            <a:grpFill/>
            <a:ln w="3175" cmpd="sng">
              <a:solidFill>
                <a:srgbClr val="FFFFFF"/>
              </a:solidFill>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59" name="Freeform 211"/>
            <p:cNvSpPr>
              <a:spLocks noChangeAspect="1"/>
            </p:cNvSpPr>
            <p:nvPr/>
          </p:nvSpPr>
          <p:spPr bwMode="gray">
            <a:xfrm>
              <a:off x="6744578" y="3884770"/>
              <a:ext cx="61144" cy="55929"/>
            </a:xfrm>
            <a:custGeom>
              <a:avLst/>
              <a:gdLst/>
              <a:ahLst/>
              <a:cxnLst>
                <a:cxn ang="0">
                  <a:pos x="32" y="0"/>
                </a:cxn>
                <a:cxn ang="0">
                  <a:pos x="32" y="0"/>
                </a:cxn>
                <a:cxn ang="0">
                  <a:pos x="24" y="2"/>
                </a:cxn>
                <a:cxn ang="0">
                  <a:pos x="18" y="4"/>
                </a:cxn>
                <a:cxn ang="0">
                  <a:pos x="18" y="4"/>
                </a:cxn>
                <a:cxn ang="0">
                  <a:pos x="14" y="4"/>
                </a:cxn>
                <a:cxn ang="0">
                  <a:pos x="10" y="6"/>
                </a:cxn>
                <a:cxn ang="0">
                  <a:pos x="10" y="6"/>
                </a:cxn>
                <a:cxn ang="0">
                  <a:pos x="10" y="8"/>
                </a:cxn>
                <a:cxn ang="0">
                  <a:pos x="10" y="10"/>
                </a:cxn>
                <a:cxn ang="0">
                  <a:pos x="10" y="10"/>
                </a:cxn>
                <a:cxn ang="0">
                  <a:pos x="8" y="10"/>
                </a:cxn>
                <a:cxn ang="0">
                  <a:pos x="6" y="10"/>
                </a:cxn>
                <a:cxn ang="0">
                  <a:pos x="6" y="10"/>
                </a:cxn>
                <a:cxn ang="0">
                  <a:pos x="0" y="14"/>
                </a:cxn>
                <a:cxn ang="0">
                  <a:pos x="0" y="14"/>
                </a:cxn>
                <a:cxn ang="0">
                  <a:pos x="0" y="22"/>
                </a:cxn>
                <a:cxn ang="0">
                  <a:pos x="2" y="28"/>
                </a:cxn>
                <a:cxn ang="0">
                  <a:pos x="2" y="28"/>
                </a:cxn>
                <a:cxn ang="0">
                  <a:pos x="4" y="28"/>
                </a:cxn>
                <a:cxn ang="0">
                  <a:pos x="8" y="30"/>
                </a:cxn>
                <a:cxn ang="0">
                  <a:pos x="8" y="30"/>
                </a:cxn>
                <a:cxn ang="0">
                  <a:pos x="14" y="34"/>
                </a:cxn>
                <a:cxn ang="0">
                  <a:pos x="14" y="34"/>
                </a:cxn>
                <a:cxn ang="0">
                  <a:pos x="24" y="30"/>
                </a:cxn>
                <a:cxn ang="0">
                  <a:pos x="24" y="30"/>
                </a:cxn>
                <a:cxn ang="0">
                  <a:pos x="24" y="26"/>
                </a:cxn>
                <a:cxn ang="0">
                  <a:pos x="24" y="26"/>
                </a:cxn>
                <a:cxn ang="0">
                  <a:pos x="28" y="26"/>
                </a:cxn>
                <a:cxn ang="0">
                  <a:pos x="30" y="24"/>
                </a:cxn>
                <a:cxn ang="0">
                  <a:pos x="30" y="24"/>
                </a:cxn>
                <a:cxn ang="0">
                  <a:pos x="30" y="22"/>
                </a:cxn>
                <a:cxn ang="0">
                  <a:pos x="30" y="18"/>
                </a:cxn>
                <a:cxn ang="0">
                  <a:pos x="32" y="16"/>
                </a:cxn>
                <a:cxn ang="0">
                  <a:pos x="32" y="16"/>
                </a:cxn>
                <a:cxn ang="0">
                  <a:pos x="34" y="10"/>
                </a:cxn>
                <a:cxn ang="0">
                  <a:pos x="36" y="8"/>
                </a:cxn>
                <a:cxn ang="0">
                  <a:pos x="36" y="8"/>
                </a:cxn>
                <a:cxn ang="0">
                  <a:pos x="36" y="6"/>
                </a:cxn>
                <a:cxn ang="0">
                  <a:pos x="36" y="6"/>
                </a:cxn>
                <a:cxn ang="0">
                  <a:pos x="36" y="6"/>
                </a:cxn>
                <a:cxn ang="0">
                  <a:pos x="36" y="6"/>
                </a:cxn>
                <a:cxn ang="0">
                  <a:pos x="36" y="2"/>
                </a:cxn>
                <a:cxn ang="0">
                  <a:pos x="36" y="2"/>
                </a:cxn>
                <a:cxn ang="0">
                  <a:pos x="32" y="0"/>
                </a:cxn>
                <a:cxn ang="0">
                  <a:pos x="32" y="0"/>
                </a:cxn>
              </a:cxnLst>
              <a:rect l="0" t="0" r="r" b="b"/>
              <a:pathLst>
                <a:path w="36" h="34">
                  <a:moveTo>
                    <a:pt x="32" y="0"/>
                  </a:moveTo>
                  <a:lnTo>
                    <a:pt x="32" y="0"/>
                  </a:lnTo>
                  <a:lnTo>
                    <a:pt x="24" y="2"/>
                  </a:lnTo>
                  <a:lnTo>
                    <a:pt x="18" y="4"/>
                  </a:lnTo>
                  <a:lnTo>
                    <a:pt x="18" y="4"/>
                  </a:lnTo>
                  <a:lnTo>
                    <a:pt x="14" y="4"/>
                  </a:lnTo>
                  <a:lnTo>
                    <a:pt x="10" y="6"/>
                  </a:lnTo>
                  <a:lnTo>
                    <a:pt x="10" y="6"/>
                  </a:lnTo>
                  <a:lnTo>
                    <a:pt x="10" y="8"/>
                  </a:lnTo>
                  <a:lnTo>
                    <a:pt x="10" y="10"/>
                  </a:lnTo>
                  <a:lnTo>
                    <a:pt x="10" y="10"/>
                  </a:lnTo>
                  <a:lnTo>
                    <a:pt x="8" y="10"/>
                  </a:lnTo>
                  <a:lnTo>
                    <a:pt x="6" y="10"/>
                  </a:lnTo>
                  <a:lnTo>
                    <a:pt x="6" y="10"/>
                  </a:lnTo>
                  <a:lnTo>
                    <a:pt x="0" y="14"/>
                  </a:lnTo>
                  <a:lnTo>
                    <a:pt x="0" y="14"/>
                  </a:lnTo>
                  <a:lnTo>
                    <a:pt x="0" y="22"/>
                  </a:lnTo>
                  <a:lnTo>
                    <a:pt x="2" y="28"/>
                  </a:lnTo>
                  <a:lnTo>
                    <a:pt x="2" y="28"/>
                  </a:lnTo>
                  <a:lnTo>
                    <a:pt x="4" y="28"/>
                  </a:lnTo>
                  <a:lnTo>
                    <a:pt x="8" y="30"/>
                  </a:lnTo>
                  <a:lnTo>
                    <a:pt x="8" y="30"/>
                  </a:lnTo>
                  <a:lnTo>
                    <a:pt x="14" y="34"/>
                  </a:lnTo>
                  <a:lnTo>
                    <a:pt x="14" y="34"/>
                  </a:lnTo>
                  <a:lnTo>
                    <a:pt x="24" y="30"/>
                  </a:lnTo>
                  <a:lnTo>
                    <a:pt x="24" y="30"/>
                  </a:lnTo>
                  <a:lnTo>
                    <a:pt x="24" y="26"/>
                  </a:lnTo>
                  <a:lnTo>
                    <a:pt x="24" y="26"/>
                  </a:lnTo>
                  <a:lnTo>
                    <a:pt x="28" y="26"/>
                  </a:lnTo>
                  <a:lnTo>
                    <a:pt x="30" y="24"/>
                  </a:lnTo>
                  <a:lnTo>
                    <a:pt x="30" y="24"/>
                  </a:lnTo>
                  <a:lnTo>
                    <a:pt x="30" y="22"/>
                  </a:lnTo>
                  <a:lnTo>
                    <a:pt x="30" y="18"/>
                  </a:lnTo>
                  <a:lnTo>
                    <a:pt x="32" y="16"/>
                  </a:lnTo>
                  <a:lnTo>
                    <a:pt x="32" y="16"/>
                  </a:lnTo>
                  <a:lnTo>
                    <a:pt x="34" y="10"/>
                  </a:lnTo>
                  <a:lnTo>
                    <a:pt x="36" y="8"/>
                  </a:lnTo>
                  <a:lnTo>
                    <a:pt x="36" y="8"/>
                  </a:lnTo>
                  <a:lnTo>
                    <a:pt x="36" y="6"/>
                  </a:lnTo>
                  <a:lnTo>
                    <a:pt x="36" y="6"/>
                  </a:lnTo>
                  <a:lnTo>
                    <a:pt x="36" y="6"/>
                  </a:lnTo>
                  <a:lnTo>
                    <a:pt x="36" y="6"/>
                  </a:lnTo>
                  <a:lnTo>
                    <a:pt x="36" y="2"/>
                  </a:lnTo>
                  <a:lnTo>
                    <a:pt x="36" y="2"/>
                  </a:lnTo>
                  <a:lnTo>
                    <a:pt x="32" y="0"/>
                  </a:lnTo>
                  <a:lnTo>
                    <a:pt x="32" y="0"/>
                  </a:lnTo>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0" name="Freeform 212"/>
            <p:cNvSpPr>
              <a:spLocks noChangeAspect="1"/>
            </p:cNvSpPr>
            <p:nvPr/>
          </p:nvSpPr>
          <p:spPr bwMode="gray">
            <a:xfrm>
              <a:off x="5938724" y="2858309"/>
              <a:ext cx="1400053" cy="1019881"/>
            </a:xfrm>
            <a:custGeom>
              <a:avLst/>
              <a:gdLst/>
              <a:ahLst/>
              <a:cxnLst>
                <a:cxn ang="0">
                  <a:pos x="624" y="386"/>
                </a:cxn>
                <a:cxn ang="0">
                  <a:pos x="628" y="342"/>
                </a:cxn>
                <a:cxn ang="0">
                  <a:pos x="650" y="326"/>
                </a:cxn>
                <a:cxn ang="0">
                  <a:pos x="666" y="312"/>
                </a:cxn>
                <a:cxn ang="0">
                  <a:pos x="630" y="308"/>
                </a:cxn>
                <a:cxn ang="0">
                  <a:pos x="614" y="320"/>
                </a:cxn>
                <a:cxn ang="0">
                  <a:pos x="596" y="292"/>
                </a:cxn>
                <a:cxn ang="0">
                  <a:pos x="626" y="268"/>
                </a:cxn>
                <a:cxn ang="0">
                  <a:pos x="644" y="246"/>
                </a:cxn>
                <a:cxn ang="0">
                  <a:pos x="654" y="278"/>
                </a:cxn>
                <a:cxn ang="0">
                  <a:pos x="654" y="284"/>
                </a:cxn>
                <a:cxn ang="0">
                  <a:pos x="692" y="268"/>
                </a:cxn>
                <a:cxn ang="0">
                  <a:pos x="742" y="232"/>
                </a:cxn>
                <a:cxn ang="0">
                  <a:pos x="776" y="200"/>
                </a:cxn>
                <a:cxn ang="0">
                  <a:pos x="786" y="162"/>
                </a:cxn>
                <a:cxn ang="0">
                  <a:pos x="824" y="124"/>
                </a:cxn>
                <a:cxn ang="0">
                  <a:pos x="784" y="120"/>
                </a:cxn>
                <a:cxn ang="0">
                  <a:pos x="734" y="70"/>
                </a:cxn>
                <a:cxn ang="0">
                  <a:pos x="676" y="2"/>
                </a:cxn>
                <a:cxn ang="0">
                  <a:pos x="636" y="38"/>
                </a:cxn>
                <a:cxn ang="0">
                  <a:pos x="614" y="76"/>
                </a:cxn>
                <a:cxn ang="0">
                  <a:pos x="572" y="110"/>
                </a:cxn>
                <a:cxn ang="0">
                  <a:pos x="620" y="136"/>
                </a:cxn>
                <a:cxn ang="0">
                  <a:pos x="570" y="160"/>
                </a:cxn>
                <a:cxn ang="0">
                  <a:pos x="508" y="208"/>
                </a:cxn>
                <a:cxn ang="0">
                  <a:pos x="398" y="230"/>
                </a:cxn>
                <a:cxn ang="0">
                  <a:pos x="298" y="188"/>
                </a:cxn>
                <a:cxn ang="0">
                  <a:pos x="246" y="132"/>
                </a:cxn>
                <a:cxn ang="0">
                  <a:pos x="172" y="106"/>
                </a:cxn>
                <a:cxn ang="0">
                  <a:pos x="128" y="168"/>
                </a:cxn>
                <a:cxn ang="0">
                  <a:pos x="86" y="224"/>
                </a:cxn>
                <a:cxn ang="0">
                  <a:pos x="62" y="240"/>
                </a:cxn>
                <a:cxn ang="0">
                  <a:pos x="34" y="262"/>
                </a:cxn>
                <a:cxn ang="0">
                  <a:pos x="14" y="262"/>
                </a:cxn>
                <a:cxn ang="0">
                  <a:pos x="16" y="288"/>
                </a:cxn>
                <a:cxn ang="0">
                  <a:pos x="50" y="346"/>
                </a:cxn>
                <a:cxn ang="0">
                  <a:pos x="74" y="372"/>
                </a:cxn>
                <a:cxn ang="0">
                  <a:pos x="78" y="426"/>
                </a:cxn>
                <a:cxn ang="0">
                  <a:pos x="142" y="460"/>
                </a:cxn>
                <a:cxn ang="0">
                  <a:pos x="214" y="488"/>
                </a:cxn>
                <a:cxn ang="0">
                  <a:pos x="288" y="476"/>
                </a:cxn>
                <a:cxn ang="0">
                  <a:pos x="334" y="498"/>
                </a:cxn>
                <a:cxn ang="0">
                  <a:pos x="334" y="560"/>
                </a:cxn>
                <a:cxn ang="0">
                  <a:pos x="354" y="584"/>
                </a:cxn>
                <a:cxn ang="0">
                  <a:pos x="394" y="580"/>
                </a:cxn>
                <a:cxn ang="0">
                  <a:pos x="460" y="596"/>
                </a:cxn>
                <a:cxn ang="0">
                  <a:pos x="488" y="596"/>
                </a:cxn>
                <a:cxn ang="0">
                  <a:pos x="500" y="612"/>
                </a:cxn>
                <a:cxn ang="0">
                  <a:pos x="512" y="596"/>
                </a:cxn>
                <a:cxn ang="0">
                  <a:pos x="526" y="590"/>
                </a:cxn>
                <a:cxn ang="0">
                  <a:pos x="550" y="572"/>
                </a:cxn>
                <a:cxn ang="0">
                  <a:pos x="570" y="574"/>
                </a:cxn>
                <a:cxn ang="0">
                  <a:pos x="588" y="560"/>
                </a:cxn>
                <a:cxn ang="0">
                  <a:pos x="600" y="552"/>
                </a:cxn>
                <a:cxn ang="0">
                  <a:pos x="616" y="534"/>
                </a:cxn>
                <a:cxn ang="0">
                  <a:pos x="626" y="526"/>
                </a:cxn>
                <a:cxn ang="0">
                  <a:pos x="632" y="500"/>
                </a:cxn>
                <a:cxn ang="0">
                  <a:pos x="638" y="484"/>
                </a:cxn>
                <a:cxn ang="0">
                  <a:pos x="646" y="472"/>
                </a:cxn>
                <a:cxn ang="0">
                  <a:pos x="658" y="450"/>
                </a:cxn>
                <a:cxn ang="0">
                  <a:pos x="640" y="442"/>
                </a:cxn>
              </a:cxnLst>
              <a:rect l="0" t="0" r="r" b="b"/>
              <a:pathLst>
                <a:path w="824" h="620">
                  <a:moveTo>
                    <a:pt x="630" y="416"/>
                  </a:moveTo>
                  <a:lnTo>
                    <a:pt x="630" y="416"/>
                  </a:lnTo>
                  <a:lnTo>
                    <a:pt x="638" y="414"/>
                  </a:lnTo>
                  <a:lnTo>
                    <a:pt x="646" y="416"/>
                  </a:lnTo>
                  <a:lnTo>
                    <a:pt x="646" y="416"/>
                  </a:lnTo>
                  <a:lnTo>
                    <a:pt x="646" y="412"/>
                  </a:lnTo>
                  <a:lnTo>
                    <a:pt x="646" y="412"/>
                  </a:lnTo>
                  <a:lnTo>
                    <a:pt x="636" y="400"/>
                  </a:lnTo>
                  <a:lnTo>
                    <a:pt x="632" y="392"/>
                  </a:lnTo>
                  <a:lnTo>
                    <a:pt x="630" y="384"/>
                  </a:lnTo>
                  <a:lnTo>
                    <a:pt x="630" y="384"/>
                  </a:lnTo>
                  <a:lnTo>
                    <a:pt x="624" y="386"/>
                  </a:lnTo>
                  <a:lnTo>
                    <a:pt x="624" y="386"/>
                  </a:lnTo>
                  <a:lnTo>
                    <a:pt x="626" y="382"/>
                  </a:lnTo>
                  <a:lnTo>
                    <a:pt x="626" y="382"/>
                  </a:lnTo>
                  <a:lnTo>
                    <a:pt x="620" y="370"/>
                  </a:lnTo>
                  <a:lnTo>
                    <a:pt x="618" y="362"/>
                  </a:lnTo>
                  <a:lnTo>
                    <a:pt x="620" y="354"/>
                  </a:lnTo>
                  <a:lnTo>
                    <a:pt x="620" y="354"/>
                  </a:lnTo>
                  <a:lnTo>
                    <a:pt x="622" y="352"/>
                  </a:lnTo>
                  <a:lnTo>
                    <a:pt x="624" y="350"/>
                  </a:lnTo>
                  <a:lnTo>
                    <a:pt x="628" y="348"/>
                  </a:lnTo>
                  <a:lnTo>
                    <a:pt x="628" y="348"/>
                  </a:lnTo>
                  <a:lnTo>
                    <a:pt x="628" y="342"/>
                  </a:lnTo>
                  <a:lnTo>
                    <a:pt x="628" y="342"/>
                  </a:lnTo>
                  <a:lnTo>
                    <a:pt x="632" y="338"/>
                  </a:lnTo>
                  <a:lnTo>
                    <a:pt x="636" y="334"/>
                  </a:lnTo>
                  <a:lnTo>
                    <a:pt x="636" y="334"/>
                  </a:lnTo>
                  <a:lnTo>
                    <a:pt x="638" y="332"/>
                  </a:lnTo>
                  <a:lnTo>
                    <a:pt x="638" y="332"/>
                  </a:lnTo>
                  <a:lnTo>
                    <a:pt x="644" y="330"/>
                  </a:lnTo>
                  <a:lnTo>
                    <a:pt x="644" y="330"/>
                  </a:lnTo>
                  <a:lnTo>
                    <a:pt x="646" y="326"/>
                  </a:lnTo>
                  <a:lnTo>
                    <a:pt x="646" y="326"/>
                  </a:lnTo>
                  <a:lnTo>
                    <a:pt x="650" y="326"/>
                  </a:lnTo>
                  <a:lnTo>
                    <a:pt x="650" y="326"/>
                  </a:lnTo>
                  <a:lnTo>
                    <a:pt x="652" y="324"/>
                  </a:lnTo>
                  <a:lnTo>
                    <a:pt x="652" y="324"/>
                  </a:lnTo>
                  <a:lnTo>
                    <a:pt x="654" y="322"/>
                  </a:lnTo>
                  <a:lnTo>
                    <a:pt x="654" y="322"/>
                  </a:lnTo>
                  <a:lnTo>
                    <a:pt x="654" y="322"/>
                  </a:lnTo>
                  <a:lnTo>
                    <a:pt x="658" y="324"/>
                  </a:lnTo>
                  <a:lnTo>
                    <a:pt x="658" y="324"/>
                  </a:lnTo>
                  <a:lnTo>
                    <a:pt x="660" y="322"/>
                  </a:lnTo>
                  <a:lnTo>
                    <a:pt x="662" y="322"/>
                  </a:lnTo>
                  <a:lnTo>
                    <a:pt x="662" y="322"/>
                  </a:lnTo>
                  <a:lnTo>
                    <a:pt x="666" y="314"/>
                  </a:lnTo>
                  <a:lnTo>
                    <a:pt x="666" y="312"/>
                  </a:lnTo>
                  <a:lnTo>
                    <a:pt x="666" y="312"/>
                  </a:lnTo>
                  <a:lnTo>
                    <a:pt x="660" y="310"/>
                  </a:lnTo>
                  <a:lnTo>
                    <a:pt x="660" y="310"/>
                  </a:lnTo>
                  <a:lnTo>
                    <a:pt x="656" y="310"/>
                  </a:lnTo>
                  <a:lnTo>
                    <a:pt x="654" y="312"/>
                  </a:lnTo>
                  <a:lnTo>
                    <a:pt x="650" y="312"/>
                  </a:lnTo>
                  <a:lnTo>
                    <a:pt x="646" y="312"/>
                  </a:lnTo>
                  <a:lnTo>
                    <a:pt x="646" y="312"/>
                  </a:lnTo>
                  <a:lnTo>
                    <a:pt x="644" y="308"/>
                  </a:lnTo>
                  <a:lnTo>
                    <a:pt x="644" y="308"/>
                  </a:lnTo>
                  <a:lnTo>
                    <a:pt x="638" y="308"/>
                  </a:lnTo>
                  <a:lnTo>
                    <a:pt x="630" y="308"/>
                  </a:lnTo>
                  <a:lnTo>
                    <a:pt x="630" y="308"/>
                  </a:lnTo>
                  <a:lnTo>
                    <a:pt x="630" y="312"/>
                  </a:lnTo>
                  <a:lnTo>
                    <a:pt x="630" y="312"/>
                  </a:lnTo>
                  <a:lnTo>
                    <a:pt x="624" y="314"/>
                  </a:lnTo>
                  <a:lnTo>
                    <a:pt x="624" y="314"/>
                  </a:lnTo>
                  <a:lnTo>
                    <a:pt x="622" y="316"/>
                  </a:lnTo>
                  <a:lnTo>
                    <a:pt x="622" y="318"/>
                  </a:lnTo>
                  <a:lnTo>
                    <a:pt x="622" y="318"/>
                  </a:lnTo>
                  <a:lnTo>
                    <a:pt x="616" y="318"/>
                  </a:lnTo>
                  <a:lnTo>
                    <a:pt x="616" y="318"/>
                  </a:lnTo>
                  <a:lnTo>
                    <a:pt x="614" y="320"/>
                  </a:lnTo>
                  <a:lnTo>
                    <a:pt x="614" y="320"/>
                  </a:lnTo>
                  <a:lnTo>
                    <a:pt x="610" y="320"/>
                  </a:lnTo>
                  <a:lnTo>
                    <a:pt x="610" y="320"/>
                  </a:lnTo>
                  <a:lnTo>
                    <a:pt x="608" y="316"/>
                  </a:lnTo>
                  <a:lnTo>
                    <a:pt x="608" y="312"/>
                  </a:lnTo>
                  <a:lnTo>
                    <a:pt x="608" y="312"/>
                  </a:lnTo>
                  <a:lnTo>
                    <a:pt x="606" y="308"/>
                  </a:lnTo>
                  <a:lnTo>
                    <a:pt x="604" y="304"/>
                  </a:lnTo>
                  <a:lnTo>
                    <a:pt x="602" y="304"/>
                  </a:lnTo>
                  <a:lnTo>
                    <a:pt x="602" y="304"/>
                  </a:lnTo>
                  <a:lnTo>
                    <a:pt x="598" y="298"/>
                  </a:lnTo>
                  <a:lnTo>
                    <a:pt x="596" y="292"/>
                  </a:lnTo>
                  <a:lnTo>
                    <a:pt x="596" y="292"/>
                  </a:lnTo>
                  <a:lnTo>
                    <a:pt x="596" y="286"/>
                  </a:lnTo>
                  <a:lnTo>
                    <a:pt x="596" y="286"/>
                  </a:lnTo>
                  <a:lnTo>
                    <a:pt x="598" y="284"/>
                  </a:lnTo>
                  <a:lnTo>
                    <a:pt x="598" y="284"/>
                  </a:lnTo>
                  <a:lnTo>
                    <a:pt x="606" y="284"/>
                  </a:lnTo>
                  <a:lnTo>
                    <a:pt x="612" y="284"/>
                  </a:lnTo>
                  <a:lnTo>
                    <a:pt x="612" y="284"/>
                  </a:lnTo>
                  <a:lnTo>
                    <a:pt x="614" y="280"/>
                  </a:lnTo>
                  <a:lnTo>
                    <a:pt x="618" y="274"/>
                  </a:lnTo>
                  <a:lnTo>
                    <a:pt x="618" y="274"/>
                  </a:lnTo>
                  <a:lnTo>
                    <a:pt x="626" y="268"/>
                  </a:lnTo>
                  <a:lnTo>
                    <a:pt x="626" y="268"/>
                  </a:lnTo>
                  <a:lnTo>
                    <a:pt x="628" y="268"/>
                  </a:lnTo>
                  <a:lnTo>
                    <a:pt x="628" y="268"/>
                  </a:lnTo>
                  <a:lnTo>
                    <a:pt x="630" y="266"/>
                  </a:lnTo>
                  <a:lnTo>
                    <a:pt x="632" y="262"/>
                  </a:lnTo>
                  <a:lnTo>
                    <a:pt x="634" y="262"/>
                  </a:lnTo>
                  <a:lnTo>
                    <a:pt x="634" y="262"/>
                  </a:lnTo>
                  <a:lnTo>
                    <a:pt x="636" y="260"/>
                  </a:lnTo>
                  <a:lnTo>
                    <a:pt x="636" y="256"/>
                  </a:lnTo>
                  <a:lnTo>
                    <a:pt x="636" y="256"/>
                  </a:lnTo>
                  <a:lnTo>
                    <a:pt x="640" y="250"/>
                  </a:lnTo>
                  <a:lnTo>
                    <a:pt x="644" y="246"/>
                  </a:lnTo>
                  <a:lnTo>
                    <a:pt x="644" y="246"/>
                  </a:lnTo>
                  <a:lnTo>
                    <a:pt x="662" y="252"/>
                  </a:lnTo>
                  <a:lnTo>
                    <a:pt x="662" y="252"/>
                  </a:lnTo>
                  <a:lnTo>
                    <a:pt x="656" y="260"/>
                  </a:lnTo>
                  <a:lnTo>
                    <a:pt x="650" y="268"/>
                  </a:lnTo>
                  <a:lnTo>
                    <a:pt x="650" y="268"/>
                  </a:lnTo>
                  <a:lnTo>
                    <a:pt x="648" y="270"/>
                  </a:lnTo>
                  <a:lnTo>
                    <a:pt x="648" y="270"/>
                  </a:lnTo>
                  <a:lnTo>
                    <a:pt x="648" y="274"/>
                  </a:lnTo>
                  <a:lnTo>
                    <a:pt x="648" y="278"/>
                  </a:lnTo>
                  <a:lnTo>
                    <a:pt x="648" y="278"/>
                  </a:lnTo>
                  <a:lnTo>
                    <a:pt x="654" y="278"/>
                  </a:lnTo>
                  <a:lnTo>
                    <a:pt x="654" y="278"/>
                  </a:lnTo>
                  <a:lnTo>
                    <a:pt x="650" y="282"/>
                  </a:lnTo>
                  <a:lnTo>
                    <a:pt x="648" y="286"/>
                  </a:lnTo>
                  <a:lnTo>
                    <a:pt x="648" y="288"/>
                  </a:lnTo>
                  <a:lnTo>
                    <a:pt x="648" y="288"/>
                  </a:lnTo>
                  <a:lnTo>
                    <a:pt x="650" y="288"/>
                  </a:lnTo>
                  <a:lnTo>
                    <a:pt x="650" y="288"/>
                  </a:lnTo>
                  <a:lnTo>
                    <a:pt x="650" y="288"/>
                  </a:lnTo>
                  <a:lnTo>
                    <a:pt x="650" y="288"/>
                  </a:lnTo>
                  <a:lnTo>
                    <a:pt x="654" y="288"/>
                  </a:lnTo>
                  <a:lnTo>
                    <a:pt x="654" y="288"/>
                  </a:lnTo>
                  <a:lnTo>
                    <a:pt x="654" y="286"/>
                  </a:lnTo>
                  <a:lnTo>
                    <a:pt x="654" y="284"/>
                  </a:lnTo>
                  <a:lnTo>
                    <a:pt x="654" y="284"/>
                  </a:lnTo>
                  <a:lnTo>
                    <a:pt x="666" y="274"/>
                  </a:lnTo>
                  <a:lnTo>
                    <a:pt x="676" y="268"/>
                  </a:lnTo>
                  <a:lnTo>
                    <a:pt x="680" y="268"/>
                  </a:lnTo>
                  <a:lnTo>
                    <a:pt x="684" y="268"/>
                  </a:lnTo>
                  <a:lnTo>
                    <a:pt x="684" y="268"/>
                  </a:lnTo>
                  <a:lnTo>
                    <a:pt x="688" y="270"/>
                  </a:lnTo>
                  <a:lnTo>
                    <a:pt x="688" y="270"/>
                  </a:lnTo>
                  <a:lnTo>
                    <a:pt x="688" y="270"/>
                  </a:lnTo>
                  <a:lnTo>
                    <a:pt x="690" y="270"/>
                  </a:lnTo>
                  <a:lnTo>
                    <a:pt x="690" y="268"/>
                  </a:lnTo>
                  <a:lnTo>
                    <a:pt x="692" y="268"/>
                  </a:lnTo>
                  <a:lnTo>
                    <a:pt x="692" y="268"/>
                  </a:lnTo>
                  <a:lnTo>
                    <a:pt x="692" y="270"/>
                  </a:lnTo>
                  <a:lnTo>
                    <a:pt x="698" y="260"/>
                  </a:lnTo>
                  <a:lnTo>
                    <a:pt x="702" y="254"/>
                  </a:lnTo>
                  <a:lnTo>
                    <a:pt x="708" y="246"/>
                  </a:lnTo>
                  <a:lnTo>
                    <a:pt x="712" y="240"/>
                  </a:lnTo>
                  <a:lnTo>
                    <a:pt x="720" y="232"/>
                  </a:lnTo>
                  <a:lnTo>
                    <a:pt x="720" y="224"/>
                  </a:lnTo>
                  <a:lnTo>
                    <a:pt x="726" y="222"/>
                  </a:lnTo>
                  <a:lnTo>
                    <a:pt x="730" y="228"/>
                  </a:lnTo>
                  <a:lnTo>
                    <a:pt x="734" y="230"/>
                  </a:lnTo>
                  <a:lnTo>
                    <a:pt x="742" y="232"/>
                  </a:lnTo>
                  <a:lnTo>
                    <a:pt x="742" y="226"/>
                  </a:lnTo>
                  <a:lnTo>
                    <a:pt x="742" y="222"/>
                  </a:lnTo>
                  <a:lnTo>
                    <a:pt x="746" y="218"/>
                  </a:lnTo>
                  <a:lnTo>
                    <a:pt x="752" y="218"/>
                  </a:lnTo>
                  <a:lnTo>
                    <a:pt x="756" y="216"/>
                  </a:lnTo>
                  <a:lnTo>
                    <a:pt x="756" y="212"/>
                  </a:lnTo>
                  <a:lnTo>
                    <a:pt x="762" y="210"/>
                  </a:lnTo>
                  <a:lnTo>
                    <a:pt x="762" y="200"/>
                  </a:lnTo>
                  <a:lnTo>
                    <a:pt x="772" y="212"/>
                  </a:lnTo>
                  <a:lnTo>
                    <a:pt x="774" y="208"/>
                  </a:lnTo>
                  <a:lnTo>
                    <a:pt x="774" y="202"/>
                  </a:lnTo>
                  <a:lnTo>
                    <a:pt x="776" y="200"/>
                  </a:lnTo>
                  <a:lnTo>
                    <a:pt x="778" y="194"/>
                  </a:lnTo>
                  <a:lnTo>
                    <a:pt x="776" y="184"/>
                  </a:lnTo>
                  <a:lnTo>
                    <a:pt x="778" y="178"/>
                  </a:lnTo>
                  <a:lnTo>
                    <a:pt x="778" y="172"/>
                  </a:lnTo>
                  <a:lnTo>
                    <a:pt x="782" y="168"/>
                  </a:lnTo>
                  <a:lnTo>
                    <a:pt x="786" y="166"/>
                  </a:lnTo>
                  <a:lnTo>
                    <a:pt x="786" y="166"/>
                  </a:lnTo>
                  <a:lnTo>
                    <a:pt x="786" y="164"/>
                  </a:lnTo>
                  <a:lnTo>
                    <a:pt x="786" y="164"/>
                  </a:lnTo>
                  <a:lnTo>
                    <a:pt x="786" y="164"/>
                  </a:lnTo>
                  <a:lnTo>
                    <a:pt x="786" y="162"/>
                  </a:lnTo>
                  <a:lnTo>
                    <a:pt x="786" y="162"/>
                  </a:lnTo>
                  <a:lnTo>
                    <a:pt x="792" y="164"/>
                  </a:lnTo>
                  <a:lnTo>
                    <a:pt x="794" y="168"/>
                  </a:lnTo>
                  <a:lnTo>
                    <a:pt x="794" y="168"/>
                  </a:lnTo>
                  <a:lnTo>
                    <a:pt x="798" y="164"/>
                  </a:lnTo>
                  <a:lnTo>
                    <a:pt x="804" y="160"/>
                  </a:lnTo>
                  <a:lnTo>
                    <a:pt x="806" y="156"/>
                  </a:lnTo>
                  <a:lnTo>
                    <a:pt x="810" y="154"/>
                  </a:lnTo>
                  <a:lnTo>
                    <a:pt x="814" y="148"/>
                  </a:lnTo>
                  <a:lnTo>
                    <a:pt x="818" y="142"/>
                  </a:lnTo>
                  <a:lnTo>
                    <a:pt x="820" y="132"/>
                  </a:lnTo>
                  <a:lnTo>
                    <a:pt x="820" y="126"/>
                  </a:lnTo>
                  <a:lnTo>
                    <a:pt x="824" y="124"/>
                  </a:lnTo>
                  <a:lnTo>
                    <a:pt x="824" y="116"/>
                  </a:lnTo>
                  <a:lnTo>
                    <a:pt x="820" y="112"/>
                  </a:lnTo>
                  <a:lnTo>
                    <a:pt x="820" y="108"/>
                  </a:lnTo>
                  <a:lnTo>
                    <a:pt x="824" y="100"/>
                  </a:lnTo>
                  <a:lnTo>
                    <a:pt x="816" y="102"/>
                  </a:lnTo>
                  <a:lnTo>
                    <a:pt x="814" y="106"/>
                  </a:lnTo>
                  <a:lnTo>
                    <a:pt x="808" y="108"/>
                  </a:lnTo>
                  <a:lnTo>
                    <a:pt x="804" y="108"/>
                  </a:lnTo>
                  <a:lnTo>
                    <a:pt x="798" y="112"/>
                  </a:lnTo>
                  <a:lnTo>
                    <a:pt x="794" y="116"/>
                  </a:lnTo>
                  <a:lnTo>
                    <a:pt x="788" y="118"/>
                  </a:lnTo>
                  <a:lnTo>
                    <a:pt x="784" y="120"/>
                  </a:lnTo>
                  <a:lnTo>
                    <a:pt x="778" y="116"/>
                  </a:lnTo>
                  <a:lnTo>
                    <a:pt x="772" y="114"/>
                  </a:lnTo>
                  <a:lnTo>
                    <a:pt x="770" y="108"/>
                  </a:lnTo>
                  <a:lnTo>
                    <a:pt x="770" y="102"/>
                  </a:lnTo>
                  <a:lnTo>
                    <a:pt x="768" y="96"/>
                  </a:lnTo>
                  <a:lnTo>
                    <a:pt x="762" y="90"/>
                  </a:lnTo>
                  <a:lnTo>
                    <a:pt x="760" y="84"/>
                  </a:lnTo>
                  <a:lnTo>
                    <a:pt x="758" y="78"/>
                  </a:lnTo>
                  <a:lnTo>
                    <a:pt x="754" y="74"/>
                  </a:lnTo>
                  <a:lnTo>
                    <a:pt x="746" y="72"/>
                  </a:lnTo>
                  <a:lnTo>
                    <a:pt x="740" y="70"/>
                  </a:lnTo>
                  <a:lnTo>
                    <a:pt x="734" y="70"/>
                  </a:lnTo>
                  <a:lnTo>
                    <a:pt x="730" y="66"/>
                  </a:lnTo>
                  <a:lnTo>
                    <a:pt x="726" y="58"/>
                  </a:lnTo>
                  <a:lnTo>
                    <a:pt x="720" y="48"/>
                  </a:lnTo>
                  <a:lnTo>
                    <a:pt x="718" y="40"/>
                  </a:lnTo>
                  <a:lnTo>
                    <a:pt x="718" y="34"/>
                  </a:lnTo>
                  <a:lnTo>
                    <a:pt x="712" y="28"/>
                  </a:lnTo>
                  <a:lnTo>
                    <a:pt x="710" y="22"/>
                  </a:lnTo>
                  <a:lnTo>
                    <a:pt x="702" y="16"/>
                  </a:lnTo>
                  <a:lnTo>
                    <a:pt x="692" y="16"/>
                  </a:lnTo>
                  <a:lnTo>
                    <a:pt x="688" y="10"/>
                  </a:lnTo>
                  <a:lnTo>
                    <a:pt x="682" y="6"/>
                  </a:lnTo>
                  <a:lnTo>
                    <a:pt x="676" y="2"/>
                  </a:lnTo>
                  <a:lnTo>
                    <a:pt x="668" y="0"/>
                  </a:lnTo>
                  <a:lnTo>
                    <a:pt x="664" y="2"/>
                  </a:lnTo>
                  <a:lnTo>
                    <a:pt x="658" y="4"/>
                  </a:lnTo>
                  <a:lnTo>
                    <a:pt x="650" y="4"/>
                  </a:lnTo>
                  <a:lnTo>
                    <a:pt x="644" y="8"/>
                  </a:lnTo>
                  <a:lnTo>
                    <a:pt x="638" y="14"/>
                  </a:lnTo>
                  <a:lnTo>
                    <a:pt x="634" y="20"/>
                  </a:lnTo>
                  <a:lnTo>
                    <a:pt x="632" y="22"/>
                  </a:lnTo>
                  <a:lnTo>
                    <a:pt x="630" y="26"/>
                  </a:lnTo>
                  <a:lnTo>
                    <a:pt x="636" y="24"/>
                  </a:lnTo>
                  <a:lnTo>
                    <a:pt x="636" y="32"/>
                  </a:lnTo>
                  <a:lnTo>
                    <a:pt x="636" y="38"/>
                  </a:lnTo>
                  <a:lnTo>
                    <a:pt x="632" y="42"/>
                  </a:lnTo>
                  <a:lnTo>
                    <a:pt x="634" y="48"/>
                  </a:lnTo>
                  <a:lnTo>
                    <a:pt x="628" y="56"/>
                  </a:lnTo>
                  <a:lnTo>
                    <a:pt x="624" y="62"/>
                  </a:lnTo>
                  <a:lnTo>
                    <a:pt x="624" y="62"/>
                  </a:lnTo>
                  <a:lnTo>
                    <a:pt x="620" y="66"/>
                  </a:lnTo>
                  <a:lnTo>
                    <a:pt x="618" y="68"/>
                  </a:lnTo>
                  <a:lnTo>
                    <a:pt x="618" y="70"/>
                  </a:lnTo>
                  <a:lnTo>
                    <a:pt x="620" y="72"/>
                  </a:lnTo>
                  <a:lnTo>
                    <a:pt x="620" y="72"/>
                  </a:lnTo>
                  <a:lnTo>
                    <a:pt x="618" y="74"/>
                  </a:lnTo>
                  <a:lnTo>
                    <a:pt x="614" y="76"/>
                  </a:lnTo>
                  <a:lnTo>
                    <a:pt x="610" y="78"/>
                  </a:lnTo>
                  <a:lnTo>
                    <a:pt x="600" y="84"/>
                  </a:lnTo>
                  <a:lnTo>
                    <a:pt x="594" y="80"/>
                  </a:lnTo>
                  <a:lnTo>
                    <a:pt x="586" y="76"/>
                  </a:lnTo>
                  <a:lnTo>
                    <a:pt x="580" y="78"/>
                  </a:lnTo>
                  <a:lnTo>
                    <a:pt x="574" y="94"/>
                  </a:lnTo>
                  <a:lnTo>
                    <a:pt x="574" y="94"/>
                  </a:lnTo>
                  <a:lnTo>
                    <a:pt x="576" y="100"/>
                  </a:lnTo>
                  <a:lnTo>
                    <a:pt x="576" y="100"/>
                  </a:lnTo>
                  <a:lnTo>
                    <a:pt x="576" y="104"/>
                  </a:lnTo>
                  <a:lnTo>
                    <a:pt x="574" y="106"/>
                  </a:lnTo>
                  <a:lnTo>
                    <a:pt x="572" y="110"/>
                  </a:lnTo>
                  <a:lnTo>
                    <a:pt x="572" y="116"/>
                  </a:lnTo>
                  <a:lnTo>
                    <a:pt x="582" y="120"/>
                  </a:lnTo>
                  <a:lnTo>
                    <a:pt x="592" y="118"/>
                  </a:lnTo>
                  <a:lnTo>
                    <a:pt x="598" y="112"/>
                  </a:lnTo>
                  <a:lnTo>
                    <a:pt x="602" y="112"/>
                  </a:lnTo>
                  <a:lnTo>
                    <a:pt x="606" y="116"/>
                  </a:lnTo>
                  <a:lnTo>
                    <a:pt x="612" y="122"/>
                  </a:lnTo>
                  <a:lnTo>
                    <a:pt x="622" y="126"/>
                  </a:lnTo>
                  <a:lnTo>
                    <a:pt x="628" y="132"/>
                  </a:lnTo>
                  <a:lnTo>
                    <a:pt x="624" y="138"/>
                  </a:lnTo>
                  <a:lnTo>
                    <a:pt x="624" y="138"/>
                  </a:lnTo>
                  <a:lnTo>
                    <a:pt x="620" y="136"/>
                  </a:lnTo>
                  <a:lnTo>
                    <a:pt x="616" y="136"/>
                  </a:lnTo>
                  <a:lnTo>
                    <a:pt x="614" y="138"/>
                  </a:lnTo>
                  <a:lnTo>
                    <a:pt x="614" y="138"/>
                  </a:lnTo>
                  <a:lnTo>
                    <a:pt x="610" y="140"/>
                  </a:lnTo>
                  <a:lnTo>
                    <a:pt x="606" y="142"/>
                  </a:lnTo>
                  <a:lnTo>
                    <a:pt x="604" y="146"/>
                  </a:lnTo>
                  <a:lnTo>
                    <a:pt x="596" y="144"/>
                  </a:lnTo>
                  <a:lnTo>
                    <a:pt x="586" y="152"/>
                  </a:lnTo>
                  <a:lnTo>
                    <a:pt x="580" y="148"/>
                  </a:lnTo>
                  <a:lnTo>
                    <a:pt x="576" y="148"/>
                  </a:lnTo>
                  <a:lnTo>
                    <a:pt x="574" y="156"/>
                  </a:lnTo>
                  <a:lnTo>
                    <a:pt x="570" y="160"/>
                  </a:lnTo>
                  <a:lnTo>
                    <a:pt x="552" y="164"/>
                  </a:lnTo>
                  <a:lnTo>
                    <a:pt x="550" y="174"/>
                  </a:lnTo>
                  <a:lnTo>
                    <a:pt x="538" y="180"/>
                  </a:lnTo>
                  <a:lnTo>
                    <a:pt x="530" y="176"/>
                  </a:lnTo>
                  <a:lnTo>
                    <a:pt x="524" y="170"/>
                  </a:lnTo>
                  <a:lnTo>
                    <a:pt x="518" y="168"/>
                  </a:lnTo>
                  <a:lnTo>
                    <a:pt x="512" y="172"/>
                  </a:lnTo>
                  <a:lnTo>
                    <a:pt x="510" y="180"/>
                  </a:lnTo>
                  <a:lnTo>
                    <a:pt x="508" y="186"/>
                  </a:lnTo>
                  <a:lnTo>
                    <a:pt x="510" y="196"/>
                  </a:lnTo>
                  <a:lnTo>
                    <a:pt x="512" y="202"/>
                  </a:lnTo>
                  <a:lnTo>
                    <a:pt x="508" y="208"/>
                  </a:lnTo>
                  <a:lnTo>
                    <a:pt x="502" y="212"/>
                  </a:lnTo>
                  <a:lnTo>
                    <a:pt x="492" y="214"/>
                  </a:lnTo>
                  <a:lnTo>
                    <a:pt x="478" y="218"/>
                  </a:lnTo>
                  <a:lnTo>
                    <a:pt x="466" y="218"/>
                  </a:lnTo>
                  <a:lnTo>
                    <a:pt x="458" y="220"/>
                  </a:lnTo>
                  <a:lnTo>
                    <a:pt x="454" y="220"/>
                  </a:lnTo>
                  <a:lnTo>
                    <a:pt x="446" y="228"/>
                  </a:lnTo>
                  <a:lnTo>
                    <a:pt x="438" y="232"/>
                  </a:lnTo>
                  <a:lnTo>
                    <a:pt x="428" y="232"/>
                  </a:lnTo>
                  <a:lnTo>
                    <a:pt x="418" y="234"/>
                  </a:lnTo>
                  <a:lnTo>
                    <a:pt x="406" y="234"/>
                  </a:lnTo>
                  <a:lnTo>
                    <a:pt x="398" y="230"/>
                  </a:lnTo>
                  <a:lnTo>
                    <a:pt x="392" y="222"/>
                  </a:lnTo>
                  <a:lnTo>
                    <a:pt x="388" y="220"/>
                  </a:lnTo>
                  <a:lnTo>
                    <a:pt x="368" y="220"/>
                  </a:lnTo>
                  <a:lnTo>
                    <a:pt x="356" y="218"/>
                  </a:lnTo>
                  <a:lnTo>
                    <a:pt x="344" y="218"/>
                  </a:lnTo>
                  <a:lnTo>
                    <a:pt x="334" y="218"/>
                  </a:lnTo>
                  <a:lnTo>
                    <a:pt x="326" y="218"/>
                  </a:lnTo>
                  <a:lnTo>
                    <a:pt x="320" y="212"/>
                  </a:lnTo>
                  <a:lnTo>
                    <a:pt x="312" y="206"/>
                  </a:lnTo>
                  <a:lnTo>
                    <a:pt x="304" y="200"/>
                  </a:lnTo>
                  <a:lnTo>
                    <a:pt x="300" y="196"/>
                  </a:lnTo>
                  <a:lnTo>
                    <a:pt x="298" y="188"/>
                  </a:lnTo>
                  <a:lnTo>
                    <a:pt x="292" y="182"/>
                  </a:lnTo>
                  <a:lnTo>
                    <a:pt x="284" y="180"/>
                  </a:lnTo>
                  <a:lnTo>
                    <a:pt x="280" y="176"/>
                  </a:lnTo>
                  <a:lnTo>
                    <a:pt x="272" y="172"/>
                  </a:lnTo>
                  <a:lnTo>
                    <a:pt x="264" y="170"/>
                  </a:lnTo>
                  <a:lnTo>
                    <a:pt x="256" y="168"/>
                  </a:lnTo>
                  <a:lnTo>
                    <a:pt x="254" y="162"/>
                  </a:lnTo>
                  <a:lnTo>
                    <a:pt x="256" y="154"/>
                  </a:lnTo>
                  <a:lnTo>
                    <a:pt x="258" y="148"/>
                  </a:lnTo>
                  <a:lnTo>
                    <a:pt x="254" y="140"/>
                  </a:lnTo>
                  <a:lnTo>
                    <a:pt x="246" y="138"/>
                  </a:lnTo>
                  <a:lnTo>
                    <a:pt x="246" y="132"/>
                  </a:lnTo>
                  <a:lnTo>
                    <a:pt x="238" y="124"/>
                  </a:lnTo>
                  <a:lnTo>
                    <a:pt x="230" y="118"/>
                  </a:lnTo>
                  <a:lnTo>
                    <a:pt x="222" y="120"/>
                  </a:lnTo>
                  <a:lnTo>
                    <a:pt x="214" y="118"/>
                  </a:lnTo>
                  <a:lnTo>
                    <a:pt x="210" y="114"/>
                  </a:lnTo>
                  <a:lnTo>
                    <a:pt x="208" y="110"/>
                  </a:lnTo>
                  <a:lnTo>
                    <a:pt x="206" y="100"/>
                  </a:lnTo>
                  <a:lnTo>
                    <a:pt x="208" y="86"/>
                  </a:lnTo>
                  <a:lnTo>
                    <a:pt x="200" y="92"/>
                  </a:lnTo>
                  <a:lnTo>
                    <a:pt x="182" y="94"/>
                  </a:lnTo>
                  <a:lnTo>
                    <a:pt x="176" y="100"/>
                  </a:lnTo>
                  <a:lnTo>
                    <a:pt x="172" y="106"/>
                  </a:lnTo>
                  <a:lnTo>
                    <a:pt x="164" y="108"/>
                  </a:lnTo>
                  <a:lnTo>
                    <a:pt x="162" y="112"/>
                  </a:lnTo>
                  <a:lnTo>
                    <a:pt x="160" y="120"/>
                  </a:lnTo>
                  <a:lnTo>
                    <a:pt x="150" y="124"/>
                  </a:lnTo>
                  <a:lnTo>
                    <a:pt x="142" y="124"/>
                  </a:lnTo>
                  <a:lnTo>
                    <a:pt x="136" y="128"/>
                  </a:lnTo>
                  <a:lnTo>
                    <a:pt x="132" y="136"/>
                  </a:lnTo>
                  <a:lnTo>
                    <a:pt x="126" y="140"/>
                  </a:lnTo>
                  <a:lnTo>
                    <a:pt x="124" y="150"/>
                  </a:lnTo>
                  <a:lnTo>
                    <a:pt x="126" y="160"/>
                  </a:lnTo>
                  <a:lnTo>
                    <a:pt x="130" y="164"/>
                  </a:lnTo>
                  <a:lnTo>
                    <a:pt x="128" y="168"/>
                  </a:lnTo>
                  <a:lnTo>
                    <a:pt x="114" y="168"/>
                  </a:lnTo>
                  <a:lnTo>
                    <a:pt x="104" y="174"/>
                  </a:lnTo>
                  <a:lnTo>
                    <a:pt x="94" y="176"/>
                  </a:lnTo>
                  <a:lnTo>
                    <a:pt x="90" y="178"/>
                  </a:lnTo>
                  <a:lnTo>
                    <a:pt x="92" y="184"/>
                  </a:lnTo>
                  <a:lnTo>
                    <a:pt x="100" y="190"/>
                  </a:lnTo>
                  <a:lnTo>
                    <a:pt x="102" y="196"/>
                  </a:lnTo>
                  <a:lnTo>
                    <a:pt x="100" y="202"/>
                  </a:lnTo>
                  <a:lnTo>
                    <a:pt x="96" y="208"/>
                  </a:lnTo>
                  <a:lnTo>
                    <a:pt x="96" y="218"/>
                  </a:lnTo>
                  <a:lnTo>
                    <a:pt x="96" y="218"/>
                  </a:lnTo>
                  <a:lnTo>
                    <a:pt x="86" y="224"/>
                  </a:lnTo>
                  <a:lnTo>
                    <a:pt x="86" y="224"/>
                  </a:lnTo>
                  <a:lnTo>
                    <a:pt x="80" y="230"/>
                  </a:lnTo>
                  <a:lnTo>
                    <a:pt x="80" y="230"/>
                  </a:lnTo>
                  <a:lnTo>
                    <a:pt x="76" y="230"/>
                  </a:lnTo>
                  <a:lnTo>
                    <a:pt x="72" y="232"/>
                  </a:lnTo>
                  <a:lnTo>
                    <a:pt x="72" y="232"/>
                  </a:lnTo>
                  <a:lnTo>
                    <a:pt x="70" y="236"/>
                  </a:lnTo>
                  <a:lnTo>
                    <a:pt x="70" y="238"/>
                  </a:lnTo>
                  <a:lnTo>
                    <a:pt x="70" y="238"/>
                  </a:lnTo>
                  <a:lnTo>
                    <a:pt x="70" y="240"/>
                  </a:lnTo>
                  <a:lnTo>
                    <a:pt x="68" y="240"/>
                  </a:lnTo>
                  <a:lnTo>
                    <a:pt x="62" y="240"/>
                  </a:lnTo>
                  <a:lnTo>
                    <a:pt x="54" y="242"/>
                  </a:lnTo>
                  <a:lnTo>
                    <a:pt x="50" y="244"/>
                  </a:lnTo>
                  <a:lnTo>
                    <a:pt x="48" y="246"/>
                  </a:lnTo>
                  <a:lnTo>
                    <a:pt x="48" y="246"/>
                  </a:lnTo>
                  <a:lnTo>
                    <a:pt x="48" y="250"/>
                  </a:lnTo>
                  <a:lnTo>
                    <a:pt x="48" y="252"/>
                  </a:lnTo>
                  <a:lnTo>
                    <a:pt x="46" y="256"/>
                  </a:lnTo>
                  <a:lnTo>
                    <a:pt x="46" y="258"/>
                  </a:lnTo>
                  <a:lnTo>
                    <a:pt x="46" y="258"/>
                  </a:lnTo>
                  <a:lnTo>
                    <a:pt x="42" y="260"/>
                  </a:lnTo>
                  <a:lnTo>
                    <a:pt x="40" y="260"/>
                  </a:lnTo>
                  <a:lnTo>
                    <a:pt x="34" y="262"/>
                  </a:lnTo>
                  <a:lnTo>
                    <a:pt x="34" y="262"/>
                  </a:lnTo>
                  <a:lnTo>
                    <a:pt x="30" y="264"/>
                  </a:lnTo>
                  <a:lnTo>
                    <a:pt x="28" y="264"/>
                  </a:lnTo>
                  <a:lnTo>
                    <a:pt x="28" y="264"/>
                  </a:lnTo>
                  <a:lnTo>
                    <a:pt x="26" y="264"/>
                  </a:lnTo>
                  <a:lnTo>
                    <a:pt x="24" y="262"/>
                  </a:lnTo>
                  <a:lnTo>
                    <a:pt x="24" y="260"/>
                  </a:lnTo>
                  <a:lnTo>
                    <a:pt x="22" y="258"/>
                  </a:lnTo>
                  <a:lnTo>
                    <a:pt x="22" y="258"/>
                  </a:lnTo>
                  <a:lnTo>
                    <a:pt x="18" y="258"/>
                  </a:lnTo>
                  <a:lnTo>
                    <a:pt x="14" y="262"/>
                  </a:lnTo>
                  <a:lnTo>
                    <a:pt x="14" y="262"/>
                  </a:lnTo>
                  <a:lnTo>
                    <a:pt x="10" y="268"/>
                  </a:lnTo>
                  <a:lnTo>
                    <a:pt x="10" y="268"/>
                  </a:lnTo>
                  <a:lnTo>
                    <a:pt x="4" y="270"/>
                  </a:lnTo>
                  <a:lnTo>
                    <a:pt x="4" y="270"/>
                  </a:lnTo>
                  <a:lnTo>
                    <a:pt x="0" y="274"/>
                  </a:lnTo>
                  <a:lnTo>
                    <a:pt x="2" y="276"/>
                  </a:lnTo>
                  <a:lnTo>
                    <a:pt x="2" y="276"/>
                  </a:lnTo>
                  <a:lnTo>
                    <a:pt x="2" y="282"/>
                  </a:lnTo>
                  <a:lnTo>
                    <a:pt x="2" y="286"/>
                  </a:lnTo>
                  <a:lnTo>
                    <a:pt x="6" y="290"/>
                  </a:lnTo>
                  <a:lnTo>
                    <a:pt x="14" y="286"/>
                  </a:lnTo>
                  <a:lnTo>
                    <a:pt x="16" y="288"/>
                  </a:lnTo>
                  <a:lnTo>
                    <a:pt x="16" y="292"/>
                  </a:lnTo>
                  <a:lnTo>
                    <a:pt x="14" y="298"/>
                  </a:lnTo>
                  <a:lnTo>
                    <a:pt x="16" y="306"/>
                  </a:lnTo>
                  <a:lnTo>
                    <a:pt x="18" y="312"/>
                  </a:lnTo>
                  <a:lnTo>
                    <a:pt x="20" y="316"/>
                  </a:lnTo>
                  <a:lnTo>
                    <a:pt x="22" y="320"/>
                  </a:lnTo>
                  <a:lnTo>
                    <a:pt x="16" y="322"/>
                  </a:lnTo>
                  <a:lnTo>
                    <a:pt x="16" y="326"/>
                  </a:lnTo>
                  <a:lnTo>
                    <a:pt x="26" y="326"/>
                  </a:lnTo>
                  <a:lnTo>
                    <a:pt x="40" y="336"/>
                  </a:lnTo>
                  <a:lnTo>
                    <a:pt x="44" y="340"/>
                  </a:lnTo>
                  <a:lnTo>
                    <a:pt x="50" y="346"/>
                  </a:lnTo>
                  <a:lnTo>
                    <a:pt x="56" y="340"/>
                  </a:lnTo>
                  <a:lnTo>
                    <a:pt x="58" y="338"/>
                  </a:lnTo>
                  <a:lnTo>
                    <a:pt x="64" y="338"/>
                  </a:lnTo>
                  <a:lnTo>
                    <a:pt x="70" y="340"/>
                  </a:lnTo>
                  <a:lnTo>
                    <a:pt x="76" y="340"/>
                  </a:lnTo>
                  <a:lnTo>
                    <a:pt x="80" y="346"/>
                  </a:lnTo>
                  <a:lnTo>
                    <a:pt x="82" y="350"/>
                  </a:lnTo>
                  <a:lnTo>
                    <a:pt x="86" y="356"/>
                  </a:lnTo>
                  <a:lnTo>
                    <a:pt x="82" y="360"/>
                  </a:lnTo>
                  <a:lnTo>
                    <a:pt x="80" y="364"/>
                  </a:lnTo>
                  <a:lnTo>
                    <a:pt x="78" y="368"/>
                  </a:lnTo>
                  <a:lnTo>
                    <a:pt x="74" y="372"/>
                  </a:lnTo>
                  <a:lnTo>
                    <a:pt x="72" y="378"/>
                  </a:lnTo>
                  <a:lnTo>
                    <a:pt x="68" y="382"/>
                  </a:lnTo>
                  <a:lnTo>
                    <a:pt x="66" y="386"/>
                  </a:lnTo>
                  <a:lnTo>
                    <a:pt x="72" y="390"/>
                  </a:lnTo>
                  <a:lnTo>
                    <a:pt x="74" y="396"/>
                  </a:lnTo>
                  <a:lnTo>
                    <a:pt x="74" y="404"/>
                  </a:lnTo>
                  <a:lnTo>
                    <a:pt x="78" y="406"/>
                  </a:lnTo>
                  <a:lnTo>
                    <a:pt x="82" y="408"/>
                  </a:lnTo>
                  <a:lnTo>
                    <a:pt x="82" y="412"/>
                  </a:lnTo>
                  <a:lnTo>
                    <a:pt x="80" y="420"/>
                  </a:lnTo>
                  <a:lnTo>
                    <a:pt x="80" y="424"/>
                  </a:lnTo>
                  <a:lnTo>
                    <a:pt x="78" y="426"/>
                  </a:lnTo>
                  <a:lnTo>
                    <a:pt x="80" y="432"/>
                  </a:lnTo>
                  <a:lnTo>
                    <a:pt x="86" y="434"/>
                  </a:lnTo>
                  <a:lnTo>
                    <a:pt x="92" y="438"/>
                  </a:lnTo>
                  <a:lnTo>
                    <a:pt x="100" y="440"/>
                  </a:lnTo>
                  <a:lnTo>
                    <a:pt x="104" y="444"/>
                  </a:lnTo>
                  <a:lnTo>
                    <a:pt x="108" y="448"/>
                  </a:lnTo>
                  <a:lnTo>
                    <a:pt x="112" y="448"/>
                  </a:lnTo>
                  <a:lnTo>
                    <a:pt x="118" y="448"/>
                  </a:lnTo>
                  <a:lnTo>
                    <a:pt x="124" y="448"/>
                  </a:lnTo>
                  <a:lnTo>
                    <a:pt x="130" y="450"/>
                  </a:lnTo>
                  <a:lnTo>
                    <a:pt x="136" y="460"/>
                  </a:lnTo>
                  <a:lnTo>
                    <a:pt x="142" y="460"/>
                  </a:lnTo>
                  <a:lnTo>
                    <a:pt x="148" y="458"/>
                  </a:lnTo>
                  <a:lnTo>
                    <a:pt x="154" y="462"/>
                  </a:lnTo>
                  <a:lnTo>
                    <a:pt x="154" y="468"/>
                  </a:lnTo>
                  <a:lnTo>
                    <a:pt x="160" y="472"/>
                  </a:lnTo>
                  <a:lnTo>
                    <a:pt x="166" y="478"/>
                  </a:lnTo>
                  <a:lnTo>
                    <a:pt x="170" y="482"/>
                  </a:lnTo>
                  <a:lnTo>
                    <a:pt x="176" y="482"/>
                  </a:lnTo>
                  <a:lnTo>
                    <a:pt x="182" y="486"/>
                  </a:lnTo>
                  <a:lnTo>
                    <a:pt x="194" y="488"/>
                  </a:lnTo>
                  <a:lnTo>
                    <a:pt x="202" y="490"/>
                  </a:lnTo>
                  <a:lnTo>
                    <a:pt x="208" y="486"/>
                  </a:lnTo>
                  <a:lnTo>
                    <a:pt x="214" y="488"/>
                  </a:lnTo>
                  <a:lnTo>
                    <a:pt x="218" y="494"/>
                  </a:lnTo>
                  <a:lnTo>
                    <a:pt x="224" y="484"/>
                  </a:lnTo>
                  <a:lnTo>
                    <a:pt x="228" y="482"/>
                  </a:lnTo>
                  <a:lnTo>
                    <a:pt x="236" y="480"/>
                  </a:lnTo>
                  <a:lnTo>
                    <a:pt x="242" y="484"/>
                  </a:lnTo>
                  <a:lnTo>
                    <a:pt x="248" y="484"/>
                  </a:lnTo>
                  <a:lnTo>
                    <a:pt x="258" y="484"/>
                  </a:lnTo>
                  <a:lnTo>
                    <a:pt x="264" y="482"/>
                  </a:lnTo>
                  <a:lnTo>
                    <a:pt x="272" y="480"/>
                  </a:lnTo>
                  <a:lnTo>
                    <a:pt x="276" y="476"/>
                  </a:lnTo>
                  <a:lnTo>
                    <a:pt x="284" y="474"/>
                  </a:lnTo>
                  <a:lnTo>
                    <a:pt x="288" y="476"/>
                  </a:lnTo>
                  <a:lnTo>
                    <a:pt x="292" y="472"/>
                  </a:lnTo>
                  <a:lnTo>
                    <a:pt x="298" y="472"/>
                  </a:lnTo>
                  <a:lnTo>
                    <a:pt x="306" y="476"/>
                  </a:lnTo>
                  <a:lnTo>
                    <a:pt x="306" y="482"/>
                  </a:lnTo>
                  <a:lnTo>
                    <a:pt x="308" y="486"/>
                  </a:lnTo>
                  <a:lnTo>
                    <a:pt x="314" y="484"/>
                  </a:lnTo>
                  <a:lnTo>
                    <a:pt x="316" y="486"/>
                  </a:lnTo>
                  <a:lnTo>
                    <a:pt x="322" y="488"/>
                  </a:lnTo>
                  <a:lnTo>
                    <a:pt x="326" y="490"/>
                  </a:lnTo>
                  <a:lnTo>
                    <a:pt x="328" y="494"/>
                  </a:lnTo>
                  <a:lnTo>
                    <a:pt x="330" y="498"/>
                  </a:lnTo>
                  <a:lnTo>
                    <a:pt x="334" y="498"/>
                  </a:lnTo>
                  <a:lnTo>
                    <a:pt x="338" y="498"/>
                  </a:lnTo>
                  <a:lnTo>
                    <a:pt x="340" y="504"/>
                  </a:lnTo>
                  <a:lnTo>
                    <a:pt x="342" y="508"/>
                  </a:lnTo>
                  <a:lnTo>
                    <a:pt x="340" y="516"/>
                  </a:lnTo>
                  <a:lnTo>
                    <a:pt x="342" y="520"/>
                  </a:lnTo>
                  <a:lnTo>
                    <a:pt x="342" y="524"/>
                  </a:lnTo>
                  <a:lnTo>
                    <a:pt x="340" y="534"/>
                  </a:lnTo>
                  <a:lnTo>
                    <a:pt x="336" y="540"/>
                  </a:lnTo>
                  <a:lnTo>
                    <a:pt x="332" y="546"/>
                  </a:lnTo>
                  <a:lnTo>
                    <a:pt x="332" y="550"/>
                  </a:lnTo>
                  <a:lnTo>
                    <a:pt x="334" y="554"/>
                  </a:lnTo>
                  <a:lnTo>
                    <a:pt x="334" y="560"/>
                  </a:lnTo>
                  <a:lnTo>
                    <a:pt x="336" y="562"/>
                  </a:lnTo>
                  <a:lnTo>
                    <a:pt x="338" y="562"/>
                  </a:lnTo>
                  <a:lnTo>
                    <a:pt x="340" y="558"/>
                  </a:lnTo>
                  <a:lnTo>
                    <a:pt x="346" y="556"/>
                  </a:lnTo>
                  <a:lnTo>
                    <a:pt x="350" y="556"/>
                  </a:lnTo>
                  <a:lnTo>
                    <a:pt x="352" y="560"/>
                  </a:lnTo>
                  <a:lnTo>
                    <a:pt x="352" y="564"/>
                  </a:lnTo>
                  <a:lnTo>
                    <a:pt x="354" y="570"/>
                  </a:lnTo>
                  <a:lnTo>
                    <a:pt x="358" y="570"/>
                  </a:lnTo>
                  <a:lnTo>
                    <a:pt x="358" y="574"/>
                  </a:lnTo>
                  <a:lnTo>
                    <a:pt x="354" y="580"/>
                  </a:lnTo>
                  <a:lnTo>
                    <a:pt x="354" y="584"/>
                  </a:lnTo>
                  <a:lnTo>
                    <a:pt x="360" y="586"/>
                  </a:lnTo>
                  <a:lnTo>
                    <a:pt x="364" y="586"/>
                  </a:lnTo>
                  <a:lnTo>
                    <a:pt x="366" y="594"/>
                  </a:lnTo>
                  <a:lnTo>
                    <a:pt x="368" y="600"/>
                  </a:lnTo>
                  <a:lnTo>
                    <a:pt x="378" y="602"/>
                  </a:lnTo>
                  <a:lnTo>
                    <a:pt x="376" y="608"/>
                  </a:lnTo>
                  <a:lnTo>
                    <a:pt x="384" y="608"/>
                  </a:lnTo>
                  <a:lnTo>
                    <a:pt x="388" y="602"/>
                  </a:lnTo>
                  <a:lnTo>
                    <a:pt x="388" y="592"/>
                  </a:lnTo>
                  <a:lnTo>
                    <a:pt x="384" y="584"/>
                  </a:lnTo>
                  <a:lnTo>
                    <a:pt x="388" y="578"/>
                  </a:lnTo>
                  <a:lnTo>
                    <a:pt x="394" y="580"/>
                  </a:lnTo>
                  <a:lnTo>
                    <a:pt x="400" y="576"/>
                  </a:lnTo>
                  <a:lnTo>
                    <a:pt x="408" y="578"/>
                  </a:lnTo>
                  <a:lnTo>
                    <a:pt x="416" y="576"/>
                  </a:lnTo>
                  <a:lnTo>
                    <a:pt x="426" y="576"/>
                  </a:lnTo>
                  <a:lnTo>
                    <a:pt x="432" y="570"/>
                  </a:lnTo>
                  <a:lnTo>
                    <a:pt x="438" y="572"/>
                  </a:lnTo>
                  <a:lnTo>
                    <a:pt x="442" y="574"/>
                  </a:lnTo>
                  <a:lnTo>
                    <a:pt x="448" y="576"/>
                  </a:lnTo>
                  <a:lnTo>
                    <a:pt x="446" y="584"/>
                  </a:lnTo>
                  <a:lnTo>
                    <a:pt x="450" y="590"/>
                  </a:lnTo>
                  <a:lnTo>
                    <a:pt x="454" y="594"/>
                  </a:lnTo>
                  <a:lnTo>
                    <a:pt x="460" y="596"/>
                  </a:lnTo>
                  <a:lnTo>
                    <a:pt x="464" y="596"/>
                  </a:lnTo>
                  <a:lnTo>
                    <a:pt x="470" y="598"/>
                  </a:lnTo>
                  <a:lnTo>
                    <a:pt x="470" y="598"/>
                  </a:lnTo>
                  <a:lnTo>
                    <a:pt x="472" y="594"/>
                  </a:lnTo>
                  <a:lnTo>
                    <a:pt x="472" y="594"/>
                  </a:lnTo>
                  <a:lnTo>
                    <a:pt x="476" y="594"/>
                  </a:lnTo>
                  <a:lnTo>
                    <a:pt x="482" y="594"/>
                  </a:lnTo>
                  <a:lnTo>
                    <a:pt x="484" y="596"/>
                  </a:lnTo>
                  <a:lnTo>
                    <a:pt x="484" y="596"/>
                  </a:lnTo>
                  <a:lnTo>
                    <a:pt x="486" y="596"/>
                  </a:lnTo>
                  <a:lnTo>
                    <a:pt x="488" y="596"/>
                  </a:lnTo>
                  <a:lnTo>
                    <a:pt x="488" y="596"/>
                  </a:lnTo>
                  <a:lnTo>
                    <a:pt x="488" y="598"/>
                  </a:lnTo>
                  <a:lnTo>
                    <a:pt x="490" y="600"/>
                  </a:lnTo>
                  <a:lnTo>
                    <a:pt x="490" y="600"/>
                  </a:lnTo>
                  <a:lnTo>
                    <a:pt x="488" y="604"/>
                  </a:lnTo>
                  <a:lnTo>
                    <a:pt x="488" y="610"/>
                  </a:lnTo>
                  <a:lnTo>
                    <a:pt x="490" y="610"/>
                  </a:lnTo>
                  <a:lnTo>
                    <a:pt x="490" y="610"/>
                  </a:lnTo>
                  <a:lnTo>
                    <a:pt x="492" y="620"/>
                  </a:lnTo>
                  <a:lnTo>
                    <a:pt x="492" y="620"/>
                  </a:lnTo>
                  <a:lnTo>
                    <a:pt x="500" y="618"/>
                  </a:lnTo>
                  <a:lnTo>
                    <a:pt x="500" y="618"/>
                  </a:lnTo>
                  <a:lnTo>
                    <a:pt x="500" y="612"/>
                  </a:lnTo>
                  <a:lnTo>
                    <a:pt x="496" y="608"/>
                  </a:lnTo>
                  <a:lnTo>
                    <a:pt x="496" y="608"/>
                  </a:lnTo>
                  <a:lnTo>
                    <a:pt x="498" y="608"/>
                  </a:lnTo>
                  <a:lnTo>
                    <a:pt x="498" y="608"/>
                  </a:lnTo>
                  <a:lnTo>
                    <a:pt x="500" y="606"/>
                  </a:lnTo>
                  <a:lnTo>
                    <a:pt x="500" y="604"/>
                  </a:lnTo>
                  <a:lnTo>
                    <a:pt x="500" y="604"/>
                  </a:lnTo>
                  <a:lnTo>
                    <a:pt x="504" y="604"/>
                  </a:lnTo>
                  <a:lnTo>
                    <a:pt x="508" y="602"/>
                  </a:lnTo>
                  <a:lnTo>
                    <a:pt x="508" y="602"/>
                  </a:lnTo>
                  <a:lnTo>
                    <a:pt x="512" y="596"/>
                  </a:lnTo>
                  <a:lnTo>
                    <a:pt x="512" y="596"/>
                  </a:lnTo>
                  <a:lnTo>
                    <a:pt x="516" y="596"/>
                  </a:lnTo>
                  <a:lnTo>
                    <a:pt x="516" y="594"/>
                  </a:lnTo>
                  <a:lnTo>
                    <a:pt x="516" y="594"/>
                  </a:lnTo>
                  <a:lnTo>
                    <a:pt x="516" y="594"/>
                  </a:lnTo>
                  <a:lnTo>
                    <a:pt x="518" y="594"/>
                  </a:lnTo>
                  <a:lnTo>
                    <a:pt x="518" y="594"/>
                  </a:lnTo>
                  <a:lnTo>
                    <a:pt x="520" y="590"/>
                  </a:lnTo>
                  <a:lnTo>
                    <a:pt x="520" y="590"/>
                  </a:lnTo>
                  <a:lnTo>
                    <a:pt x="522" y="590"/>
                  </a:lnTo>
                  <a:lnTo>
                    <a:pt x="524" y="592"/>
                  </a:lnTo>
                  <a:lnTo>
                    <a:pt x="526" y="590"/>
                  </a:lnTo>
                  <a:lnTo>
                    <a:pt x="526" y="590"/>
                  </a:lnTo>
                  <a:lnTo>
                    <a:pt x="532" y="590"/>
                  </a:lnTo>
                  <a:lnTo>
                    <a:pt x="538" y="590"/>
                  </a:lnTo>
                  <a:lnTo>
                    <a:pt x="538" y="590"/>
                  </a:lnTo>
                  <a:lnTo>
                    <a:pt x="544" y="578"/>
                  </a:lnTo>
                  <a:lnTo>
                    <a:pt x="546" y="578"/>
                  </a:lnTo>
                  <a:lnTo>
                    <a:pt x="546" y="578"/>
                  </a:lnTo>
                  <a:lnTo>
                    <a:pt x="548" y="576"/>
                  </a:lnTo>
                  <a:lnTo>
                    <a:pt x="548" y="574"/>
                  </a:lnTo>
                  <a:lnTo>
                    <a:pt x="546" y="574"/>
                  </a:lnTo>
                  <a:lnTo>
                    <a:pt x="546" y="572"/>
                  </a:lnTo>
                  <a:lnTo>
                    <a:pt x="546" y="572"/>
                  </a:lnTo>
                  <a:lnTo>
                    <a:pt x="550" y="572"/>
                  </a:lnTo>
                  <a:lnTo>
                    <a:pt x="550" y="572"/>
                  </a:lnTo>
                  <a:lnTo>
                    <a:pt x="552" y="578"/>
                  </a:lnTo>
                  <a:lnTo>
                    <a:pt x="552" y="578"/>
                  </a:lnTo>
                  <a:lnTo>
                    <a:pt x="556" y="578"/>
                  </a:lnTo>
                  <a:lnTo>
                    <a:pt x="556" y="578"/>
                  </a:lnTo>
                  <a:lnTo>
                    <a:pt x="558" y="578"/>
                  </a:lnTo>
                  <a:lnTo>
                    <a:pt x="560" y="580"/>
                  </a:lnTo>
                  <a:lnTo>
                    <a:pt x="560" y="580"/>
                  </a:lnTo>
                  <a:lnTo>
                    <a:pt x="562" y="578"/>
                  </a:lnTo>
                  <a:lnTo>
                    <a:pt x="562" y="576"/>
                  </a:lnTo>
                  <a:lnTo>
                    <a:pt x="562" y="576"/>
                  </a:lnTo>
                  <a:lnTo>
                    <a:pt x="570" y="574"/>
                  </a:lnTo>
                  <a:lnTo>
                    <a:pt x="570" y="574"/>
                  </a:lnTo>
                  <a:lnTo>
                    <a:pt x="574" y="576"/>
                  </a:lnTo>
                  <a:lnTo>
                    <a:pt x="576" y="576"/>
                  </a:lnTo>
                  <a:lnTo>
                    <a:pt x="576" y="574"/>
                  </a:lnTo>
                  <a:lnTo>
                    <a:pt x="576" y="574"/>
                  </a:lnTo>
                  <a:lnTo>
                    <a:pt x="580" y="572"/>
                  </a:lnTo>
                  <a:lnTo>
                    <a:pt x="580" y="572"/>
                  </a:lnTo>
                  <a:lnTo>
                    <a:pt x="582" y="568"/>
                  </a:lnTo>
                  <a:lnTo>
                    <a:pt x="580" y="566"/>
                  </a:lnTo>
                  <a:lnTo>
                    <a:pt x="580" y="564"/>
                  </a:lnTo>
                  <a:lnTo>
                    <a:pt x="580" y="564"/>
                  </a:lnTo>
                  <a:lnTo>
                    <a:pt x="588" y="560"/>
                  </a:lnTo>
                  <a:lnTo>
                    <a:pt x="588" y="560"/>
                  </a:lnTo>
                  <a:lnTo>
                    <a:pt x="588" y="558"/>
                  </a:lnTo>
                  <a:lnTo>
                    <a:pt x="588" y="558"/>
                  </a:lnTo>
                  <a:lnTo>
                    <a:pt x="590" y="558"/>
                  </a:lnTo>
                  <a:lnTo>
                    <a:pt x="592" y="558"/>
                  </a:lnTo>
                  <a:lnTo>
                    <a:pt x="592" y="558"/>
                  </a:lnTo>
                  <a:lnTo>
                    <a:pt x="594" y="556"/>
                  </a:lnTo>
                  <a:lnTo>
                    <a:pt x="594" y="556"/>
                  </a:lnTo>
                  <a:lnTo>
                    <a:pt x="594" y="552"/>
                  </a:lnTo>
                  <a:lnTo>
                    <a:pt x="594" y="552"/>
                  </a:lnTo>
                  <a:lnTo>
                    <a:pt x="598" y="552"/>
                  </a:lnTo>
                  <a:lnTo>
                    <a:pt x="600" y="552"/>
                  </a:lnTo>
                  <a:lnTo>
                    <a:pt x="600" y="552"/>
                  </a:lnTo>
                  <a:lnTo>
                    <a:pt x="602" y="548"/>
                  </a:lnTo>
                  <a:lnTo>
                    <a:pt x="602" y="548"/>
                  </a:lnTo>
                  <a:lnTo>
                    <a:pt x="602" y="542"/>
                  </a:lnTo>
                  <a:lnTo>
                    <a:pt x="602" y="542"/>
                  </a:lnTo>
                  <a:lnTo>
                    <a:pt x="616" y="540"/>
                  </a:lnTo>
                  <a:lnTo>
                    <a:pt x="616" y="540"/>
                  </a:lnTo>
                  <a:lnTo>
                    <a:pt x="616" y="538"/>
                  </a:lnTo>
                  <a:lnTo>
                    <a:pt x="614" y="538"/>
                  </a:lnTo>
                  <a:lnTo>
                    <a:pt x="614" y="538"/>
                  </a:lnTo>
                  <a:lnTo>
                    <a:pt x="614" y="536"/>
                  </a:lnTo>
                  <a:lnTo>
                    <a:pt x="616" y="534"/>
                  </a:lnTo>
                  <a:lnTo>
                    <a:pt x="618" y="534"/>
                  </a:lnTo>
                  <a:lnTo>
                    <a:pt x="618" y="532"/>
                  </a:lnTo>
                  <a:lnTo>
                    <a:pt x="618" y="532"/>
                  </a:lnTo>
                  <a:lnTo>
                    <a:pt x="616" y="532"/>
                  </a:lnTo>
                  <a:lnTo>
                    <a:pt x="616" y="530"/>
                  </a:lnTo>
                  <a:lnTo>
                    <a:pt x="618" y="528"/>
                  </a:lnTo>
                  <a:lnTo>
                    <a:pt x="618" y="528"/>
                  </a:lnTo>
                  <a:lnTo>
                    <a:pt x="624" y="528"/>
                  </a:lnTo>
                  <a:lnTo>
                    <a:pt x="624" y="528"/>
                  </a:lnTo>
                  <a:lnTo>
                    <a:pt x="624" y="526"/>
                  </a:lnTo>
                  <a:lnTo>
                    <a:pt x="626" y="526"/>
                  </a:lnTo>
                  <a:lnTo>
                    <a:pt x="626" y="526"/>
                  </a:lnTo>
                  <a:lnTo>
                    <a:pt x="624" y="516"/>
                  </a:lnTo>
                  <a:lnTo>
                    <a:pt x="624" y="516"/>
                  </a:lnTo>
                  <a:lnTo>
                    <a:pt x="620" y="516"/>
                  </a:lnTo>
                  <a:lnTo>
                    <a:pt x="620" y="512"/>
                  </a:lnTo>
                  <a:lnTo>
                    <a:pt x="620" y="512"/>
                  </a:lnTo>
                  <a:lnTo>
                    <a:pt x="624" y="512"/>
                  </a:lnTo>
                  <a:lnTo>
                    <a:pt x="624" y="512"/>
                  </a:lnTo>
                  <a:lnTo>
                    <a:pt x="624" y="504"/>
                  </a:lnTo>
                  <a:lnTo>
                    <a:pt x="624" y="504"/>
                  </a:lnTo>
                  <a:lnTo>
                    <a:pt x="628" y="502"/>
                  </a:lnTo>
                  <a:lnTo>
                    <a:pt x="632" y="500"/>
                  </a:lnTo>
                  <a:lnTo>
                    <a:pt x="632" y="500"/>
                  </a:lnTo>
                  <a:lnTo>
                    <a:pt x="632" y="498"/>
                  </a:lnTo>
                  <a:lnTo>
                    <a:pt x="632" y="498"/>
                  </a:lnTo>
                  <a:lnTo>
                    <a:pt x="638" y="494"/>
                  </a:lnTo>
                  <a:lnTo>
                    <a:pt x="638" y="494"/>
                  </a:lnTo>
                  <a:lnTo>
                    <a:pt x="638" y="488"/>
                  </a:lnTo>
                  <a:lnTo>
                    <a:pt x="638" y="488"/>
                  </a:lnTo>
                  <a:lnTo>
                    <a:pt x="638" y="486"/>
                  </a:lnTo>
                  <a:lnTo>
                    <a:pt x="640" y="486"/>
                  </a:lnTo>
                  <a:lnTo>
                    <a:pt x="640" y="486"/>
                  </a:lnTo>
                  <a:lnTo>
                    <a:pt x="640" y="484"/>
                  </a:lnTo>
                  <a:lnTo>
                    <a:pt x="640" y="484"/>
                  </a:lnTo>
                  <a:lnTo>
                    <a:pt x="638" y="484"/>
                  </a:lnTo>
                  <a:lnTo>
                    <a:pt x="640" y="484"/>
                  </a:lnTo>
                  <a:lnTo>
                    <a:pt x="644" y="484"/>
                  </a:lnTo>
                  <a:lnTo>
                    <a:pt x="644" y="484"/>
                  </a:lnTo>
                  <a:lnTo>
                    <a:pt x="644" y="480"/>
                  </a:lnTo>
                  <a:lnTo>
                    <a:pt x="646" y="478"/>
                  </a:lnTo>
                  <a:lnTo>
                    <a:pt x="646" y="478"/>
                  </a:lnTo>
                  <a:lnTo>
                    <a:pt x="650" y="478"/>
                  </a:lnTo>
                  <a:lnTo>
                    <a:pt x="650" y="478"/>
                  </a:lnTo>
                  <a:lnTo>
                    <a:pt x="650" y="474"/>
                  </a:lnTo>
                  <a:lnTo>
                    <a:pt x="650" y="474"/>
                  </a:lnTo>
                  <a:lnTo>
                    <a:pt x="646" y="472"/>
                  </a:lnTo>
                  <a:lnTo>
                    <a:pt x="646" y="472"/>
                  </a:lnTo>
                  <a:lnTo>
                    <a:pt x="648" y="470"/>
                  </a:lnTo>
                  <a:lnTo>
                    <a:pt x="648" y="468"/>
                  </a:lnTo>
                  <a:lnTo>
                    <a:pt x="648" y="462"/>
                  </a:lnTo>
                  <a:lnTo>
                    <a:pt x="648" y="462"/>
                  </a:lnTo>
                  <a:lnTo>
                    <a:pt x="656" y="462"/>
                  </a:lnTo>
                  <a:lnTo>
                    <a:pt x="656" y="462"/>
                  </a:lnTo>
                  <a:lnTo>
                    <a:pt x="654" y="460"/>
                  </a:lnTo>
                  <a:lnTo>
                    <a:pt x="654" y="456"/>
                  </a:lnTo>
                  <a:lnTo>
                    <a:pt x="656" y="454"/>
                  </a:lnTo>
                  <a:lnTo>
                    <a:pt x="654" y="452"/>
                  </a:lnTo>
                  <a:lnTo>
                    <a:pt x="654" y="452"/>
                  </a:lnTo>
                  <a:lnTo>
                    <a:pt x="658" y="450"/>
                  </a:lnTo>
                  <a:lnTo>
                    <a:pt x="660" y="450"/>
                  </a:lnTo>
                  <a:lnTo>
                    <a:pt x="660" y="450"/>
                  </a:lnTo>
                  <a:lnTo>
                    <a:pt x="658" y="446"/>
                  </a:lnTo>
                  <a:lnTo>
                    <a:pt x="658" y="446"/>
                  </a:lnTo>
                  <a:lnTo>
                    <a:pt x="654" y="446"/>
                  </a:lnTo>
                  <a:lnTo>
                    <a:pt x="652" y="442"/>
                  </a:lnTo>
                  <a:lnTo>
                    <a:pt x="652" y="442"/>
                  </a:lnTo>
                  <a:lnTo>
                    <a:pt x="646" y="444"/>
                  </a:lnTo>
                  <a:lnTo>
                    <a:pt x="644" y="444"/>
                  </a:lnTo>
                  <a:lnTo>
                    <a:pt x="640" y="444"/>
                  </a:lnTo>
                  <a:lnTo>
                    <a:pt x="640" y="444"/>
                  </a:lnTo>
                  <a:lnTo>
                    <a:pt x="640" y="442"/>
                  </a:lnTo>
                  <a:lnTo>
                    <a:pt x="640" y="440"/>
                  </a:lnTo>
                  <a:lnTo>
                    <a:pt x="640" y="440"/>
                  </a:lnTo>
                  <a:lnTo>
                    <a:pt x="652" y="432"/>
                  </a:lnTo>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1" name="Freeform 213"/>
            <p:cNvSpPr>
              <a:spLocks noChangeAspect="1" noEditPoints="1"/>
            </p:cNvSpPr>
            <p:nvPr/>
          </p:nvSpPr>
          <p:spPr bwMode="gray">
            <a:xfrm>
              <a:off x="2564800" y="4911231"/>
              <a:ext cx="192841" cy="1154769"/>
            </a:xfrm>
            <a:custGeom>
              <a:avLst/>
              <a:gdLst/>
              <a:ahLst/>
              <a:cxnLst>
                <a:cxn ang="0">
                  <a:pos x="92" y="688"/>
                </a:cxn>
                <a:cxn ang="0">
                  <a:pos x="62" y="690"/>
                </a:cxn>
                <a:cxn ang="0">
                  <a:pos x="42" y="686"/>
                </a:cxn>
                <a:cxn ang="0">
                  <a:pos x="52" y="678"/>
                </a:cxn>
                <a:cxn ang="0">
                  <a:pos x="56" y="668"/>
                </a:cxn>
                <a:cxn ang="0">
                  <a:pos x="74" y="680"/>
                </a:cxn>
                <a:cxn ang="0">
                  <a:pos x="62" y="660"/>
                </a:cxn>
                <a:cxn ang="0">
                  <a:pos x="82" y="646"/>
                </a:cxn>
                <a:cxn ang="0">
                  <a:pos x="112" y="102"/>
                </a:cxn>
                <a:cxn ang="0">
                  <a:pos x="98" y="142"/>
                </a:cxn>
                <a:cxn ang="0">
                  <a:pos x="88" y="178"/>
                </a:cxn>
                <a:cxn ang="0">
                  <a:pos x="74" y="236"/>
                </a:cxn>
                <a:cxn ang="0">
                  <a:pos x="70" y="296"/>
                </a:cxn>
                <a:cxn ang="0">
                  <a:pos x="58" y="332"/>
                </a:cxn>
                <a:cxn ang="0">
                  <a:pos x="54" y="366"/>
                </a:cxn>
                <a:cxn ang="0">
                  <a:pos x="44" y="416"/>
                </a:cxn>
                <a:cxn ang="0">
                  <a:pos x="48" y="458"/>
                </a:cxn>
                <a:cxn ang="0">
                  <a:pos x="50" y="490"/>
                </a:cxn>
                <a:cxn ang="0">
                  <a:pos x="48" y="514"/>
                </a:cxn>
                <a:cxn ang="0">
                  <a:pos x="40" y="552"/>
                </a:cxn>
                <a:cxn ang="0">
                  <a:pos x="28" y="594"/>
                </a:cxn>
                <a:cxn ang="0">
                  <a:pos x="36" y="612"/>
                </a:cxn>
                <a:cxn ang="0">
                  <a:pos x="78" y="638"/>
                </a:cxn>
                <a:cxn ang="0">
                  <a:pos x="54" y="668"/>
                </a:cxn>
                <a:cxn ang="0">
                  <a:pos x="36" y="662"/>
                </a:cxn>
                <a:cxn ang="0">
                  <a:pos x="34" y="674"/>
                </a:cxn>
                <a:cxn ang="0">
                  <a:pos x="26" y="666"/>
                </a:cxn>
                <a:cxn ang="0">
                  <a:pos x="26" y="652"/>
                </a:cxn>
                <a:cxn ang="0">
                  <a:pos x="36" y="632"/>
                </a:cxn>
                <a:cxn ang="0">
                  <a:pos x="24" y="634"/>
                </a:cxn>
                <a:cxn ang="0">
                  <a:pos x="14" y="648"/>
                </a:cxn>
                <a:cxn ang="0">
                  <a:pos x="10" y="644"/>
                </a:cxn>
                <a:cxn ang="0">
                  <a:pos x="14" y="630"/>
                </a:cxn>
                <a:cxn ang="0">
                  <a:pos x="20" y="618"/>
                </a:cxn>
                <a:cxn ang="0">
                  <a:pos x="18" y="602"/>
                </a:cxn>
                <a:cxn ang="0">
                  <a:pos x="16" y="586"/>
                </a:cxn>
                <a:cxn ang="0">
                  <a:pos x="16" y="568"/>
                </a:cxn>
                <a:cxn ang="0">
                  <a:pos x="18" y="546"/>
                </a:cxn>
                <a:cxn ang="0">
                  <a:pos x="6" y="530"/>
                </a:cxn>
                <a:cxn ang="0">
                  <a:pos x="0" y="532"/>
                </a:cxn>
                <a:cxn ang="0">
                  <a:pos x="16" y="516"/>
                </a:cxn>
                <a:cxn ang="0">
                  <a:pos x="22" y="522"/>
                </a:cxn>
                <a:cxn ang="0">
                  <a:pos x="26" y="486"/>
                </a:cxn>
                <a:cxn ang="0">
                  <a:pos x="38" y="470"/>
                </a:cxn>
                <a:cxn ang="0">
                  <a:pos x="38" y="454"/>
                </a:cxn>
                <a:cxn ang="0">
                  <a:pos x="32" y="432"/>
                </a:cxn>
                <a:cxn ang="0">
                  <a:pos x="32" y="384"/>
                </a:cxn>
                <a:cxn ang="0">
                  <a:pos x="28" y="360"/>
                </a:cxn>
                <a:cxn ang="0">
                  <a:pos x="36" y="338"/>
                </a:cxn>
                <a:cxn ang="0">
                  <a:pos x="44" y="302"/>
                </a:cxn>
                <a:cxn ang="0">
                  <a:pos x="58" y="244"/>
                </a:cxn>
                <a:cxn ang="0">
                  <a:pos x="54" y="200"/>
                </a:cxn>
                <a:cxn ang="0">
                  <a:pos x="64" y="166"/>
                </a:cxn>
                <a:cxn ang="0">
                  <a:pos x="66" y="134"/>
                </a:cxn>
                <a:cxn ang="0">
                  <a:pos x="66" y="98"/>
                </a:cxn>
                <a:cxn ang="0">
                  <a:pos x="72" y="58"/>
                </a:cxn>
                <a:cxn ang="0">
                  <a:pos x="74" y="4"/>
                </a:cxn>
                <a:cxn ang="0">
                  <a:pos x="94" y="42"/>
                </a:cxn>
                <a:cxn ang="0">
                  <a:pos x="114" y="92"/>
                </a:cxn>
              </a:cxnLst>
              <a:rect l="0" t="0" r="r" b="b"/>
              <a:pathLst>
                <a:path w="114" h="702">
                  <a:moveTo>
                    <a:pt x="106" y="690"/>
                  </a:moveTo>
                  <a:lnTo>
                    <a:pt x="108" y="690"/>
                  </a:lnTo>
                  <a:lnTo>
                    <a:pt x="108" y="690"/>
                  </a:lnTo>
                  <a:lnTo>
                    <a:pt x="104" y="696"/>
                  </a:lnTo>
                  <a:lnTo>
                    <a:pt x="100" y="702"/>
                  </a:lnTo>
                  <a:lnTo>
                    <a:pt x="100" y="702"/>
                  </a:lnTo>
                  <a:lnTo>
                    <a:pt x="100" y="696"/>
                  </a:lnTo>
                  <a:lnTo>
                    <a:pt x="100" y="696"/>
                  </a:lnTo>
                  <a:lnTo>
                    <a:pt x="94" y="694"/>
                  </a:lnTo>
                  <a:lnTo>
                    <a:pt x="94" y="694"/>
                  </a:lnTo>
                  <a:lnTo>
                    <a:pt x="94" y="692"/>
                  </a:lnTo>
                  <a:lnTo>
                    <a:pt x="92" y="688"/>
                  </a:lnTo>
                  <a:lnTo>
                    <a:pt x="92" y="688"/>
                  </a:lnTo>
                  <a:lnTo>
                    <a:pt x="80" y="692"/>
                  </a:lnTo>
                  <a:lnTo>
                    <a:pt x="78" y="694"/>
                  </a:lnTo>
                  <a:lnTo>
                    <a:pt x="78" y="694"/>
                  </a:lnTo>
                  <a:lnTo>
                    <a:pt x="74" y="694"/>
                  </a:lnTo>
                  <a:lnTo>
                    <a:pt x="68" y="694"/>
                  </a:lnTo>
                  <a:lnTo>
                    <a:pt x="68" y="694"/>
                  </a:lnTo>
                  <a:lnTo>
                    <a:pt x="68" y="692"/>
                  </a:lnTo>
                  <a:lnTo>
                    <a:pt x="68" y="692"/>
                  </a:lnTo>
                  <a:lnTo>
                    <a:pt x="70" y="692"/>
                  </a:lnTo>
                  <a:lnTo>
                    <a:pt x="70" y="690"/>
                  </a:lnTo>
                  <a:lnTo>
                    <a:pt x="66" y="688"/>
                  </a:lnTo>
                  <a:lnTo>
                    <a:pt x="66" y="688"/>
                  </a:lnTo>
                  <a:lnTo>
                    <a:pt x="62" y="690"/>
                  </a:lnTo>
                  <a:lnTo>
                    <a:pt x="58" y="690"/>
                  </a:lnTo>
                  <a:lnTo>
                    <a:pt x="58" y="690"/>
                  </a:lnTo>
                  <a:lnTo>
                    <a:pt x="58" y="686"/>
                  </a:lnTo>
                  <a:lnTo>
                    <a:pt x="58" y="686"/>
                  </a:lnTo>
                  <a:lnTo>
                    <a:pt x="50" y="686"/>
                  </a:lnTo>
                  <a:lnTo>
                    <a:pt x="50" y="684"/>
                  </a:lnTo>
                  <a:lnTo>
                    <a:pt x="50" y="684"/>
                  </a:lnTo>
                  <a:lnTo>
                    <a:pt x="46" y="684"/>
                  </a:lnTo>
                  <a:lnTo>
                    <a:pt x="46" y="686"/>
                  </a:lnTo>
                  <a:lnTo>
                    <a:pt x="46" y="686"/>
                  </a:lnTo>
                  <a:lnTo>
                    <a:pt x="46" y="688"/>
                  </a:lnTo>
                  <a:lnTo>
                    <a:pt x="46" y="688"/>
                  </a:lnTo>
                  <a:lnTo>
                    <a:pt x="42" y="686"/>
                  </a:lnTo>
                  <a:lnTo>
                    <a:pt x="42" y="686"/>
                  </a:lnTo>
                  <a:lnTo>
                    <a:pt x="42" y="684"/>
                  </a:lnTo>
                  <a:lnTo>
                    <a:pt x="42" y="684"/>
                  </a:lnTo>
                  <a:lnTo>
                    <a:pt x="44" y="684"/>
                  </a:lnTo>
                  <a:lnTo>
                    <a:pt x="44" y="682"/>
                  </a:lnTo>
                  <a:lnTo>
                    <a:pt x="44" y="682"/>
                  </a:lnTo>
                  <a:lnTo>
                    <a:pt x="56" y="680"/>
                  </a:lnTo>
                  <a:lnTo>
                    <a:pt x="56" y="680"/>
                  </a:lnTo>
                  <a:lnTo>
                    <a:pt x="56" y="678"/>
                  </a:lnTo>
                  <a:lnTo>
                    <a:pt x="56" y="676"/>
                  </a:lnTo>
                  <a:lnTo>
                    <a:pt x="56" y="676"/>
                  </a:lnTo>
                  <a:lnTo>
                    <a:pt x="52" y="678"/>
                  </a:lnTo>
                  <a:lnTo>
                    <a:pt x="52" y="678"/>
                  </a:lnTo>
                  <a:lnTo>
                    <a:pt x="48" y="678"/>
                  </a:lnTo>
                  <a:lnTo>
                    <a:pt x="46" y="676"/>
                  </a:lnTo>
                  <a:lnTo>
                    <a:pt x="44" y="670"/>
                  </a:lnTo>
                  <a:lnTo>
                    <a:pt x="44" y="670"/>
                  </a:lnTo>
                  <a:lnTo>
                    <a:pt x="50" y="670"/>
                  </a:lnTo>
                  <a:lnTo>
                    <a:pt x="50" y="670"/>
                  </a:lnTo>
                  <a:lnTo>
                    <a:pt x="50" y="674"/>
                  </a:lnTo>
                  <a:lnTo>
                    <a:pt x="50" y="674"/>
                  </a:lnTo>
                  <a:lnTo>
                    <a:pt x="54" y="672"/>
                  </a:lnTo>
                  <a:lnTo>
                    <a:pt x="54" y="674"/>
                  </a:lnTo>
                  <a:lnTo>
                    <a:pt x="54" y="674"/>
                  </a:lnTo>
                  <a:lnTo>
                    <a:pt x="56" y="668"/>
                  </a:lnTo>
                  <a:lnTo>
                    <a:pt x="56" y="668"/>
                  </a:lnTo>
                  <a:lnTo>
                    <a:pt x="60" y="668"/>
                  </a:lnTo>
                  <a:lnTo>
                    <a:pt x="60" y="668"/>
                  </a:lnTo>
                  <a:lnTo>
                    <a:pt x="60" y="676"/>
                  </a:lnTo>
                  <a:lnTo>
                    <a:pt x="64" y="678"/>
                  </a:lnTo>
                  <a:lnTo>
                    <a:pt x="64" y="678"/>
                  </a:lnTo>
                  <a:lnTo>
                    <a:pt x="62" y="682"/>
                  </a:lnTo>
                  <a:lnTo>
                    <a:pt x="66" y="682"/>
                  </a:lnTo>
                  <a:lnTo>
                    <a:pt x="66" y="682"/>
                  </a:lnTo>
                  <a:lnTo>
                    <a:pt x="66" y="678"/>
                  </a:lnTo>
                  <a:lnTo>
                    <a:pt x="72" y="678"/>
                  </a:lnTo>
                  <a:lnTo>
                    <a:pt x="72" y="678"/>
                  </a:lnTo>
                  <a:lnTo>
                    <a:pt x="74" y="680"/>
                  </a:lnTo>
                  <a:lnTo>
                    <a:pt x="74" y="680"/>
                  </a:lnTo>
                  <a:lnTo>
                    <a:pt x="78" y="680"/>
                  </a:lnTo>
                  <a:lnTo>
                    <a:pt x="78" y="680"/>
                  </a:lnTo>
                  <a:lnTo>
                    <a:pt x="72" y="674"/>
                  </a:lnTo>
                  <a:lnTo>
                    <a:pt x="72" y="674"/>
                  </a:lnTo>
                  <a:lnTo>
                    <a:pt x="66" y="674"/>
                  </a:lnTo>
                  <a:lnTo>
                    <a:pt x="66" y="674"/>
                  </a:lnTo>
                  <a:lnTo>
                    <a:pt x="64" y="670"/>
                  </a:lnTo>
                  <a:lnTo>
                    <a:pt x="64" y="666"/>
                  </a:lnTo>
                  <a:lnTo>
                    <a:pt x="64" y="666"/>
                  </a:lnTo>
                  <a:lnTo>
                    <a:pt x="74" y="660"/>
                  </a:lnTo>
                  <a:lnTo>
                    <a:pt x="74" y="660"/>
                  </a:lnTo>
                  <a:lnTo>
                    <a:pt x="64" y="660"/>
                  </a:lnTo>
                  <a:lnTo>
                    <a:pt x="62" y="660"/>
                  </a:lnTo>
                  <a:lnTo>
                    <a:pt x="62" y="658"/>
                  </a:lnTo>
                  <a:lnTo>
                    <a:pt x="62" y="654"/>
                  </a:lnTo>
                  <a:lnTo>
                    <a:pt x="62" y="646"/>
                  </a:lnTo>
                  <a:lnTo>
                    <a:pt x="62" y="646"/>
                  </a:lnTo>
                  <a:lnTo>
                    <a:pt x="64" y="646"/>
                  </a:lnTo>
                  <a:lnTo>
                    <a:pt x="68" y="646"/>
                  </a:lnTo>
                  <a:lnTo>
                    <a:pt x="68" y="646"/>
                  </a:lnTo>
                  <a:lnTo>
                    <a:pt x="68" y="646"/>
                  </a:lnTo>
                  <a:lnTo>
                    <a:pt x="72" y="648"/>
                  </a:lnTo>
                  <a:lnTo>
                    <a:pt x="72" y="648"/>
                  </a:lnTo>
                  <a:lnTo>
                    <a:pt x="78" y="642"/>
                  </a:lnTo>
                  <a:lnTo>
                    <a:pt x="78" y="642"/>
                  </a:lnTo>
                  <a:lnTo>
                    <a:pt x="82" y="646"/>
                  </a:lnTo>
                  <a:lnTo>
                    <a:pt x="82" y="646"/>
                  </a:lnTo>
                  <a:lnTo>
                    <a:pt x="86" y="644"/>
                  </a:lnTo>
                  <a:lnTo>
                    <a:pt x="90" y="690"/>
                  </a:lnTo>
                  <a:lnTo>
                    <a:pt x="90" y="690"/>
                  </a:lnTo>
                  <a:lnTo>
                    <a:pt x="94" y="688"/>
                  </a:lnTo>
                  <a:lnTo>
                    <a:pt x="100" y="688"/>
                  </a:lnTo>
                  <a:lnTo>
                    <a:pt x="100" y="688"/>
                  </a:lnTo>
                  <a:lnTo>
                    <a:pt x="96" y="688"/>
                  </a:lnTo>
                  <a:lnTo>
                    <a:pt x="98" y="688"/>
                  </a:lnTo>
                  <a:lnTo>
                    <a:pt x="106" y="690"/>
                  </a:lnTo>
                  <a:lnTo>
                    <a:pt x="106" y="690"/>
                  </a:lnTo>
                  <a:close/>
                  <a:moveTo>
                    <a:pt x="112" y="102"/>
                  </a:moveTo>
                  <a:lnTo>
                    <a:pt x="112" y="102"/>
                  </a:lnTo>
                  <a:lnTo>
                    <a:pt x="112" y="106"/>
                  </a:lnTo>
                  <a:lnTo>
                    <a:pt x="108" y="106"/>
                  </a:lnTo>
                  <a:lnTo>
                    <a:pt x="106" y="108"/>
                  </a:lnTo>
                  <a:lnTo>
                    <a:pt x="104" y="110"/>
                  </a:lnTo>
                  <a:lnTo>
                    <a:pt x="104" y="110"/>
                  </a:lnTo>
                  <a:lnTo>
                    <a:pt x="102" y="114"/>
                  </a:lnTo>
                  <a:lnTo>
                    <a:pt x="98" y="116"/>
                  </a:lnTo>
                  <a:lnTo>
                    <a:pt x="96" y="116"/>
                  </a:lnTo>
                  <a:lnTo>
                    <a:pt x="94" y="118"/>
                  </a:lnTo>
                  <a:lnTo>
                    <a:pt x="94" y="118"/>
                  </a:lnTo>
                  <a:lnTo>
                    <a:pt x="94" y="134"/>
                  </a:lnTo>
                  <a:lnTo>
                    <a:pt x="94" y="134"/>
                  </a:lnTo>
                  <a:lnTo>
                    <a:pt x="98" y="142"/>
                  </a:lnTo>
                  <a:lnTo>
                    <a:pt x="98" y="144"/>
                  </a:lnTo>
                  <a:lnTo>
                    <a:pt x="96" y="146"/>
                  </a:lnTo>
                  <a:lnTo>
                    <a:pt x="96" y="146"/>
                  </a:lnTo>
                  <a:lnTo>
                    <a:pt x="94" y="148"/>
                  </a:lnTo>
                  <a:lnTo>
                    <a:pt x="94" y="150"/>
                  </a:lnTo>
                  <a:lnTo>
                    <a:pt x="96" y="154"/>
                  </a:lnTo>
                  <a:lnTo>
                    <a:pt x="96" y="154"/>
                  </a:lnTo>
                  <a:lnTo>
                    <a:pt x="96" y="160"/>
                  </a:lnTo>
                  <a:lnTo>
                    <a:pt x="94" y="166"/>
                  </a:lnTo>
                  <a:lnTo>
                    <a:pt x="94" y="166"/>
                  </a:lnTo>
                  <a:lnTo>
                    <a:pt x="90" y="172"/>
                  </a:lnTo>
                  <a:lnTo>
                    <a:pt x="88" y="178"/>
                  </a:lnTo>
                  <a:lnTo>
                    <a:pt x="88" y="178"/>
                  </a:lnTo>
                  <a:lnTo>
                    <a:pt x="86" y="182"/>
                  </a:lnTo>
                  <a:lnTo>
                    <a:pt x="84" y="184"/>
                  </a:lnTo>
                  <a:lnTo>
                    <a:pt x="82" y="186"/>
                  </a:lnTo>
                  <a:lnTo>
                    <a:pt x="80" y="192"/>
                  </a:lnTo>
                  <a:lnTo>
                    <a:pt x="80" y="192"/>
                  </a:lnTo>
                  <a:lnTo>
                    <a:pt x="78" y="210"/>
                  </a:lnTo>
                  <a:lnTo>
                    <a:pt x="78" y="210"/>
                  </a:lnTo>
                  <a:lnTo>
                    <a:pt x="78" y="218"/>
                  </a:lnTo>
                  <a:lnTo>
                    <a:pt x="78" y="224"/>
                  </a:lnTo>
                  <a:lnTo>
                    <a:pt x="78" y="224"/>
                  </a:lnTo>
                  <a:lnTo>
                    <a:pt x="76" y="228"/>
                  </a:lnTo>
                  <a:lnTo>
                    <a:pt x="74" y="236"/>
                  </a:lnTo>
                  <a:lnTo>
                    <a:pt x="74" y="236"/>
                  </a:lnTo>
                  <a:lnTo>
                    <a:pt x="74" y="244"/>
                  </a:lnTo>
                  <a:lnTo>
                    <a:pt x="74" y="250"/>
                  </a:lnTo>
                  <a:lnTo>
                    <a:pt x="74" y="250"/>
                  </a:lnTo>
                  <a:lnTo>
                    <a:pt x="74" y="258"/>
                  </a:lnTo>
                  <a:lnTo>
                    <a:pt x="74" y="262"/>
                  </a:lnTo>
                  <a:lnTo>
                    <a:pt x="74" y="262"/>
                  </a:lnTo>
                  <a:lnTo>
                    <a:pt x="70" y="268"/>
                  </a:lnTo>
                  <a:lnTo>
                    <a:pt x="72" y="274"/>
                  </a:lnTo>
                  <a:lnTo>
                    <a:pt x="72" y="274"/>
                  </a:lnTo>
                  <a:lnTo>
                    <a:pt x="72" y="280"/>
                  </a:lnTo>
                  <a:lnTo>
                    <a:pt x="72" y="286"/>
                  </a:lnTo>
                  <a:lnTo>
                    <a:pt x="72" y="286"/>
                  </a:lnTo>
                  <a:lnTo>
                    <a:pt x="70" y="296"/>
                  </a:lnTo>
                  <a:lnTo>
                    <a:pt x="66" y="306"/>
                  </a:lnTo>
                  <a:lnTo>
                    <a:pt x="66" y="306"/>
                  </a:lnTo>
                  <a:lnTo>
                    <a:pt x="64" y="312"/>
                  </a:lnTo>
                  <a:lnTo>
                    <a:pt x="66" y="316"/>
                  </a:lnTo>
                  <a:lnTo>
                    <a:pt x="66" y="316"/>
                  </a:lnTo>
                  <a:lnTo>
                    <a:pt x="66" y="322"/>
                  </a:lnTo>
                  <a:lnTo>
                    <a:pt x="66" y="326"/>
                  </a:lnTo>
                  <a:lnTo>
                    <a:pt x="66" y="326"/>
                  </a:lnTo>
                  <a:lnTo>
                    <a:pt x="64" y="328"/>
                  </a:lnTo>
                  <a:lnTo>
                    <a:pt x="62" y="328"/>
                  </a:lnTo>
                  <a:lnTo>
                    <a:pt x="60" y="328"/>
                  </a:lnTo>
                  <a:lnTo>
                    <a:pt x="60" y="328"/>
                  </a:lnTo>
                  <a:lnTo>
                    <a:pt x="58" y="332"/>
                  </a:lnTo>
                  <a:lnTo>
                    <a:pt x="56" y="334"/>
                  </a:lnTo>
                  <a:lnTo>
                    <a:pt x="54" y="338"/>
                  </a:lnTo>
                  <a:lnTo>
                    <a:pt x="54" y="338"/>
                  </a:lnTo>
                  <a:lnTo>
                    <a:pt x="54" y="344"/>
                  </a:lnTo>
                  <a:lnTo>
                    <a:pt x="54" y="352"/>
                  </a:lnTo>
                  <a:lnTo>
                    <a:pt x="54" y="352"/>
                  </a:lnTo>
                  <a:lnTo>
                    <a:pt x="54" y="354"/>
                  </a:lnTo>
                  <a:lnTo>
                    <a:pt x="56" y="356"/>
                  </a:lnTo>
                  <a:lnTo>
                    <a:pt x="58" y="362"/>
                  </a:lnTo>
                  <a:lnTo>
                    <a:pt x="58" y="362"/>
                  </a:lnTo>
                  <a:lnTo>
                    <a:pt x="56" y="364"/>
                  </a:lnTo>
                  <a:lnTo>
                    <a:pt x="56" y="364"/>
                  </a:lnTo>
                  <a:lnTo>
                    <a:pt x="54" y="366"/>
                  </a:lnTo>
                  <a:lnTo>
                    <a:pt x="54" y="366"/>
                  </a:lnTo>
                  <a:lnTo>
                    <a:pt x="50" y="376"/>
                  </a:lnTo>
                  <a:lnTo>
                    <a:pt x="48" y="386"/>
                  </a:lnTo>
                  <a:lnTo>
                    <a:pt x="48" y="386"/>
                  </a:lnTo>
                  <a:lnTo>
                    <a:pt x="48" y="392"/>
                  </a:lnTo>
                  <a:lnTo>
                    <a:pt x="44" y="396"/>
                  </a:lnTo>
                  <a:lnTo>
                    <a:pt x="44" y="396"/>
                  </a:lnTo>
                  <a:lnTo>
                    <a:pt x="42" y="400"/>
                  </a:lnTo>
                  <a:lnTo>
                    <a:pt x="44" y="402"/>
                  </a:lnTo>
                  <a:lnTo>
                    <a:pt x="44" y="406"/>
                  </a:lnTo>
                  <a:lnTo>
                    <a:pt x="46" y="410"/>
                  </a:lnTo>
                  <a:lnTo>
                    <a:pt x="46" y="410"/>
                  </a:lnTo>
                  <a:lnTo>
                    <a:pt x="44" y="416"/>
                  </a:lnTo>
                  <a:lnTo>
                    <a:pt x="44" y="420"/>
                  </a:lnTo>
                  <a:lnTo>
                    <a:pt x="46" y="422"/>
                  </a:lnTo>
                  <a:lnTo>
                    <a:pt x="46" y="422"/>
                  </a:lnTo>
                  <a:lnTo>
                    <a:pt x="50" y="422"/>
                  </a:lnTo>
                  <a:lnTo>
                    <a:pt x="50" y="426"/>
                  </a:lnTo>
                  <a:lnTo>
                    <a:pt x="50" y="426"/>
                  </a:lnTo>
                  <a:lnTo>
                    <a:pt x="50" y="438"/>
                  </a:lnTo>
                  <a:lnTo>
                    <a:pt x="50" y="438"/>
                  </a:lnTo>
                  <a:lnTo>
                    <a:pt x="46" y="446"/>
                  </a:lnTo>
                  <a:lnTo>
                    <a:pt x="46" y="450"/>
                  </a:lnTo>
                  <a:lnTo>
                    <a:pt x="46" y="452"/>
                  </a:lnTo>
                  <a:lnTo>
                    <a:pt x="46" y="452"/>
                  </a:lnTo>
                  <a:lnTo>
                    <a:pt x="48" y="458"/>
                  </a:lnTo>
                  <a:lnTo>
                    <a:pt x="50" y="460"/>
                  </a:lnTo>
                  <a:lnTo>
                    <a:pt x="50" y="462"/>
                  </a:lnTo>
                  <a:lnTo>
                    <a:pt x="50" y="462"/>
                  </a:lnTo>
                  <a:lnTo>
                    <a:pt x="50" y="466"/>
                  </a:lnTo>
                  <a:lnTo>
                    <a:pt x="50" y="472"/>
                  </a:lnTo>
                  <a:lnTo>
                    <a:pt x="50" y="472"/>
                  </a:lnTo>
                  <a:lnTo>
                    <a:pt x="52" y="478"/>
                  </a:lnTo>
                  <a:lnTo>
                    <a:pt x="52" y="480"/>
                  </a:lnTo>
                  <a:lnTo>
                    <a:pt x="52" y="482"/>
                  </a:lnTo>
                  <a:lnTo>
                    <a:pt x="52" y="482"/>
                  </a:lnTo>
                  <a:lnTo>
                    <a:pt x="50" y="486"/>
                  </a:lnTo>
                  <a:lnTo>
                    <a:pt x="50" y="490"/>
                  </a:lnTo>
                  <a:lnTo>
                    <a:pt x="50" y="490"/>
                  </a:lnTo>
                  <a:lnTo>
                    <a:pt x="52" y="494"/>
                  </a:lnTo>
                  <a:lnTo>
                    <a:pt x="52" y="494"/>
                  </a:lnTo>
                  <a:lnTo>
                    <a:pt x="50" y="496"/>
                  </a:lnTo>
                  <a:lnTo>
                    <a:pt x="50" y="496"/>
                  </a:lnTo>
                  <a:lnTo>
                    <a:pt x="48" y="496"/>
                  </a:lnTo>
                  <a:lnTo>
                    <a:pt x="48" y="498"/>
                  </a:lnTo>
                  <a:lnTo>
                    <a:pt x="46" y="502"/>
                  </a:lnTo>
                  <a:lnTo>
                    <a:pt x="46" y="502"/>
                  </a:lnTo>
                  <a:lnTo>
                    <a:pt x="46" y="502"/>
                  </a:lnTo>
                  <a:lnTo>
                    <a:pt x="46" y="504"/>
                  </a:lnTo>
                  <a:lnTo>
                    <a:pt x="48" y="510"/>
                  </a:lnTo>
                  <a:lnTo>
                    <a:pt x="48" y="510"/>
                  </a:lnTo>
                  <a:lnTo>
                    <a:pt x="48" y="514"/>
                  </a:lnTo>
                  <a:lnTo>
                    <a:pt x="48" y="520"/>
                  </a:lnTo>
                  <a:lnTo>
                    <a:pt x="48" y="520"/>
                  </a:lnTo>
                  <a:lnTo>
                    <a:pt x="46" y="526"/>
                  </a:lnTo>
                  <a:lnTo>
                    <a:pt x="46" y="532"/>
                  </a:lnTo>
                  <a:lnTo>
                    <a:pt x="46" y="532"/>
                  </a:lnTo>
                  <a:lnTo>
                    <a:pt x="46" y="536"/>
                  </a:lnTo>
                  <a:lnTo>
                    <a:pt x="46" y="538"/>
                  </a:lnTo>
                  <a:lnTo>
                    <a:pt x="46" y="538"/>
                  </a:lnTo>
                  <a:lnTo>
                    <a:pt x="42" y="542"/>
                  </a:lnTo>
                  <a:lnTo>
                    <a:pt x="42" y="542"/>
                  </a:lnTo>
                  <a:lnTo>
                    <a:pt x="40" y="548"/>
                  </a:lnTo>
                  <a:lnTo>
                    <a:pt x="40" y="552"/>
                  </a:lnTo>
                  <a:lnTo>
                    <a:pt x="40" y="552"/>
                  </a:lnTo>
                  <a:lnTo>
                    <a:pt x="42" y="558"/>
                  </a:lnTo>
                  <a:lnTo>
                    <a:pt x="38" y="562"/>
                  </a:lnTo>
                  <a:lnTo>
                    <a:pt x="38" y="562"/>
                  </a:lnTo>
                  <a:lnTo>
                    <a:pt x="32" y="566"/>
                  </a:lnTo>
                  <a:lnTo>
                    <a:pt x="30" y="568"/>
                  </a:lnTo>
                  <a:lnTo>
                    <a:pt x="30" y="570"/>
                  </a:lnTo>
                  <a:lnTo>
                    <a:pt x="30" y="570"/>
                  </a:lnTo>
                  <a:lnTo>
                    <a:pt x="32" y="578"/>
                  </a:lnTo>
                  <a:lnTo>
                    <a:pt x="30" y="582"/>
                  </a:lnTo>
                  <a:lnTo>
                    <a:pt x="30" y="582"/>
                  </a:lnTo>
                  <a:lnTo>
                    <a:pt x="28" y="588"/>
                  </a:lnTo>
                  <a:lnTo>
                    <a:pt x="28" y="594"/>
                  </a:lnTo>
                  <a:lnTo>
                    <a:pt x="28" y="594"/>
                  </a:lnTo>
                  <a:lnTo>
                    <a:pt x="28" y="600"/>
                  </a:lnTo>
                  <a:lnTo>
                    <a:pt x="28" y="602"/>
                  </a:lnTo>
                  <a:lnTo>
                    <a:pt x="30" y="602"/>
                  </a:lnTo>
                  <a:lnTo>
                    <a:pt x="30" y="602"/>
                  </a:lnTo>
                  <a:lnTo>
                    <a:pt x="32" y="602"/>
                  </a:lnTo>
                  <a:lnTo>
                    <a:pt x="34" y="600"/>
                  </a:lnTo>
                  <a:lnTo>
                    <a:pt x="36" y="600"/>
                  </a:lnTo>
                  <a:lnTo>
                    <a:pt x="38" y="600"/>
                  </a:lnTo>
                  <a:lnTo>
                    <a:pt x="38" y="600"/>
                  </a:lnTo>
                  <a:lnTo>
                    <a:pt x="40" y="606"/>
                  </a:lnTo>
                  <a:lnTo>
                    <a:pt x="38" y="610"/>
                  </a:lnTo>
                  <a:lnTo>
                    <a:pt x="38" y="610"/>
                  </a:lnTo>
                  <a:lnTo>
                    <a:pt x="36" y="612"/>
                  </a:lnTo>
                  <a:lnTo>
                    <a:pt x="36" y="614"/>
                  </a:lnTo>
                  <a:lnTo>
                    <a:pt x="38" y="620"/>
                  </a:lnTo>
                  <a:lnTo>
                    <a:pt x="38" y="620"/>
                  </a:lnTo>
                  <a:lnTo>
                    <a:pt x="46" y="628"/>
                  </a:lnTo>
                  <a:lnTo>
                    <a:pt x="50" y="634"/>
                  </a:lnTo>
                  <a:lnTo>
                    <a:pt x="50" y="634"/>
                  </a:lnTo>
                  <a:lnTo>
                    <a:pt x="68" y="632"/>
                  </a:lnTo>
                  <a:lnTo>
                    <a:pt x="68" y="632"/>
                  </a:lnTo>
                  <a:lnTo>
                    <a:pt x="92" y="634"/>
                  </a:lnTo>
                  <a:lnTo>
                    <a:pt x="92" y="636"/>
                  </a:lnTo>
                  <a:lnTo>
                    <a:pt x="92" y="636"/>
                  </a:lnTo>
                  <a:lnTo>
                    <a:pt x="82" y="636"/>
                  </a:lnTo>
                  <a:lnTo>
                    <a:pt x="78" y="638"/>
                  </a:lnTo>
                  <a:lnTo>
                    <a:pt x="76" y="644"/>
                  </a:lnTo>
                  <a:lnTo>
                    <a:pt x="76" y="644"/>
                  </a:lnTo>
                  <a:lnTo>
                    <a:pt x="58" y="644"/>
                  </a:lnTo>
                  <a:lnTo>
                    <a:pt x="58" y="644"/>
                  </a:lnTo>
                  <a:lnTo>
                    <a:pt x="60" y="648"/>
                  </a:lnTo>
                  <a:lnTo>
                    <a:pt x="60" y="648"/>
                  </a:lnTo>
                  <a:lnTo>
                    <a:pt x="56" y="654"/>
                  </a:lnTo>
                  <a:lnTo>
                    <a:pt x="56" y="654"/>
                  </a:lnTo>
                  <a:lnTo>
                    <a:pt x="58" y="660"/>
                  </a:lnTo>
                  <a:lnTo>
                    <a:pt x="56" y="666"/>
                  </a:lnTo>
                  <a:lnTo>
                    <a:pt x="56" y="666"/>
                  </a:lnTo>
                  <a:lnTo>
                    <a:pt x="54" y="668"/>
                  </a:lnTo>
                  <a:lnTo>
                    <a:pt x="54" y="668"/>
                  </a:lnTo>
                  <a:lnTo>
                    <a:pt x="48" y="666"/>
                  </a:lnTo>
                  <a:lnTo>
                    <a:pt x="48" y="666"/>
                  </a:lnTo>
                  <a:lnTo>
                    <a:pt x="44" y="664"/>
                  </a:lnTo>
                  <a:lnTo>
                    <a:pt x="44" y="662"/>
                  </a:lnTo>
                  <a:lnTo>
                    <a:pt x="44" y="656"/>
                  </a:lnTo>
                  <a:lnTo>
                    <a:pt x="44" y="656"/>
                  </a:lnTo>
                  <a:lnTo>
                    <a:pt x="40" y="658"/>
                  </a:lnTo>
                  <a:lnTo>
                    <a:pt x="40" y="658"/>
                  </a:lnTo>
                  <a:lnTo>
                    <a:pt x="40" y="662"/>
                  </a:lnTo>
                  <a:lnTo>
                    <a:pt x="40" y="662"/>
                  </a:lnTo>
                  <a:lnTo>
                    <a:pt x="34" y="658"/>
                  </a:lnTo>
                  <a:lnTo>
                    <a:pt x="32" y="658"/>
                  </a:lnTo>
                  <a:lnTo>
                    <a:pt x="36" y="662"/>
                  </a:lnTo>
                  <a:lnTo>
                    <a:pt x="36" y="662"/>
                  </a:lnTo>
                  <a:lnTo>
                    <a:pt x="42" y="666"/>
                  </a:lnTo>
                  <a:lnTo>
                    <a:pt x="42" y="666"/>
                  </a:lnTo>
                  <a:lnTo>
                    <a:pt x="40" y="670"/>
                  </a:lnTo>
                  <a:lnTo>
                    <a:pt x="42" y="674"/>
                  </a:lnTo>
                  <a:lnTo>
                    <a:pt x="42" y="674"/>
                  </a:lnTo>
                  <a:lnTo>
                    <a:pt x="42" y="674"/>
                  </a:lnTo>
                  <a:lnTo>
                    <a:pt x="38" y="676"/>
                  </a:lnTo>
                  <a:lnTo>
                    <a:pt x="38" y="676"/>
                  </a:lnTo>
                  <a:lnTo>
                    <a:pt x="38" y="674"/>
                  </a:lnTo>
                  <a:lnTo>
                    <a:pt x="38" y="674"/>
                  </a:lnTo>
                  <a:lnTo>
                    <a:pt x="36" y="674"/>
                  </a:lnTo>
                  <a:lnTo>
                    <a:pt x="34" y="674"/>
                  </a:lnTo>
                  <a:lnTo>
                    <a:pt x="34" y="674"/>
                  </a:lnTo>
                  <a:lnTo>
                    <a:pt x="32" y="672"/>
                  </a:lnTo>
                  <a:lnTo>
                    <a:pt x="32" y="672"/>
                  </a:lnTo>
                  <a:lnTo>
                    <a:pt x="32" y="670"/>
                  </a:lnTo>
                  <a:lnTo>
                    <a:pt x="32" y="668"/>
                  </a:lnTo>
                  <a:lnTo>
                    <a:pt x="32" y="668"/>
                  </a:lnTo>
                  <a:lnTo>
                    <a:pt x="30" y="668"/>
                  </a:lnTo>
                  <a:lnTo>
                    <a:pt x="28" y="670"/>
                  </a:lnTo>
                  <a:lnTo>
                    <a:pt x="28" y="668"/>
                  </a:lnTo>
                  <a:lnTo>
                    <a:pt x="28" y="668"/>
                  </a:lnTo>
                  <a:lnTo>
                    <a:pt x="26" y="668"/>
                  </a:lnTo>
                  <a:lnTo>
                    <a:pt x="26" y="666"/>
                  </a:lnTo>
                  <a:lnTo>
                    <a:pt x="26" y="666"/>
                  </a:lnTo>
                  <a:lnTo>
                    <a:pt x="24" y="666"/>
                  </a:lnTo>
                  <a:lnTo>
                    <a:pt x="24" y="666"/>
                  </a:lnTo>
                  <a:lnTo>
                    <a:pt x="24" y="662"/>
                  </a:lnTo>
                  <a:lnTo>
                    <a:pt x="24" y="662"/>
                  </a:lnTo>
                  <a:lnTo>
                    <a:pt x="26" y="654"/>
                  </a:lnTo>
                  <a:lnTo>
                    <a:pt x="30" y="654"/>
                  </a:lnTo>
                  <a:lnTo>
                    <a:pt x="30" y="654"/>
                  </a:lnTo>
                  <a:lnTo>
                    <a:pt x="30" y="656"/>
                  </a:lnTo>
                  <a:lnTo>
                    <a:pt x="32" y="656"/>
                  </a:lnTo>
                  <a:lnTo>
                    <a:pt x="32" y="654"/>
                  </a:lnTo>
                  <a:lnTo>
                    <a:pt x="32" y="654"/>
                  </a:lnTo>
                  <a:lnTo>
                    <a:pt x="30" y="652"/>
                  </a:lnTo>
                  <a:lnTo>
                    <a:pt x="26" y="652"/>
                  </a:lnTo>
                  <a:lnTo>
                    <a:pt x="26" y="652"/>
                  </a:lnTo>
                  <a:lnTo>
                    <a:pt x="24" y="644"/>
                  </a:lnTo>
                  <a:lnTo>
                    <a:pt x="22" y="636"/>
                  </a:lnTo>
                  <a:lnTo>
                    <a:pt x="22" y="636"/>
                  </a:lnTo>
                  <a:lnTo>
                    <a:pt x="26" y="636"/>
                  </a:lnTo>
                  <a:lnTo>
                    <a:pt x="30" y="636"/>
                  </a:lnTo>
                  <a:lnTo>
                    <a:pt x="30" y="636"/>
                  </a:lnTo>
                  <a:lnTo>
                    <a:pt x="30" y="638"/>
                  </a:lnTo>
                  <a:lnTo>
                    <a:pt x="32" y="638"/>
                  </a:lnTo>
                  <a:lnTo>
                    <a:pt x="32" y="638"/>
                  </a:lnTo>
                  <a:lnTo>
                    <a:pt x="34" y="632"/>
                  </a:lnTo>
                  <a:lnTo>
                    <a:pt x="36" y="632"/>
                  </a:lnTo>
                  <a:lnTo>
                    <a:pt x="36" y="632"/>
                  </a:lnTo>
                  <a:lnTo>
                    <a:pt x="40" y="628"/>
                  </a:lnTo>
                  <a:lnTo>
                    <a:pt x="40" y="626"/>
                  </a:lnTo>
                  <a:lnTo>
                    <a:pt x="40" y="626"/>
                  </a:lnTo>
                  <a:lnTo>
                    <a:pt x="38" y="628"/>
                  </a:lnTo>
                  <a:lnTo>
                    <a:pt x="36" y="628"/>
                  </a:lnTo>
                  <a:lnTo>
                    <a:pt x="36" y="628"/>
                  </a:lnTo>
                  <a:lnTo>
                    <a:pt x="34" y="624"/>
                  </a:lnTo>
                  <a:lnTo>
                    <a:pt x="34" y="624"/>
                  </a:lnTo>
                  <a:lnTo>
                    <a:pt x="30" y="630"/>
                  </a:lnTo>
                  <a:lnTo>
                    <a:pt x="26" y="634"/>
                  </a:lnTo>
                  <a:lnTo>
                    <a:pt x="26" y="634"/>
                  </a:lnTo>
                  <a:lnTo>
                    <a:pt x="24" y="634"/>
                  </a:lnTo>
                  <a:lnTo>
                    <a:pt x="24" y="634"/>
                  </a:lnTo>
                  <a:lnTo>
                    <a:pt x="24" y="628"/>
                  </a:lnTo>
                  <a:lnTo>
                    <a:pt x="24" y="628"/>
                  </a:lnTo>
                  <a:lnTo>
                    <a:pt x="18" y="632"/>
                  </a:lnTo>
                  <a:lnTo>
                    <a:pt x="18" y="632"/>
                  </a:lnTo>
                  <a:lnTo>
                    <a:pt x="18" y="632"/>
                  </a:lnTo>
                  <a:lnTo>
                    <a:pt x="16" y="632"/>
                  </a:lnTo>
                  <a:lnTo>
                    <a:pt x="16" y="632"/>
                  </a:lnTo>
                  <a:lnTo>
                    <a:pt x="20" y="638"/>
                  </a:lnTo>
                  <a:lnTo>
                    <a:pt x="20" y="648"/>
                  </a:lnTo>
                  <a:lnTo>
                    <a:pt x="20" y="648"/>
                  </a:lnTo>
                  <a:lnTo>
                    <a:pt x="12" y="646"/>
                  </a:lnTo>
                  <a:lnTo>
                    <a:pt x="12" y="646"/>
                  </a:lnTo>
                  <a:lnTo>
                    <a:pt x="14" y="648"/>
                  </a:lnTo>
                  <a:lnTo>
                    <a:pt x="14" y="648"/>
                  </a:lnTo>
                  <a:lnTo>
                    <a:pt x="16" y="648"/>
                  </a:lnTo>
                  <a:lnTo>
                    <a:pt x="16" y="648"/>
                  </a:lnTo>
                  <a:lnTo>
                    <a:pt x="24" y="654"/>
                  </a:lnTo>
                  <a:lnTo>
                    <a:pt x="24" y="656"/>
                  </a:lnTo>
                  <a:lnTo>
                    <a:pt x="22" y="656"/>
                  </a:lnTo>
                  <a:lnTo>
                    <a:pt x="22" y="656"/>
                  </a:lnTo>
                  <a:lnTo>
                    <a:pt x="18" y="656"/>
                  </a:lnTo>
                  <a:lnTo>
                    <a:pt x="16" y="656"/>
                  </a:lnTo>
                  <a:lnTo>
                    <a:pt x="16" y="656"/>
                  </a:lnTo>
                  <a:lnTo>
                    <a:pt x="8" y="648"/>
                  </a:lnTo>
                  <a:lnTo>
                    <a:pt x="8" y="648"/>
                  </a:lnTo>
                  <a:lnTo>
                    <a:pt x="10" y="644"/>
                  </a:lnTo>
                  <a:lnTo>
                    <a:pt x="10" y="644"/>
                  </a:lnTo>
                  <a:lnTo>
                    <a:pt x="6" y="640"/>
                  </a:lnTo>
                  <a:lnTo>
                    <a:pt x="4" y="638"/>
                  </a:lnTo>
                  <a:lnTo>
                    <a:pt x="4" y="638"/>
                  </a:lnTo>
                  <a:lnTo>
                    <a:pt x="2" y="632"/>
                  </a:lnTo>
                  <a:lnTo>
                    <a:pt x="2" y="632"/>
                  </a:lnTo>
                  <a:lnTo>
                    <a:pt x="2" y="630"/>
                  </a:lnTo>
                  <a:lnTo>
                    <a:pt x="4" y="628"/>
                  </a:lnTo>
                  <a:lnTo>
                    <a:pt x="8" y="626"/>
                  </a:lnTo>
                  <a:lnTo>
                    <a:pt x="8" y="626"/>
                  </a:lnTo>
                  <a:lnTo>
                    <a:pt x="12" y="630"/>
                  </a:lnTo>
                  <a:lnTo>
                    <a:pt x="12" y="630"/>
                  </a:lnTo>
                  <a:lnTo>
                    <a:pt x="14" y="630"/>
                  </a:lnTo>
                  <a:lnTo>
                    <a:pt x="14" y="630"/>
                  </a:lnTo>
                  <a:lnTo>
                    <a:pt x="14" y="628"/>
                  </a:lnTo>
                  <a:lnTo>
                    <a:pt x="14" y="628"/>
                  </a:lnTo>
                  <a:lnTo>
                    <a:pt x="16" y="628"/>
                  </a:lnTo>
                  <a:lnTo>
                    <a:pt x="20" y="628"/>
                  </a:lnTo>
                  <a:lnTo>
                    <a:pt x="20" y="628"/>
                  </a:lnTo>
                  <a:lnTo>
                    <a:pt x="20" y="624"/>
                  </a:lnTo>
                  <a:lnTo>
                    <a:pt x="20" y="624"/>
                  </a:lnTo>
                  <a:lnTo>
                    <a:pt x="24" y="624"/>
                  </a:lnTo>
                  <a:lnTo>
                    <a:pt x="24" y="624"/>
                  </a:lnTo>
                  <a:lnTo>
                    <a:pt x="22" y="620"/>
                  </a:lnTo>
                  <a:lnTo>
                    <a:pt x="22" y="620"/>
                  </a:lnTo>
                  <a:lnTo>
                    <a:pt x="20" y="618"/>
                  </a:lnTo>
                  <a:lnTo>
                    <a:pt x="18" y="616"/>
                  </a:lnTo>
                  <a:lnTo>
                    <a:pt x="18" y="616"/>
                  </a:lnTo>
                  <a:lnTo>
                    <a:pt x="18" y="614"/>
                  </a:lnTo>
                  <a:lnTo>
                    <a:pt x="18" y="612"/>
                  </a:lnTo>
                  <a:lnTo>
                    <a:pt x="18" y="612"/>
                  </a:lnTo>
                  <a:lnTo>
                    <a:pt x="24" y="608"/>
                  </a:lnTo>
                  <a:lnTo>
                    <a:pt x="24" y="608"/>
                  </a:lnTo>
                  <a:lnTo>
                    <a:pt x="22" y="608"/>
                  </a:lnTo>
                  <a:lnTo>
                    <a:pt x="22" y="608"/>
                  </a:lnTo>
                  <a:lnTo>
                    <a:pt x="18" y="606"/>
                  </a:lnTo>
                  <a:lnTo>
                    <a:pt x="18" y="606"/>
                  </a:lnTo>
                  <a:lnTo>
                    <a:pt x="18" y="602"/>
                  </a:lnTo>
                  <a:lnTo>
                    <a:pt x="18" y="602"/>
                  </a:lnTo>
                  <a:lnTo>
                    <a:pt x="20" y="602"/>
                  </a:lnTo>
                  <a:lnTo>
                    <a:pt x="22" y="602"/>
                  </a:lnTo>
                  <a:lnTo>
                    <a:pt x="20" y="602"/>
                  </a:lnTo>
                  <a:lnTo>
                    <a:pt x="20" y="602"/>
                  </a:lnTo>
                  <a:lnTo>
                    <a:pt x="16" y="600"/>
                  </a:lnTo>
                  <a:lnTo>
                    <a:pt x="12" y="600"/>
                  </a:lnTo>
                  <a:lnTo>
                    <a:pt x="12" y="600"/>
                  </a:lnTo>
                  <a:lnTo>
                    <a:pt x="12" y="594"/>
                  </a:lnTo>
                  <a:lnTo>
                    <a:pt x="12" y="594"/>
                  </a:lnTo>
                  <a:lnTo>
                    <a:pt x="16" y="590"/>
                  </a:lnTo>
                  <a:lnTo>
                    <a:pt x="16" y="590"/>
                  </a:lnTo>
                  <a:lnTo>
                    <a:pt x="16" y="586"/>
                  </a:lnTo>
                  <a:lnTo>
                    <a:pt x="16" y="586"/>
                  </a:lnTo>
                  <a:lnTo>
                    <a:pt x="18" y="584"/>
                  </a:lnTo>
                  <a:lnTo>
                    <a:pt x="20" y="584"/>
                  </a:lnTo>
                  <a:lnTo>
                    <a:pt x="20" y="582"/>
                  </a:lnTo>
                  <a:lnTo>
                    <a:pt x="20" y="582"/>
                  </a:lnTo>
                  <a:lnTo>
                    <a:pt x="22" y="576"/>
                  </a:lnTo>
                  <a:lnTo>
                    <a:pt x="22" y="576"/>
                  </a:lnTo>
                  <a:lnTo>
                    <a:pt x="18" y="578"/>
                  </a:lnTo>
                  <a:lnTo>
                    <a:pt x="18" y="578"/>
                  </a:lnTo>
                  <a:lnTo>
                    <a:pt x="18" y="580"/>
                  </a:lnTo>
                  <a:lnTo>
                    <a:pt x="18" y="580"/>
                  </a:lnTo>
                  <a:lnTo>
                    <a:pt x="16" y="580"/>
                  </a:lnTo>
                  <a:lnTo>
                    <a:pt x="16" y="580"/>
                  </a:lnTo>
                  <a:lnTo>
                    <a:pt x="16" y="568"/>
                  </a:lnTo>
                  <a:lnTo>
                    <a:pt x="18" y="568"/>
                  </a:lnTo>
                  <a:lnTo>
                    <a:pt x="18" y="568"/>
                  </a:lnTo>
                  <a:lnTo>
                    <a:pt x="16" y="564"/>
                  </a:lnTo>
                  <a:lnTo>
                    <a:pt x="16" y="564"/>
                  </a:lnTo>
                  <a:lnTo>
                    <a:pt x="16" y="556"/>
                  </a:lnTo>
                  <a:lnTo>
                    <a:pt x="16" y="548"/>
                  </a:lnTo>
                  <a:lnTo>
                    <a:pt x="16" y="548"/>
                  </a:lnTo>
                  <a:lnTo>
                    <a:pt x="20" y="550"/>
                  </a:lnTo>
                  <a:lnTo>
                    <a:pt x="20" y="550"/>
                  </a:lnTo>
                  <a:lnTo>
                    <a:pt x="20" y="548"/>
                  </a:lnTo>
                  <a:lnTo>
                    <a:pt x="22" y="546"/>
                  </a:lnTo>
                  <a:lnTo>
                    <a:pt x="22" y="546"/>
                  </a:lnTo>
                  <a:lnTo>
                    <a:pt x="18" y="546"/>
                  </a:lnTo>
                  <a:lnTo>
                    <a:pt x="18" y="546"/>
                  </a:lnTo>
                  <a:lnTo>
                    <a:pt x="20" y="542"/>
                  </a:lnTo>
                  <a:lnTo>
                    <a:pt x="20" y="538"/>
                  </a:lnTo>
                  <a:lnTo>
                    <a:pt x="18" y="530"/>
                  </a:lnTo>
                  <a:lnTo>
                    <a:pt x="18" y="530"/>
                  </a:lnTo>
                  <a:lnTo>
                    <a:pt x="12" y="530"/>
                  </a:lnTo>
                  <a:lnTo>
                    <a:pt x="12" y="530"/>
                  </a:lnTo>
                  <a:lnTo>
                    <a:pt x="12" y="534"/>
                  </a:lnTo>
                  <a:lnTo>
                    <a:pt x="12" y="534"/>
                  </a:lnTo>
                  <a:lnTo>
                    <a:pt x="6" y="532"/>
                  </a:lnTo>
                  <a:lnTo>
                    <a:pt x="6" y="532"/>
                  </a:lnTo>
                  <a:lnTo>
                    <a:pt x="6" y="530"/>
                  </a:lnTo>
                  <a:lnTo>
                    <a:pt x="6" y="530"/>
                  </a:lnTo>
                  <a:lnTo>
                    <a:pt x="6" y="528"/>
                  </a:lnTo>
                  <a:lnTo>
                    <a:pt x="6" y="528"/>
                  </a:lnTo>
                  <a:lnTo>
                    <a:pt x="8" y="528"/>
                  </a:lnTo>
                  <a:lnTo>
                    <a:pt x="8" y="526"/>
                  </a:lnTo>
                  <a:lnTo>
                    <a:pt x="8" y="526"/>
                  </a:lnTo>
                  <a:lnTo>
                    <a:pt x="6" y="526"/>
                  </a:lnTo>
                  <a:lnTo>
                    <a:pt x="6" y="528"/>
                  </a:lnTo>
                  <a:lnTo>
                    <a:pt x="6" y="528"/>
                  </a:lnTo>
                  <a:lnTo>
                    <a:pt x="2" y="528"/>
                  </a:lnTo>
                  <a:lnTo>
                    <a:pt x="2" y="528"/>
                  </a:lnTo>
                  <a:lnTo>
                    <a:pt x="2" y="532"/>
                  </a:lnTo>
                  <a:lnTo>
                    <a:pt x="0" y="532"/>
                  </a:lnTo>
                  <a:lnTo>
                    <a:pt x="0" y="532"/>
                  </a:lnTo>
                  <a:lnTo>
                    <a:pt x="0" y="526"/>
                  </a:lnTo>
                  <a:lnTo>
                    <a:pt x="0" y="526"/>
                  </a:lnTo>
                  <a:lnTo>
                    <a:pt x="6" y="522"/>
                  </a:lnTo>
                  <a:lnTo>
                    <a:pt x="6" y="522"/>
                  </a:lnTo>
                  <a:lnTo>
                    <a:pt x="2" y="518"/>
                  </a:lnTo>
                  <a:lnTo>
                    <a:pt x="6" y="516"/>
                  </a:lnTo>
                  <a:lnTo>
                    <a:pt x="8" y="514"/>
                  </a:lnTo>
                  <a:lnTo>
                    <a:pt x="8" y="514"/>
                  </a:lnTo>
                  <a:lnTo>
                    <a:pt x="12" y="514"/>
                  </a:lnTo>
                  <a:lnTo>
                    <a:pt x="12" y="514"/>
                  </a:lnTo>
                  <a:lnTo>
                    <a:pt x="12" y="520"/>
                  </a:lnTo>
                  <a:lnTo>
                    <a:pt x="12" y="520"/>
                  </a:lnTo>
                  <a:lnTo>
                    <a:pt x="16" y="516"/>
                  </a:lnTo>
                  <a:lnTo>
                    <a:pt x="16" y="516"/>
                  </a:lnTo>
                  <a:lnTo>
                    <a:pt x="16" y="520"/>
                  </a:lnTo>
                  <a:lnTo>
                    <a:pt x="16" y="520"/>
                  </a:lnTo>
                  <a:lnTo>
                    <a:pt x="14" y="520"/>
                  </a:lnTo>
                  <a:lnTo>
                    <a:pt x="16" y="520"/>
                  </a:lnTo>
                  <a:lnTo>
                    <a:pt x="18" y="520"/>
                  </a:lnTo>
                  <a:lnTo>
                    <a:pt x="18" y="520"/>
                  </a:lnTo>
                  <a:lnTo>
                    <a:pt x="18" y="518"/>
                  </a:lnTo>
                  <a:lnTo>
                    <a:pt x="18" y="518"/>
                  </a:lnTo>
                  <a:lnTo>
                    <a:pt x="22" y="518"/>
                  </a:lnTo>
                  <a:lnTo>
                    <a:pt x="22" y="518"/>
                  </a:lnTo>
                  <a:lnTo>
                    <a:pt x="22" y="520"/>
                  </a:lnTo>
                  <a:lnTo>
                    <a:pt x="22" y="522"/>
                  </a:lnTo>
                  <a:lnTo>
                    <a:pt x="22" y="522"/>
                  </a:lnTo>
                  <a:lnTo>
                    <a:pt x="24" y="520"/>
                  </a:lnTo>
                  <a:lnTo>
                    <a:pt x="26" y="520"/>
                  </a:lnTo>
                  <a:lnTo>
                    <a:pt x="26" y="520"/>
                  </a:lnTo>
                  <a:lnTo>
                    <a:pt x="26" y="514"/>
                  </a:lnTo>
                  <a:lnTo>
                    <a:pt x="26" y="506"/>
                  </a:lnTo>
                  <a:lnTo>
                    <a:pt x="30" y="504"/>
                  </a:lnTo>
                  <a:lnTo>
                    <a:pt x="30" y="504"/>
                  </a:lnTo>
                  <a:lnTo>
                    <a:pt x="28" y="502"/>
                  </a:lnTo>
                  <a:lnTo>
                    <a:pt x="26" y="502"/>
                  </a:lnTo>
                  <a:lnTo>
                    <a:pt x="26" y="502"/>
                  </a:lnTo>
                  <a:lnTo>
                    <a:pt x="28" y="494"/>
                  </a:lnTo>
                  <a:lnTo>
                    <a:pt x="26" y="486"/>
                  </a:lnTo>
                  <a:lnTo>
                    <a:pt x="30" y="484"/>
                  </a:lnTo>
                  <a:lnTo>
                    <a:pt x="30" y="484"/>
                  </a:lnTo>
                  <a:lnTo>
                    <a:pt x="26" y="480"/>
                  </a:lnTo>
                  <a:lnTo>
                    <a:pt x="26" y="480"/>
                  </a:lnTo>
                  <a:lnTo>
                    <a:pt x="34" y="480"/>
                  </a:lnTo>
                  <a:lnTo>
                    <a:pt x="34" y="480"/>
                  </a:lnTo>
                  <a:lnTo>
                    <a:pt x="32" y="478"/>
                  </a:lnTo>
                  <a:lnTo>
                    <a:pt x="30" y="478"/>
                  </a:lnTo>
                  <a:lnTo>
                    <a:pt x="30" y="478"/>
                  </a:lnTo>
                  <a:lnTo>
                    <a:pt x="30" y="474"/>
                  </a:lnTo>
                  <a:lnTo>
                    <a:pt x="30" y="474"/>
                  </a:lnTo>
                  <a:lnTo>
                    <a:pt x="38" y="470"/>
                  </a:lnTo>
                  <a:lnTo>
                    <a:pt x="38" y="470"/>
                  </a:lnTo>
                  <a:lnTo>
                    <a:pt x="34" y="466"/>
                  </a:lnTo>
                  <a:lnTo>
                    <a:pt x="34" y="466"/>
                  </a:lnTo>
                  <a:lnTo>
                    <a:pt x="34" y="462"/>
                  </a:lnTo>
                  <a:lnTo>
                    <a:pt x="32" y="462"/>
                  </a:lnTo>
                  <a:lnTo>
                    <a:pt x="32" y="462"/>
                  </a:lnTo>
                  <a:lnTo>
                    <a:pt x="32" y="458"/>
                  </a:lnTo>
                  <a:lnTo>
                    <a:pt x="34" y="456"/>
                  </a:lnTo>
                  <a:lnTo>
                    <a:pt x="34" y="456"/>
                  </a:lnTo>
                  <a:lnTo>
                    <a:pt x="36" y="454"/>
                  </a:lnTo>
                  <a:lnTo>
                    <a:pt x="36" y="454"/>
                  </a:lnTo>
                  <a:lnTo>
                    <a:pt x="36" y="454"/>
                  </a:lnTo>
                  <a:lnTo>
                    <a:pt x="36" y="456"/>
                  </a:lnTo>
                  <a:lnTo>
                    <a:pt x="38" y="454"/>
                  </a:lnTo>
                  <a:lnTo>
                    <a:pt x="38" y="454"/>
                  </a:lnTo>
                  <a:lnTo>
                    <a:pt x="36" y="434"/>
                  </a:lnTo>
                  <a:lnTo>
                    <a:pt x="36" y="434"/>
                  </a:lnTo>
                  <a:lnTo>
                    <a:pt x="40" y="432"/>
                  </a:lnTo>
                  <a:lnTo>
                    <a:pt x="40" y="432"/>
                  </a:lnTo>
                  <a:lnTo>
                    <a:pt x="40" y="430"/>
                  </a:lnTo>
                  <a:lnTo>
                    <a:pt x="38" y="430"/>
                  </a:lnTo>
                  <a:lnTo>
                    <a:pt x="38" y="430"/>
                  </a:lnTo>
                  <a:lnTo>
                    <a:pt x="36" y="424"/>
                  </a:lnTo>
                  <a:lnTo>
                    <a:pt x="36" y="424"/>
                  </a:lnTo>
                  <a:lnTo>
                    <a:pt x="32" y="428"/>
                  </a:lnTo>
                  <a:lnTo>
                    <a:pt x="32" y="428"/>
                  </a:lnTo>
                  <a:lnTo>
                    <a:pt x="32" y="432"/>
                  </a:lnTo>
                  <a:lnTo>
                    <a:pt x="32" y="432"/>
                  </a:lnTo>
                  <a:lnTo>
                    <a:pt x="26" y="432"/>
                  </a:lnTo>
                  <a:lnTo>
                    <a:pt x="26" y="432"/>
                  </a:lnTo>
                  <a:lnTo>
                    <a:pt x="26" y="424"/>
                  </a:lnTo>
                  <a:lnTo>
                    <a:pt x="24" y="418"/>
                  </a:lnTo>
                  <a:lnTo>
                    <a:pt x="24" y="418"/>
                  </a:lnTo>
                  <a:lnTo>
                    <a:pt x="26" y="408"/>
                  </a:lnTo>
                  <a:lnTo>
                    <a:pt x="26" y="408"/>
                  </a:lnTo>
                  <a:lnTo>
                    <a:pt x="30" y="396"/>
                  </a:lnTo>
                  <a:lnTo>
                    <a:pt x="30" y="396"/>
                  </a:lnTo>
                  <a:lnTo>
                    <a:pt x="32" y="396"/>
                  </a:lnTo>
                  <a:lnTo>
                    <a:pt x="32" y="396"/>
                  </a:lnTo>
                  <a:lnTo>
                    <a:pt x="32" y="384"/>
                  </a:lnTo>
                  <a:lnTo>
                    <a:pt x="30" y="376"/>
                  </a:lnTo>
                  <a:lnTo>
                    <a:pt x="30" y="376"/>
                  </a:lnTo>
                  <a:lnTo>
                    <a:pt x="30" y="374"/>
                  </a:lnTo>
                  <a:lnTo>
                    <a:pt x="32" y="374"/>
                  </a:lnTo>
                  <a:lnTo>
                    <a:pt x="32" y="374"/>
                  </a:lnTo>
                  <a:lnTo>
                    <a:pt x="30" y="372"/>
                  </a:lnTo>
                  <a:lnTo>
                    <a:pt x="30" y="372"/>
                  </a:lnTo>
                  <a:lnTo>
                    <a:pt x="30" y="368"/>
                  </a:lnTo>
                  <a:lnTo>
                    <a:pt x="30" y="368"/>
                  </a:lnTo>
                  <a:lnTo>
                    <a:pt x="30" y="366"/>
                  </a:lnTo>
                  <a:lnTo>
                    <a:pt x="32" y="362"/>
                  </a:lnTo>
                  <a:lnTo>
                    <a:pt x="32" y="362"/>
                  </a:lnTo>
                  <a:lnTo>
                    <a:pt x="28" y="360"/>
                  </a:lnTo>
                  <a:lnTo>
                    <a:pt x="28" y="360"/>
                  </a:lnTo>
                  <a:lnTo>
                    <a:pt x="28" y="356"/>
                  </a:lnTo>
                  <a:lnTo>
                    <a:pt x="30" y="354"/>
                  </a:lnTo>
                  <a:lnTo>
                    <a:pt x="30" y="354"/>
                  </a:lnTo>
                  <a:lnTo>
                    <a:pt x="26" y="350"/>
                  </a:lnTo>
                  <a:lnTo>
                    <a:pt x="26" y="350"/>
                  </a:lnTo>
                  <a:lnTo>
                    <a:pt x="30" y="348"/>
                  </a:lnTo>
                  <a:lnTo>
                    <a:pt x="30" y="348"/>
                  </a:lnTo>
                  <a:lnTo>
                    <a:pt x="34" y="348"/>
                  </a:lnTo>
                  <a:lnTo>
                    <a:pt x="34" y="348"/>
                  </a:lnTo>
                  <a:lnTo>
                    <a:pt x="32" y="342"/>
                  </a:lnTo>
                  <a:lnTo>
                    <a:pt x="34" y="340"/>
                  </a:lnTo>
                  <a:lnTo>
                    <a:pt x="36" y="338"/>
                  </a:lnTo>
                  <a:lnTo>
                    <a:pt x="38" y="336"/>
                  </a:lnTo>
                  <a:lnTo>
                    <a:pt x="38" y="336"/>
                  </a:lnTo>
                  <a:lnTo>
                    <a:pt x="38" y="330"/>
                  </a:lnTo>
                  <a:lnTo>
                    <a:pt x="38" y="330"/>
                  </a:lnTo>
                  <a:lnTo>
                    <a:pt x="42" y="326"/>
                  </a:lnTo>
                  <a:lnTo>
                    <a:pt x="42" y="326"/>
                  </a:lnTo>
                  <a:lnTo>
                    <a:pt x="42" y="320"/>
                  </a:lnTo>
                  <a:lnTo>
                    <a:pt x="42" y="314"/>
                  </a:lnTo>
                  <a:lnTo>
                    <a:pt x="42" y="314"/>
                  </a:lnTo>
                  <a:lnTo>
                    <a:pt x="42" y="312"/>
                  </a:lnTo>
                  <a:lnTo>
                    <a:pt x="40" y="308"/>
                  </a:lnTo>
                  <a:lnTo>
                    <a:pt x="40" y="308"/>
                  </a:lnTo>
                  <a:lnTo>
                    <a:pt x="44" y="302"/>
                  </a:lnTo>
                  <a:lnTo>
                    <a:pt x="48" y="296"/>
                  </a:lnTo>
                  <a:lnTo>
                    <a:pt x="48" y="296"/>
                  </a:lnTo>
                  <a:lnTo>
                    <a:pt x="48" y="286"/>
                  </a:lnTo>
                  <a:lnTo>
                    <a:pt x="48" y="286"/>
                  </a:lnTo>
                  <a:lnTo>
                    <a:pt x="52" y="280"/>
                  </a:lnTo>
                  <a:lnTo>
                    <a:pt x="52" y="280"/>
                  </a:lnTo>
                  <a:lnTo>
                    <a:pt x="52" y="278"/>
                  </a:lnTo>
                  <a:lnTo>
                    <a:pt x="52" y="276"/>
                  </a:lnTo>
                  <a:lnTo>
                    <a:pt x="52" y="276"/>
                  </a:lnTo>
                  <a:lnTo>
                    <a:pt x="52" y="270"/>
                  </a:lnTo>
                  <a:lnTo>
                    <a:pt x="56" y="266"/>
                  </a:lnTo>
                  <a:lnTo>
                    <a:pt x="56" y="266"/>
                  </a:lnTo>
                  <a:lnTo>
                    <a:pt x="58" y="244"/>
                  </a:lnTo>
                  <a:lnTo>
                    <a:pt x="58" y="244"/>
                  </a:lnTo>
                  <a:lnTo>
                    <a:pt x="56" y="238"/>
                  </a:lnTo>
                  <a:lnTo>
                    <a:pt x="54" y="234"/>
                  </a:lnTo>
                  <a:lnTo>
                    <a:pt x="54" y="234"/>
                  </a:lnTo>
                  <a:lnTo>
                    <a:pt x="54" y="228"/>
                  </a:lnTo>
                  <a:lnTo>
                    <a:pt x="56" y="224"/>
                  </a:lnTo>
                  <a:lnTo>
                    <a:pt x="56" y="224"/>
                  </a:lnTo>
                  <a:lnTo>
                    <a:pt x="58" y="224"/>
                  </a:lnTo>
                  <a:lnTo>
                    <a:pt x="58" y="224"/>
                  </a:lnTo>
                  <a:lnTo>
                    <a:pt x="58" y="210"/>
                  </a:lnTo>
                  <a:lnTo>
                    <a:pt x="58" y="210"/>
                  </a:lnTo>
                  <a:lnTo>
                    <a:pt x="56" y="204"/>
                  </a:lnTo>
                  <a:lnTo>
                    <a:pt x="54" y="200"/>
                  </a:lnTo>
                  <a:lnTo>
                    <a:pt x="54" y="196"/>
                  </a:lnTo>
                  <a:lnTo>
                    <a:pt x="54" y="196"/>
                  </a:lnTo>
                  <a:lnTo>
                    <a:pt x="58" y="188"/>
                  </a:lnTo>
                  <a:lnTo>
                    <a:pt x="58" y="188"/>
                  </a:lnTo>
                  <a:lnTo>
                    <a:pt x="58" y="182"/>
                  </a:lnTo>
                  <a:lnTo>
                    <a:pt x="58" y="178"/>
                  </a:lnTo>
                  <a:lnTo>
                    <a:pt x="58" y="178"/>
                  </a:lnTo>
                  <a:lnTo>
                    <a:pt x="60" y="178"/>
                  </a:lnTo>
                  <a:lnTo>
                    <a:pt x="60" y="178"/>
                  </a:lnTo>
                  <a:lnTo>
                    <a:pt x="60" y="172"/>
                  </a:lnTo>
                  <a:lnTo>
                    <a:pt x="60" y="168"/>
                  </a:lnTo>
                  <a:lnTo>
                    <a:pt x="64" y="166"/>
                  </a:lnTo>
                  <a:lnTo>
                    <a:pt x="64" y="166"/>
                  </a:lnTo>
                  <a:lnTo>
                    <a:pt x="64" y="162"/>
                  </a:lnTo>
                  <a:lnTo>
                    <a:pt x="64" y="162"/>
                  </a:lnTo>
                  <a:lnTo>
                    <a:pt x="64" y="158"/>
                  </a:lnTo>
                  <a:lnTo>
                    <a:pt x="64" y="158"/>
                  </a:lnTo>
                  <a:lnTo>
                    <a:pt x="64" y="150"/>
                  </a:lnTo>
                  <a:lnTo>
                    <a:pt x="64" y="150"/>
                  </a:lnTo>
                  <a:lnTo>
                    <a:pt x="66" y="150"/>
                  </a:lnTo>
                  <a:lnTo>
                    <a:pt x="66" y="150"/>
                  </a:lnTo>
                  <a:lnTo>
                    <a:pt x="64" y="148"/>
                  </a:lnTo>
                  <a:lnTo>
                    <a:pt x="64" y="148"/>
                  </a:lnTo>
                  <a:lnTo>
                    <a:pt x="68" y="138"/>
                  </a:lnTo>
                  <a:lnTo>
                    <a:pt x="68" y="138"/>
                  </a:lnTo>
                  <a:lnTo>
                    <a:pt x="66" y="134"/>
                  </a:lnTo>
                  <a:lnTo>
                    <a:pt x="66" y="132"/>
                  </a:lnTo>
                  <a:lnTo>
                    <a:pt x="66" y="132"/>
                  </a:lnTo>
                  <a:lnTo>
                    <a:pt x="64" y="124"/>
                  </a:lnTo>
                  <a:lnTo>
                    <a:pt x="66" y="118"/>
                  </a:lnTo>
                  <a:lnTo>
                    <a:pt x="68" y="108"/>
                  </a:lnTo>
                  <a:lnTo>
                    <a:pt x="68" y="108"/>
                  </a:lnTo>
                  <a:lnTo>
                    <a:pt x="68" y="106"/>
                  </a:lnTo>
                  <a:lnTo>
                    <a:pt x="70" y="106"/>
                  </a:lnTo>
                  <a:lnTo>
                    <a:pt x="70" y="106"/>
                  </a:lnTo>
                  <a:lnTo>
                    <a:pt x="70" y="102"/>
                  </a:lnTo>
                  <a:lnTo>
                    <a:pt x="70" y="102"/>
                  </a:lnTo>
                  <a:lnTo>
                    <a:pt x="66" y="100"/>
                  </a:lnTo>
                  <a:lnTo>
                    <a:pt x="66" y="98"/>
                  </a:lnTo>
                  <a:lnTo>
                    <a:pt x="66" y="94"/>
                  </a:lnTo>
                  <a:lnTo>
                    <a:pt x="70" y="94"/>
                  </a:lnTo>
                  <a:lnTo>
                    <a:pt x="70" y="94"/>
                  </a:lnTo>
                  <a:lnTo>
                    <a:pt x="70" y="82"/>
                  </a:lnTo>
                  <a:lnTo>
                    <a:pt x="70" y="70"/>
                  </a:lnTo>
                  <a:lnTo>
                    <a:pt x="72" y="70"/>
                  </a:lnTo>
                  <a:lnTo>
                    <a:pt x="72" y="70"/>
                  </a:lnTo>
                  <a:lnTo>
                    <a:pt x="72" y="64"/>
                  </a:lnTo>
                  <a:lnTo>
                    <a:pt x="74" y="64"/>
                  </a:lnTo>
                  <a:lnTo>
                    <a:pt x="74" y="64"/>
                  </a:lnTo>
                  <a:lnTo>
                    <a:pt x="74" y="60"/>
                  </a:lnTo>
                  <a:lnTo>
                    <a:pt x="72" y="58"/>
                  </a:lnTo>
                  <a:lnTo>
                    <a:pt x="72" y="58"/>
                  </a:lnTo>
                  <a:lnTo>
                    <a:pt x="74" y="50"/>
                  </a:lnTo>
                  <a:lnTo>
                    <a:pt x="74" y="44"/>
                  </a:lnTo>
                  <a:lnTo>
                    <a:pt x="74" y="44"/>
                  </a:lnTo>
                  <a:lnTo>
                    <a:pt x="74" y="30"/>
                  </a:lnTo>
                  <a:lnTo>
                    <a:pt x="72" y="18"/>
                  </a:lnTo>
                  <a:lnTo>
                    <a:pt x="72" y="18"/>
                  </a:lnTo>
                  <a:lnTo>
                    <a:pt x="72" y="10"/>
                  </a:lnTo>
                  <a:lnTo>
                    <a:pt x="72" y="10"/>
                  </a:lnTo>
                  <a:lnTo>
                    <a:pt x="70" y="8"/>
                  </a:lnTo>
                  <a:lnTo>
                    <a:pt x="70" y="8"/>
                  </a:lnTo>
                  <a:lnTo>
                    <a:pt x="72" y="8"/>
                  </a:lnTo>
                  <a:lnTo>
                    <a:pt x="74" y="4"/>
                  </a:lnTo>
                  <a:lnTo>
                    <a:pt x="74" y="4"/>
                  </a:lnTo>
                  <a:lnTo>
                    <a:pt x="76" y="0"/>
                  </a:lnTo>
                  <a:lnTo>
                    <a:pt x="78" y="0"/>
                  </a:lnTo>
                  <a:lnTo>
                    <a:pt x="78" y="0"/>
                  </a:lnTo>
                  <a:lnTo>
                    <a:pt x="80" y="6"/>
                  </a:lnTo>
                  <a:lnTo>
                    <a:pt x="82" y="12"/>
                  </a:lnTo>
                  <a:lnTo>
                    <a:pt x="84" y="14"/>
                  </a:lnTo>
                  <a:lnTo>
                    <a:pt x="84" y="14"/>
                  </a:lnTo>
                  <a:lnTo>
                    <a:pt x="88" y="20"/>
                  </a:lnTo>
                  <a:lnTo>
                    <a:pt x="90" y="22"/>
                  </a:lnTo>
                  <a:lnTo>
                    <a:pt x="90" y="22"/>
                  </a:lnTo>
                  <a:lnTo>
                    <a:pt x="94" y="36"/>
                  </a:lnTo>
                  <a:lnTo>
                    <a:pt x="94" y="36"/>
                  </a:lnTo>
                  <a:lnTo>
                    <a:pt x="94" y="42"/>
                  </a:lnTo>
                  <a:lnTo>
                    <a:pt x="98" y="48"/>
                  </a:lnTo>
                  <a:lnTo>
                    <a:pt x="98" y="48"/>
                  </a:lnTo>
                  <a:lnTo>
                    <a:pt x="98" y="52"/>
                  </a:lnTo>
                  <a:lnTo>
                    <a:pt x="98" y="56"/>
                  </a:lnTo>
                  <a:lnTo>
                    <a:pt x="98" y="62"/>
                  </a:lnTo>
                  <a:lnTo>
                    <a:pt x="100" y="74"/>
                  </a:lnTo>
                  <a:lnTo>
                    <a:pt x="108" y="78"/>
                  </a:lnTo>
                  <a:lnTo>
                    <a:pt x="108" y="78"/>
                  </a:lnTo>
                  <a:lnTo>
                    <a:pt x="108" y="82"/>
                  </a:lnTo>
                  <a:lnTo>
                    <a:pt x="108" y="86"/>
                  </a:lnTo>
                  <a:lnTo>
                    <a:pt x="110" y="88"/>
                  </a:lnTo>
                  <a:lnTo>
                    <a:pt x="110" y="88"/>
                  </a:lnTo>
                  <a:lnTo>
                    <a:pt x="114" y="92"/>
                  </a:lnTo>
                  <a:lnTo>
                    <a:pt x="114" y="94"/>
                  </a:lnTo>
                  <a:lnTo>
                    <a:pt x="112" y="102"/>
                  </a:lnTo>
                  <a:lnTo>
                    <a:pt x="112" y="10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2" name="Freeform 216"/>
            <p:cNvSpPr>
              <a:spLocks noChangeAspect="1"/>
            </p:cNvSpPr>
            <p:nvPr/>
          </p:nvSpPr>
          <p:spPr bwMode="gray">
            <a:xfrm>
              <a:off x="2458189" y="2239801"/>
              <a:ext cx="4704" cy="3290"/>
            </a:xfrm>
            <a:custGeom>
              <a:avLst/>
              <a:gdLst/>
              <a:ahLst/>
              <a:cxnLst>
                <a:cxn ang="0">
                  <a:pos x="0" y="0"/>
                </a:cxn>
                <a:cxn ang="0">
                  <a:pos x="2" y="2"/>
                </a:cxn>
                <a:cxn ang="0">
                  <a:pos x="2" y="2"/>
                </a:cxn>
                <a:cxn ang="0">
                  <a:pos x="2" y="0"/>
                </a:cxn>
                <a:cxn ang="0">
                  <a:pos x="0" y="0"/>
                </a:cxn>
                <a:cxn ang="0">
                  <a:pos x="0" y="0"/>
                </a:cxn>
              </a:cxnLst>
              <a:rect l="0" t="0" r="r" b="b"/>
              <a:pathLst>
                <a:path w="2" h="2">
                  <a:moveTo>
                    <a:pt x="0" y="0"/>
                  </a:moveTo>
                  <a:lnTo>
                    <a:pt x="2" y="2"/>
                  </a:lnTo>
                  <a:lnTo>
                    <a:pt x="2" y="2"/>
                  </a:lnTo>
                  <a:lnTo>
                    <a:pt x="2"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3" name="Freeform 217"/>
            <p:cNvSpPr>
              <a:spLocks noChangeAspect="1"/>
            </p:cNvSpPr>
            <p:nvPr/>
          </p:nvSpPr>
          <p:spPr bwMode="gray">
            <a:xfrm>
              <a:off x="2495816" y="2134523"/>
              <a:ext cx="3135" cy="3290"/>
            </a:xfrm>
            <a:custGeom>
              <a:avLst/>
              <a:gdLst/>
              <a:ahLst/>
              <a:cxnLst>
                <a:cxn ang="0">
                  <a:pos x="2" y="0"/>
                </a:cxn>
                <a:cxn ang="0">
                  <a:pos x="2" y="0"/>
                </a:cxn>
                <a:cxn ang="0">
                  <a:pos x="2" y="2"/>
                </a:cxn>
                <a:cxn ang="0">
                  <a:pos x="0" y="2"/>
                </a:cxn>
                <a:cxn ang="0">
                  <a:pos x="0" y="2"/>
                </a:cxn>
                <a:cxn ang="0">
                  <a:pos x="0" y="0"/>
                </a:cxn>
                <a:cxn ang="0">
                  <a:pos x="2" y="0"/>
                </a:cxn>
                <a:cxn ang="0">
                  <a:pos x="2" y="0"/>
                </a:cxn>
              </a:cxnLst>
              <a:rect l="0" t="0" r="r" b="b"/>
              <a:pathLst>
                <a:path w="2" h="2">
                  <a:moveTo>
                    <a:pt x="2" y="0"/>
                  </a:moveTo>
                  <a:lnTo>
                    <a:pt x="2" y="0"/>
                  </a:lnTo>
                  <a:lnTo>
                    <a:pt x="2" y="2"/>
                  </a:lnTo>
                  <a:lnTo>
                    <a:pt x="0" y="2"/>
                  </a:lnTo>
                  <a:lnTo>
                    <a:pt x="0" y="2"/>
                  </a:lnTo>
                  <a:lnTo>
                    <a:pt x="0" y="0"/>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4" name="Freeform 218"/>
            <p:cNvSpPr>
              <a:spLocks noChangeAspect="1"/>
            </p:cNvSpPr>
            <p:nvPr/>
          </p:nvSpPr>
          <p:spPr bwMode="gray">
            <a:xfrm>
              <a:off x="2498951" y="2141103"/>
              <a:ext cx="3135" cy="3290"/>
            </a:xfrm>
            <a:custGeom>
              <a:avLst/>
              <a:gdLst/>
              <a:ahLst/>
              <a:cxnLst>
                <a:cxn ang="0">
                  <a:pos x="0" y="2"/>
                </a:cxn>
                <a:cxn ang="0">
                  <a:pos x="0" y="2"/>
                </a:cxn>
                <a:cxn ang="0">
                  <a:pos x="0" y="0"/>
                </a:cxn>
                <a:cxn ang="0">
                  <a:pos x="0" y="0"/>
                </a:cxn>
                <a:cxn ang="0">
                  <a:pos x="0" y="0"/>
                </a:cxn>
                <a:cxn ang="0">
                  <a:pos x="0" y="2"/>
                </a:cxn>
                <a:cxn ang="0">
                  <a:pos x="0" y="2"/>
                </a:cxn>
                <a:cxn ang="0">
                  <a:pos x="0" y="2"/>
                </a:cxn>
              </a:cxnLst>
              <a:rect l="0" t="0" r="r" b="b"/>
              <a:pathLst>
                <a:path h="2">
                  <a:moveTo>
                    <a:pt x="0" y="2"/>
                  </a:moveTo>
                  <a:lnTo>
                    <a:pt x="0" y="2"/>
                  </a:lnTo>
                  <a:lnTo>
                    <a:pt x="0" y="0"/>
                  </a:lnTo>
                  <a:lnTo>
                    <a:pt x="0" y="0"/>
                  </a:lnTo>
                  <a:lnTo>
                    <a:pt x="0" y="0"/>
                  </a:lnTo>
                  <a:lnTo>
                    <a:pt x="0" y="2"/>
                  </a:lnTo>
                  <a:lnTo>
                    <a:pt x="0" y="2"/>
                  </a:lnTo>
                  <a:lnTo>
                    <a:pt x="0"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5" name="Freeform 219"/>
            <p:cNvSpPr>
              <a:spLocks noChangeAspect="1"/>
            </p:cNvSpPr>
            <p:nvPr/>
          </p:nvSpPr>
          <p:spPr bwMode="gray">
            <a:xfrm>
              <a:off x="2699632" y="2226641"/>
              <a:ext cx="20381" cy="6580"/>
            </a:xfrm>
            <a:custGeom>
              <a:avLst/>
              <a:gdLst/>
              <a:ahLst/>
              <a:cxnLst>
                <a:cxn ang="0">
                  <a:pos x="2" y="0"/>
                </a:cxn>
                <a:cxn ang="0">
                  <a:pos x="2" y="0"/>
                </a:cxn>
                <a:cxn ang="0">
                  <a:pos x="10" y="2"/>
                </a:cxn>
                <a:cxn ang="0">
                  <a:pos x="12" y="4"/>
                </a:cxn>
                <a:cxn ang="0">
                  <a:pos x="12" y="4"/>
                </a:cxn>
                <a:cxn ang="0">
                  <a:pos x="4" y="2"/>
                </a:cxn>
                <a:cxn ang="0">
                  <a:pos x="0" y="2"/>
                </a:cxn>
                <a:cxn ang="0">
                  <a:pos x="2" y="0"/>
                </a:cxn>
                <a:cxn ang="0">
                  <a:pos x="2" y="0"/>
                </a:cxn>
              </a:cxnLst>
              <a:rect l="0" t="0" r="r" b="b"/>
              <a:pathLst>
                <a:path w="12" h="4">
                  <a:moveTo>
                    <a:pt x="2" y="0"/>
                  </a:moveTo>
                  <a:lnTo>
                    <a:pt x="2" y="0"/>
                  </a:lnTo>
                  <a:lnTo>
                    <a:pt x="10" y="2"/>
                  </a:lnTo>
                  <a:lnTo>
                    <a:pt x="12" y="4"/>
                  </a:lnTo>
                  <a:lnTo>
                    <a:pt x="12" y="4"/>
                  </a:lnTo>
                  <a:lnTo>
                    <a:pt x="4" y="2"/>
                  </a:lnTo>
                  <a:lnTo>
                    <a:pt x="0" y="2"/>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6" name="Freeform 220"/>
            <p:cNvSpPr>
              <a:spLocks noChangeAspect="1"/>
            </p:cNvSpPr>
            <p:nvPr/>
          </p:nvSpPr>
          <p:spPr bwMode="gray">
            <a:xfrm>
              <a:off x="2679249" y="2197032"/>
              <a:ext cx="7839" cy="9870"/>
            </a:xfrm>
            <a:custGeom>
              <a:avLst/>
              <a:gdLst/>
              <a:ahLst/>
              <a:cxnLst>
                <a:cxn ang="0">
                  <a:pos x="2" y="0"/>
                </a:cxn>
                <a:cxn ang="0">
                  <a:pos x="2" y="0"/>
                </a:cxn>
                <a:cxn ang="0">
                  <a:pos x="4" y="0"/>
                </a:cxn>
                <a:cxn ang="0">
                  <a:pos x="4" y="2"/>
                </a:cxn>
                <a:cxn ang="0">
                  <a:pos x="4" y="6"/>
                </a:cxn>
                <a:cxn ang="0">
                  <a:pos x="4" y="6"/>
                </a:cxn>
                <a:cxn ang="0">
                  <a:pos x="0" y="6"/>
                </a:cxn>
                <a:cxn ang="0">
                  <a:pos x="0" y="6"/>
                </a:cxn>
                <a:cxn ang="0">
                  <a:pos x="0" y="2"/>
                </a:cxn>
                <a:cxn ang="0">
                  <a:pos x="0" y="0"/>
                </a:cxn>
                <a:cxn ang="0">
                  <a:pos x="2" y="0"/>
                </a:cxn>
                <a:cxn ang="0">
                  <a:pos x="2" y="0"/>
                </a:cxn>
              </a:cxnLst>
              <a:rect l="0" t="0" r="r" b="b"/>
              <a:pathLst>
                <a:path w="4" h="6">
                  <a:moveTo>
                    <a:pt x="2" y="0"/>
                  </a:moveTo>
                  <a:lnTo>
                    <a:pt x="2" y="0"/>
                  </a:lnTo>
                  <a:lnTo>
                    <a:pt x="4" y="0"/>
                  </a:lnTo>
                  <a:lnTo>
                    <a:pt x="4" y="2"/>
                  </a:lnTo>
                  <a:lnTo>
                    <a:pt x="4" y="6"/>
                  </a:lnTo>
                  <a:lnTo>
                    <a:pt x="4" y="6"/>
                  </a:lnTo>
                  <a:lnTo>
                    <a:pt x="0" y="6"/>
                  </a:lnTo>
                  <a:lnTo>
                    <a:pt x="0" y="6"/>
                  </a:lnTo>
                  <a:lnTo>
                    <a:pt x="0" y="2"/>
                  </a:lnTo>
                  <a:lnTo>
                    <a:pt x="0" y="0"/>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7" name="Freeform 221"/>
            <p:cNvSpPr>
              <a:spLocks noChangeAspect="1"/>
            </p:cNvSpPr>
            <p:nvPr/>
          </p:nvSpPr>
          <p:spPr bwMode="gray">
            <a:xfrm>
              <a:off x="2792132" y="2453647"/>
              <a:ext cx="3135" cy="6580"/>
            </a:xfrm>
            <a:custGeom>
              <a:avLst/>
              <a:gdLst/>
              <a:ahLst/>
              <a:cxnLst>
                <a:cxn ang="0">
                  <a:pos x="0" y="0"/>
                </a:cxn>
                <a:cxn ang="0">
                  <a:pos x="0" y="0"/>
                </a:cxn>
                <a:cxn ang="0">
                  <a:pos x="2" y="2"/>
                </a:cxn>
                <a:cxn ang="0">
                  <a:pos x="2" y="4"/>
                </a:cxn>
                <a:cxn ang="0">
                  <a:pos x="2" y="2"/>
                </a:cxn>
                <a:cxn ang="0">
                  <a:pos x="2" y="2"/>
                </a:cxn>
                <a:cxn ang="0">
                  <a:pos x="0" y="0"/>
                </a:cxn>
                <a:cxn ang="0">
                  <a:pos x="0" y="0"/>
                </a:cxn>
                <a:cxn ang="0">
                  <a:pos x="0" y="0"/>
                </a:cxn>
                <a:cxn ang="0">
                  <a:pos x="0" y="0"/>
                </a:cxn>
              </a:cxnLst>
              <a:rect l="0" t="0" r="r" b="b"/>
              <a:pathLst>
                <a:path w="2" h="4">
                  <a:moveTo>
                    <a:pt x="0" y="0"/>
                  </a:moveTo>
                  <a:lnTo>
                    <a:pt x="0" y="0"/>
                  </a:lnTo>
                  <a:lnTo>
                    <a:pt x="2" y="2"/>
                  </a:lnTo>
                  <a:lnTo>
                    <a:pt x="2" y="4"/>
                  </a:lnTo>
                  <a:lnTo>
                    <a:pt x="2" y="2"/>
                  </a:lnTo>
                  <a:lnTo>
                    <a:pt x="2" y="2"/>
                  </a:lnTo>
                  <a:lnTo>
                    <a:pt x="0" y="0"/>
                  </a:lnTo>
                  <a:lnTo>
                    <a:pt x="0"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8" name="Freeform 222"/>
            <p:cNvSpPr>
              <a:spLocks noChangeAspect="1"/>
            </p:cNvSpPr>
            <p:nvPr/>
          </p:nvSpPr>
          <p:spPr bwMode="gray">
            <a:xfrm>
              <a:off x="2279458" y="2976747"/>
              <a:ext cx="1568" cy="1645"/>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69" name="Freeform 223"/>
            <p:cNvSpPr>
              <a:spLocks noChangeAspect="1"/>
            </p:cNvSpPr>
            <p:nvPr/>
          </p:nvSpPr>
          <p:spPr bwMode="gray">
            <a:xfrm>
              <a:off x="2254373" y="3019516"/>
              <a:ext cx="4704" cy="3290"/>
            </a:xfrm>
            <a:custGeom>
              <a:avLst/>
              <a:gdLst/>
              <a:ahLst/>
              <a:cxnLst>
                <a:cxn ang="0">
                  <a:pos x="0" y="0"/>
                </a:cxn>
                <a:cxn ang="0">
                  <a:pos x="0" y="0"/>
                </a:cxn>
                <a:cxn ang="0">
                  <a:pos x="0" y="2"/>
                </a:cxn>
                <a:cxn ang="0">
                  <a:pos x="2" y="2"/>
                </a:cxn>
                <a:cxn ang="0">
                  <a:pos x="2" y="2"/>
                </a:cxn>
                <a:cxn ang="0">
                  <a:pos x="2" y="0"/>
                </a:cxn>
                <a:cxn ang="0">
                  <a:pos x="2" y="0"/>
                </a:cxn>
                <a:cxn ang="0">
                  <a:pos x="0" y="0"/>
                </a:cxn>
                <a:cxn ang="0">
                  <a:pos x="0" y="0"/>
                </a:cxn>
              </a:cxnLst>
              <a:rect l="0" t="0" r="r" b="b"/>
              <a:pathLst>
                <a:path w="2" h="2">
                  <a:moveTo>
                    <a:pt x="0" y="0"/>
                  </a:moveTo>
                  <a:lnTo>
                    <a:pt x="0" y="0"/>
                  </a:lnTo>
                  <a:lnTo>
                    <a:pt x="0" y="2"/>
                  </a:lnTo>
                  <a:lnTo>
                    <a:pt x="2" y="2"/>
                  </a:lnTo>
                  <a:lnTo>
                    <a:pt x="2" y="2"/>
                  </a:lnTo>
                  <a:lnTo>
                    <a:pt x="2" y="0"/>
                  </a:lnTo>
                  <a:lnTo>
                    <a:pt x="2"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0" name="Freeform 224"/>
            <p:cNvSpPr>
              <a:spLocks noChangeAspect="1"/>
            </p:cNvSpPr>
            <p:nvPr/>
          </p:nvSpPr>
          <p:spPr bwMode="gray">
            <a:xfrm>
              <a:off x="2282594" y="3003067"/>
              <a:ext cx="6271" cy="3290"/>
            </a:xfrm>
            <a:custGeom>
              <a:avLst/>
              <a:gdLst/>
              <a:ahLst/>
              <a:cxnLst>
                <a:cxn ang="0">
                  <a:pos x="2" y="0"/>
                </a:cxn>
                <a:cxn ang="0">
                  <a:pos x="2" y="0"/>
                </a:cxn>
                <a:cxn ang="0">
                  <a:pos x="0" y="2"/>
                </a:cxn>
                <a:cxn ang="0">
                  <a:pos x="0" y="2"/>
                </a:cxn>
                <a:cxn ang="0">
                  <a:pos x="4" y="0"/>
                </a:cxn>
                <a:cxn ang="0">
                  <a:pos x="2" y="0"/>
                </a:cxn>
                <a:cxn ang="0">
                  <a:pos x="2" y="0"/>
                </a:cxn>
              </a:cxnLst>
              <a:rect l="0" t="0" r="r" b="b"/>
              <a:pathLst>
                <a:path w="4" h="2">
                  <a:moveTo>
                    <a:pt x="2" y="0"/>
                  </a:moveTo>
                  <a:lnTo>
                    <a:pt x="2" y="0"/>
                  </a:lnTo>
                  <a:lnTo>
                    <a:pt x="0" y="2"/>
                  </a:lnTo>
                  <a:lnTo>
                    <a:pt x="0" y="2"/>
                  </a:lnTo>
                  <a:lnTo>
                    <a:pt x="4" y="0"/>
                  </a:lnTo>
                  <a:lnTo>
                    <a:pt x="2" y="0"/>
                  </a:lnTo>
                  <a:lnTo>
                    <a:pt x="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1" name="Freeform 225"/>
            <p:cNvSpPr>
              <a:spLocks noChangeAspect="1"/>
            </p:cNvSpPr>
            <p:nvPr/>
          </p:nvSpPr>
          <p:spPr bwMode="gray">
            <a:xfrm>
              <a:off x="2393908" y="3213623"/>
              <a:ext cx="1568" cy="6580"/>
            </a:xfrm>
            <a:custGeom>
              <a:avLst/>
              <a:gdLst/>
              <a:ahLst/>
              <a:cxnLst>
                <a:cxn ang="0">
                  <a:pos x="0" y="4"/>
                </a:cxn>
                <a:cxn ang="0">
                  <a:pos x="0" y="2"/>
                </a:cxn>
                <a:cxn ang="0">
                  <a:pos x="0" y="2"/>
                </a:cxn>
                <a:cxn ang="0">
                  <a:pos x="0" y="0"/>
                </a:cxn>
                <a:cxn ang="0">
                  <a:pos x="0" y="0"/>
                </a:cxn>
                <a:cxn ang="0">
                  <a:pos x="0" y="4"/>
                </a:cxn>
                <a:cxn ang="0">
                  <a:pos x="0" y="4"/>
                </a:cxn>
              </a:cxnLst>
              <a:rect l="0" t="0" r="r" b="b"/>
              <a:pathLst>
                <a:path h="4">
                  <a:moveTo>
                    <a:pt x="0" y="4"/>
                  </a:moveTo>
                  <a:lnTo>
                    <a:pt x="0" y="2"/>
                  </a:lnTo>
                  <a:lnTo>
                    <a:pt x="0" y="2"/>
                  </a:lnTo>
                  <a:lnTo>
                    <a:pt x="0" y="0"/>
                  </a:lnTo>
                  <a:lnTo>
                    <a:pt x="0" y="0"/>
                  </a:lnTo>
                  <a:lnTo>
                    <a:pt x="0" y="4"/>
                  </a:lnTo>
                  <a:lnTo>
                    <a:pt x="0"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2" name="Freeform 226"/>
            <p:cNvSpPr>
              <a:spLocks noChangeAspect="1"/>
            </p:cNvSpPr>
            <p:nvPr/>
          </p:nvSpPr>
          <p:spPr bwMode="gray">
            <a:xfrm>
              <a:off x="1310553" y="2249671"/>
              <a:ext cx="1568" cy="3290"/>
            </a:xfrm>
            <a:custGeom>
              <a:avLst/>
              <a:gdLst/>
              <a:ahLst/>
              <a:cxnLst>
                <a:cxn ang="0">
                  <a:pos x="0" y="2"/>
                </a:cxn>
                <a:cxn ang="0">
                  <a:pos x="0" y="2"/>
                </a:cxn>
                <a:cxn ang="0">
                  <a:pos x="0" y="0"/>
                </a:cxn>
                <a:cxn ang="0">
                  <a:pos x="0" y="0"/>
                </a:cxn>
                <a:cxn ang="0">
                  <a:pos x="0" y="0"/>
                </a:cxn>
                <a:cxn ang="0">
                  <a:pos x="0" y="2"/>
                </a:cxn>
                <a:cxn ang="0">
                  <a:pos x="0" y="2"/>
                </a:cxn>
                <a:cxn ang="0">
                  <a:pos x="0" y="2"/>
                </a:cxn>
              </a:cxnLst>
              <a:rect l="0" t="0" r="r" b="b"/>
              <a:pathLst>
                <a:path h="2">
                  <a:moveTo>
                    <a:pt x="0" y="2"/>
                  </a:moveTo>
                  <a:lnTo>
                    <a:pt x="0" y="2"/>
                  </a:lnTo>
                  <a:lnTo>
                    <a:pt x="0" y="0"/>
                  </a:lnTo>
                  <a:lnTo>
                    <a:pt x="0" y="0"/>
                  </a:lnTo>
                  <a:lnTo>
                    <a:pt x="0" y="0"/>
                  </a:lnTo>
                  <a:lnTo>
                    <a:pt x="0" y="2"/>
                  </a:lnTo>
                  <a:lnTo>
                    <a:pt x="0" y="2"/>
                  </a:lnTo>
                  <a:lnTo>
                    <a:pt x="0"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3" name="Freeform 227"/>
            <p:cNvSpPr>
              <a:spLocks noChangeAspect="1"/>
            </p:cNvSpPr>
            <p:nvPr/>
          </p:nvSpPr>
          <p:spPr bwMode="gray">
            <a:xfrm>
              <a:off x="1354451" y="2838570"/>
              <a:ext cx="1568" cy="3290"/>
            </a:xfrm>
            <a:custGeom>
              <a:avLst/>
              <a:gdLst/>
              <a:ahLst/>
              <a:cxnLst>
                <a:cxn ang="0">
                  <a:pos x="0" y="2"/>
                </a:cxn>
                <a:cxn ang="0">
                  <a:pos x="0" y="2"/>
                </a:cxn>
                <a:cxn ang="0">
                  <a:pos x="0" y="2"/>
                </a:cxn>
                <a:cxn ang="0">
                  <a:pos x="0" y="0"/>
                </a:cxn>
                <a:cxn ang="0">
                  <a:pos x="0" y="0"/>
                </a:cxn>
                <a:cxn ang="0">
                  <a:pos x="0" y="2"/>
                </a:cxn>
                <a:cxn ang="0">
                  <a:pos x="0" y="2"/>
                </a:cxn>
                <a:cxn ang="0">
                  <a:pos x="0" y="2"/>
                </a:cxn>
              </a:cxnLst>
              <a:rect l="0" t="0" r="r" b="b"/>
              <a:pathLst>
                <a:path h="2">
                  <a:moveTo>
                    <a:pt x="0" y="2"/>
                  </a:moveTo>
                  <a:lnTo>
                    <a:pt x="0" y="2"/>
                  </a:lnTo>
                  <a:lnTo>
                    <a:pt x="0" y="2"/>
                  </a:lnTo>
                  <a:lnTo>
                    <a:pt x="0" y="0"/>
                  </a:lnTo>
                  <a:lnTo>
                    <a:pt x="0" y="0"/>
                  </a:lnTo>
                  <a:lnTo>
                    <a:pt x="0" y="2"/>
                  </a:lnTo>
                  <a:lnTo>
                    <a:pt x="0" y="2"/>
                  </a:lnTo>
                  <a:lnTo>
                    <a:pt x="0"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4" name="Freeform 228"/>
            <p:cNvSpPr>
              <a:spLocks noChangeAspect="1"/>
            </p:cNvSpPr>
            <p:nvPr/>
          </p:nvSpPr>
          <p:spPr bwMode="gray">
            <a:xfrm>
              <a:off x="2078779" y="2312180"/>
              <a:ext cx="1568" cy="3290"/>
            </a:xfrm>
            <a:custGeom>
              <a:avLst/>
              <a:gdLst/>
              <a:ahLst/>
              <a:cxnLst>
                <a:cxn ang="0">
                  <a:pos x="0" y="0"/>
                </a:cxn>
                <a:cxn ang="0">
                  <a:pos x="0" y="2"/>
                </a:cxn>
                <a:cxn ang="0">
                  <a:pos x="0" y="2"/>
                </a:cxn>
                <a:cxn ang="0">
                  <a:pos x="0" y="2"/>
                </a:cxn>
                <a:cxn ang="0">
                  <a:pos x="0" y="0"/>
                </a:cxn>
                <a:cxn ang="0">
                  <a:pos x="0" y="0"/>
                </a:cxn>
                <a:cxn ang="0">
                  <a:pos x="0" y="0"/>
                </a:cxn>
              </a:cxnLst>
              <a:rect l="0" t="0" r="r" b="b"/>
              <a:pathLst>
                <a:path h="2">
                  <a:moveTo>
                    <a:pt x="0" y="0"/>
                  </a:moveTo>
                  <a:lnTo>
                    <a:pt x="0" y="2"/>
                  </a:lnTo>
                  <a:lnTo>
                    <a:pt x="0" y="2"/>
                  </a:lnTo>
                  <a:lnTo>
                    <a:pt x="0" y="2"/>
                  </a:lnTo>
                  <a:lnTo>
                    <a:pt x="0"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5" name="Freeform 229"/>
            <p:cNvSpPr>
              <a:spLocks noChangeAspect="1"/>
            </p:cNvSpPr>
            <p:nvPr/>
          </p:nvSpPr>
          <p:spPr bwMode="gray">
            <a:xfrm>
              <a:off x="2669843" y="3062286"/>
              <a:ext cx="12543" cy="9870"/>
            </a:xfrm>
            <a:custGeom>
              <a:avLst/>
              <a:gdLst/>
              <a:ahLst/>
              <a:cxnLst>
                <a:cxn ang="0">
                  <a:pos x="2" y="4"/>
                </a:cxn>
                <a:cxn ang="0">
                  <a:pos x="2" y="4"/>
                </a:cxn>
                <a:cxn ang="0">
                  <a:pos x="0" y="6"/>
                </a:cxn>
                <a:cxn ang="0">
                  <a:pos x="0" y="4"/>
                </a:cxn>
                <a:cxn ang="0">
                  <a:pos x="6" y="0"/>
                </a:cxn>
                <a:cxn ang="0">
                  <a:pos x="6" y="0"/>
                </a:cxn>
                <a:cxn ang="0">
                  <a:pos x="8" y="0"/>
                </a:cxn>
                <a:cxn ang="0">
                  <a:pos x="6" y="2"/>
                </a:cxn>
                <a:cxn ang="0">
                  <a:pos x="2" y="4"/>
                </a:cxn>
                <a:cxn ang="0">
                  <a:pos x="2" y="4"/>
                </a:cxn>
              </a:cxnLst>
              <a:rect l="0" t="0" r="r" b="b"/>
              <a:pathLst>
                <a:path w="8" h="6">
                  <a:moveTo>
                    <a:pt x="2" y="4"/>
                  </a:moveTo>
                  <a:lnTo>
                    <a:pt x="2" y="4"/>
                  </a:lnTo>
                  <a:lnTo>
                    <a:pt x="0" y="6"/>
                  </a:lnTo>
                  <a:lnTo>
                    <a:pt x="0" y="4"/>
                  </a:lnTo>
                  <a:lnTo>
                    <a:pt x="6" y="0"/>
                  </a:lnTo>
                  <a:lnTo>
                    <a:pt x="6" y="0"/>
                  </a:lnTo>
                  <a:lnTo>
                    <a:pt x="8" y="0"/>
                  </a:lnTo>
                  <a:lnTo>
                    <a:pt x="6" y="2"/>
                  </a:lnTo>
                  <a:lnTo>
                    <a:pt x="2" y="4"/>
                  </a:lnTo>
                  <a:lnTo>
                    <a:pt x="2"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6" name="Freeform 230"/>
            <p:cNvSpPr>
              <a:spLocks noChangeAspect="1"/>
            </p:cNvSpPr>
            <p:nvPr/>
          </p:nvSpPr>
          <p:spPr bwMode="gray">
            <a:xfrm>
              <a:off x="2740394" y="3098475"/>
              <a:ext cx="3135" cy="3290"/>
            </a:xfrm>
            <a:custGeom>
              <a:avLst/>
              <a:gdLst/>
              <a:ahLst/>
              <a:cxnLst>
                <a:cxn ang="0">
                  <a:pos x="0" y="2"/>
                </a:cxn>
                <a:cxn ang="0">
                  <a:pos x="0" y="2"/>
                </a:cxn>
                <a:cxn ang="0">
                  <a:pos x="0" y="0"/>
                </a:cxn>
                <a:cxn ang="0">
                  <a:pos x="2" y="0"/>
                </a:cxn>
                <a:cxn ang="0">
                  <a:pos x="2" y="0"/>
                </a:cxn>
                <a:cxn ang="0">
                  <a:pos x="2" y="0"/>
                </a:cxn>
                <a:cxn ang="0">
                  <a:pos x="0" y="2"/>
                </a:cxn>
                <a:cxn ang="0">
                  <a:pos x="0" y="2"/>
                </a:cxn>
              </a:cxnLst>
              <a:rect l="0" t="0" r="r" b="b"/>
              <a:pathLst>
                <a:path w="2" h="2">
                  <a:moveTo>
                    <a:pt x="0" y="2"/>
                  </a:moveTo>
                  <a:lnTo>
                    <a:pt x="0" y="2"/>
                  </a:lnTo>
                  <a:lnTo>
                    <a:pt x="0" y="0"/>
                  </a:lnTo>
                  <a:lnTo>
                    <a:pt x="2" y="0"/>
                  </a:lnTo>
                  <a:lnTo>
                    <a:pt x="2" y="0"/>
                  </a:lnTo>
                  <a:lnTo>
                    <a:pt x="2" y="0"/>
                  </a:lnTo>
                  <a:lnTo>
                    <a:pt x="0" y="2"/>
                  </a:lnTo>
                  <a:lnTo>
                    <a:pt x="0"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7" name="Freeform 231"/>
            <p:cNvSpPr>
              <a:spLocks noChangeAspect="1"/>
            </p:cNvSpPr>
            <p:nvPr/>
          </p:nvSpPr>
          <p:spPr bwMode="gray">
            <a:xfrm>
              <a:off x="2364120" y="2374689"/>
              <a:ext cx="3135" cy="3290"/>
            </a:xfrm>
            <a:custGeom>
              <a:avLst/>
              <a:gdLst/>
              <a:ahLst/>
              <a:cxnLst>
                <a:cxn ang="0">
                  <a:pos x="0" y="0"/>
                </a:cxn>
                <a:cxn ang="0">
                  <a:pos x="0" y="2"/>
                </a:cxn>
                <a:cxn ang="0">
                  <a:pos x="0" y="2"/>
                </a:cxn>
                <a:cxn ang="0">
                  <a:pos x="2" y="0"/>
                </a:cxn>
                <a:cxn ang="0">
                  <a:pos x="0" y="0"/>
                </a:cxn>
                <a:cxn ang="0">
                  <a:pos x="0" y="0"/>
                </a:cxn>
              </a:cxnLst>
              <a:rect l="0" t="0" r="r" b="b"/>
              <a:pathLst>
                <a:path w="2" h="2">
                  <a:moveTo>
                    <a:pt x="0" y="0"/>
                  </a:moveTo>
                  <a:lnTo>
                    <a:pt x="0" y="2"/>
                  </a:lnTo>
                  <a:lnTo>
                    <a:pt x="0" y="2"/>
                  </a:lnTo>
                  <a:lnTo>
                    <a:pt x="2"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8" name="Freeform 232"/>
            <p:cNvSpPr>
              <a:spLocks noChangeAspect="1"/>
            </p:cNvSpPr>
            <p:nvPr/>
          </p:nvSpPr>
          <p:spPr bwMode="gray">
            <a:xfrm>
              <a:off x="1330934" y="2789221"/>
              <a:ext cx="1568" cy="1645"/>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79" name="Rectangle 233"/>
            <p:cNvSpPr>
              <a:spLocks noChangeAspect="1" noChangeArrowheads="1"/>
            </p:cNvSpPr>
            <p:nvPr/>
          </p:nvSpPr>
          <p:spPr bwMode="gray">
            <a:xfrm>
              <a:off x="1330934" y="2789221"/>
              <a:ext cx="1568" cy="3290"/>
            </a:xfrm>
            <a:prstGeom prst="rect">
              <a:avLst/>
            </a:prstGeom>
            <a:grpFill/>
            <a:ln w="3175">
              <a:solidFill>
                <a:srgbClr val="FFFFFF"/>
              </a:solidFill>
              <a:miter lim="800000"/>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0" name="Freeform 234"/>
            <p:cNvSpPr>
              <a:spLocks noChangeAspect="1"/>
            </p:cNvSpPr>
            <p:nvPr/>
          </p:nvSpPr>
          <p:spPr bwMode="gray">
            <a:xfrm>
              <a:off x="2241831" y="1973316"/>
              <a:ext cx="1568" cy="3290"/>
            </a:xfrm>
            <a:custGeom>
              <a:avLst/>
              <a:gdLst/>
              <a:ahLst/>
              <a:cxnLst>
                <a:cxn ang="0">
                  <a:pos x="0" y="0"/>
                </a:cxn>
                <a:cxn ang="0">
                  <a:pos x="0" y="0"/>
                </a:cxn>
                <a:cxn ang="0">
                  <a:pos x="0" y="0"/>
                </a:cxn>
                <a:cxn ang="0">
                  <a:pos x="0" y="2"/>
                </a:cxn>
                <a:cxn ang="0">
                  <a:pos x="0" y="2"/>
                </a:cxn>
                <a:cxn ang="0">
                  <a:pos x="0" y="0"/>
                </a:cxn>
                <a:cxn ang="0">
                  <a:pos x="0" y="0"/>
                </a:cxn>
                <a:cxn ang="0">
                  <a:pos x="0" y="0"/>
                </a:cxn>
              </a:cxnLst>
              <a:rect l="0" t="0" r="r" b="b"/>
              <a:pathLst>
                <a:path h="2">
                  <a:moveTo>
                    <a:pt x="0" y="0"/>
                  </a:moveTo>
                  <a:lnTo>
                    <a:pt x="0" y="0"/>
                  </a:lnTo>
                  <a:lnTo>
                    <a:pt x="0" y="0"/>
                  </a:lnTo>
                  <a:lnTo>
                    <a:pt x="0" y="2"/>
                  </a:lnTo>
                  <a:lnTo>
                    <a:pt x="0" y="2"/>
                  </a:lnTo>
                  <a:lnTo>
                    <a:pt x="0" y="0"/>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1" name="Freeform 235"/>
            <p:cNvSpPr>
              <a:spLocks noChangeAspect="1" noEditPoints="1"/>
            </p:cNvSpPr>
            <p:nvPr/>
          </p:nvSpPr>
          <p:spPr bwMode="gray">
            <a:xfrm>
              <a:off x="1002514" y="1917387"/>
              <a:ext cx="2052262" cy="1302816"/>
            </a:xfrm>
            <a:custGeom>
              <a:avLst/>
              <a:gdLst/>
              <a:ahLst/>
              <a:cxnLst>
                <a:cxn ang="0">
                  <a:pos x="860" y="106"/>
                </a:cxn>
                <a:cxn ang="0">
                  <a:pos x="540" y="46"/>
                </a:cxn>
                <a:cxn ang="0">
                  <a:pos x="528" y="30"/>
                </a:cxn>
                <a:cxn ang="0">
                  <a:pos x="668" y="36"/>
                </a:cxn>
                <a:cxn ang="0">
                  <a:pos x="744" y="42"/>
                </a:cxn>
                <a:cxn ang="0">
                  <a:pos x="716" y="74"/>
                </a:cxn>
                <a:cxn ang="0">
                  <a:pos x="406" y="56"/>
                </a:cxn>
                <a:cxn ang="0">
                  <a:pos x="456" y="22"/>
                </a:cxn>
                <a:cxn ang="0">
                  <a:pos x="762" y="308"/>
                </a:cxn>
                <a:cxn ang="0">
                  <a:pos x="1078" y="276"/>
                </a:cxn>
                <a:cxn ang="0">
                  <a:pos x="1016" y="288"/>
                </a:cxn>
                <a:cxn ang="0">
                  <a:pos x="1024" y="332"/>
                </a:cxn>
                <a:cxn ang="0">
                  <a:pos x="962" y="374"/>
                </a:cxn>
                <a:cxn ang="0">
                  <a:pos x="862" y="348"/>
                </a:cxn>
                <a:cxn ang="0">
                  <a:pos x="920" y="226"/>
                </a:cxn>
                <a:cxn ang="0">
                  <a:pos x="842" y="172"/>
                </a:cxn>
                <a:cxn ang="0">
                  <a:pos x="742" y="172"/>
                </a:cxn>
                <a:cxn ang="0">
                  <a:pos x="762" y="154"/>
                </a:cxn>
                <a:cxn ang="0">
                  <a:pos x="818" y="136"/>
                </a:cxn>
                <a:cxn ang="0">
                  <a:pos x="906" y="146"/>
                </a:cxn>
                <a:cxn ang="0">
                  <a:pos x="982" y="170"/>
                </a:cxn>
                <a:cxn ang="0">
                  <a:pos x="1008" y="238"/>
                </a:cxn>
                <a:cxn ang="0">
                  <a:pos x="1078" y="256"/>
                </a:cxn>
                <a:cxn ang="0">
                  <a:pos x="1030" y="722"/>
                </a:cxn>
                <a:cxn ang="0">
                  <a:pos x="904" y="732"/>
                </a:cxn>
                <a:cxn ang="0">
                  <a:pos x="822" y="750"/>
                </a:cxn>
                <a:cxn ang="0">
                  <a:pos x="702" y="666"/>
                </a:cxn>
                <a:cxn ang="0">
                  <a:pos x="198" y="626"/>
                </a:cxn>
                <a:cxn ang="0">
                  <a:pos x="182" y="592"/>
                </a:cxn>
                <a:cxn ang="0">
                  <a:pos x="132" y="478"/>
                </a:cxn>
                <a:cxn ang="0">
                  <a:pos x="82" y="206"/>
                </a:cxn>
                <a:cxn ang="0">
                  <a:pos x="148" y="200"/>
                </a:cxn>
                <a:cxn ang="0">
                  <a:pos x="344" y="220"/>
                </a:cxn>
                <a:cxn ang="0">
                  <a:pos x="468" y="232"/>
                </a:cxn>
                <a:cxn ang="0">
                  <a:pos x="532" y="250"/>
                </a:cxn>
                <a:cxn ang="0">
                  <a:pos x="634" y="232"/>
                </a:cxn>
                <a:cxn ang="0">
                  <a:pos x="622" y="154"/>
                </a:cxn>
                <a:cxn ang="0">
                  <a:pos x="634" y="138"/>
                </a:cxn>
                <a:cxn ang="0">
                  <a:pos x="716" y="204"/>
                </a:cxn>
                <a:cxn ang="0">
                  <a:pos x="810" y="206"/>
                </a:cxn>
                <a:cxn ang="0">
                  <a:pos x="738" y="302"/>
                </a:cxn>
                <a:cxn ang="0">
                  <a:pos x="666" y="374"/>
                </a:cxn>
                <a:cxn ang="0">
                  <a:pos x="748" y="518"/>
                </a:cxn>
                <a:cxn ang="0">
                  <a:pos x="858" y="524"/>
                </a:cxn>
                <a:cxn ang="0">
                  <a:pos x="870" y="372"/>
                </a:cxn>
                <a:cxn ang="0">
                  <a:pos x="1004" y="458"/>
                </a:cxn>
                <a:cxn ang="0">
                  <a:pos x="1076" y="496"/>
                </a:cxn>
                <a:cxn ang="0">
                  <a:pos x="1098" y="570"/>
                </a:cxn>
                <a:cxn ang="0">
                  <a:pos x="1072" y="632"/>
                </a:cxn>
                <a:cxn ang="0">
                  <a:pos x="998" y="656"/>
                </a:cxn>
                <a:cxn ang="0">
                  <a:pos x="1052" y="724"/>
                </a:cxn>
                <a:cxn ang="0">
                  <a:pos x="1160" y="646"/>
                </a:cxn>
                <a:cxn ang="0">
                  <a:pos x="1112" y="656"/>
                </a:cxn>
                <a:cxn ang="0">
                  <a:pos x="1204" y="688"/>
                </a:cxn>
                <a:cxn ang="0">
                  <a:pos x="122" y="556"/>
                </a:cxn>
                <a:cxn ang="0">
                  <a:pos x="440" y="108"/>
                </a:cxn>
                <a:cxn ang="0">
                  <a:pos x="318" y="148"/>
                </a:cxn>
                <a:cxn ang="0">
                  <a:pos x="352" y="184"/>
                </a:cxn>
                <a:cxn ang="0">
                  <a:pos x="518" y="216"/>
                </a:cxn>
                <a:cxn ang="0">
                  <a:pos x="590" y="86"/>
                </a:cxn>
                <a:cxn ang="0">
                  <a:pos x="578" y="156"/>
                </a:cxn>
                <a:cxn ang="0">
                  <a:pos x="136" y="576"/>
                </a:cxn>
                <a:cxn ang="0">
                  <a:pos x="308" y="118"/>
                </a:cxn>
              </a:cxnLst>
              <a:rect l="0" t="0" r="r" b="b"/>
              <a:pathLst>
                <a:path w="1208" h="792">
                  <a:moveTo>
                    <a:pt x="790" y="726"/>
                  </a:moveTo>
                  <a:lnTo>
                    <a:pt x="790" y="726"/>
                  </a:lnTo>
                  <a:lnTo>
                    <a:pt x="784" y="722"/>
                  </a:lnTo>
                  <a:lnTo>
                    <a:pt x="784" y="722"/>
                  </a:lnTo>
                  <a:lnTo>
                    <a:pt x="786" y="720"/>
                  </a:lnTo>
                  <a:lnTo>
                    <a:pt x="786" y="720"/>
                  </a:lnTo>
                  <a:lnTo>
                    <a:pt x="792" y="722"/>
                  </a:lnTo>
                  <a:lnTo>
                    <a:pt x="798" y="724"/>
                  </a:lnTo>
                  <a:lnTo>
                    <a:pt x="798" y="724"/>
                  </a:lnTo>
                  <a:lnTo>
                    <a:pt x="800" y="726"/>
                  </a:lnTo>
                  <a:lnTo>
                    <a:pt x="802" y="726"/>
                  </a:lnTo>
                  <a:lnTo>
                    <a:pt x="800" y="726"/>
                  </a:lnTo>
                  <a:lnTo>
                    <a:pt x="800" y="726"/>
                  </a:lnTo>
                  <a:lnTo>
                    <a:pt x="790" y="726"/>
                  </a:lnTo>
                  <a:lnTo>
                    <a:pt x="790" y="726"/>
                  </a:lnTo>
                  <a:close/>
                  <a:moveTo>
                    <a:pt x="840" y="190"/>
                  </a:moveTo>
                  <a:lnTo>
                    <a:pt x="840" y="190"/>
                  </a:lnTo>
                  <a:lnTo>
                    <a:pt x="838" y="192"/>
                  </a:lnTo>
                  <a:lnTo>
                    <a:pt x="834" y="194"/>
                  </a:lnTo>
                  <a:lnTo>
                    <a:pt x="834" y="194"/>
                  </a:lnTo>
                  <a:lnTo>
                    <a:pt x="824" y="194"/>
                  </a:lnTo>
                  <a:lnTo>
                    <a:pt x="824" y="194"/>
                  </a:lnTo>
                  <a:lnTo>
                    <a:pt x="824" y="196"/>
                  </a:lnTo>
                  <a:lnTo>
                    <a:pt x="826" y="196"/>
                  </a:lnTo>
                  <a:lnTo>
                    <a:pt x="826" y="196"/>
                  </a:lnTo>
                  <a:lnTo>
                    <a:pt x="826" y="198"/>
                  </a:lnTo>
                  <a:lnTo>
                    <a:pt x="826" y="198"/>
                  </a:lnTo>
                  <a:lnTo>
                    <a:pt x="826" y="198"/>
                  </a:lnTo>
                  <a:lnTo>
                    <a:pt x="826" y="198"/>
                  </a:lnTo>
                  <a:lnTo>
                    <a:pt x="826" y="198"/>
                  </a:lnTo>
                  <a:lnTo>
                    <a:pt x="828" y="200"/>
                  </a:lnTo>
                  <a:lnTo>
                    <a:pt x="828" y="200"/>
                  </a:lnTo>
                  <a:lnTo>
                    <a:pt x="830" y="198"/>
                  </a:lnTo>
                  <a:lnTo>
                    <a:pt x="830" y="198"/>
                  </a:lnTo>
                  <a:lnTo>
                    <a:pt x="832" y="202"/>
                  </a:lnTo>
                  <a:lnTo>
                    <a:pt x="834" y="202"/>
                  </a:lnTo>
                  <a:lnTo>
                    <a:pt x="834" y="202"/>
                  </a:lnTo>
                  <a:lnTo>
                    <a:pt x="842" y="194"/>
                  </a:lnTo>
                  <a:lnTo>
                    <a:pt x="846" y="190"/>
                  </a:lnTo>
                  <a:lnTo>
                    <a:pt x="844" y="190"/>
                  </a:lnTo>
                  <a:lnTo>
                    <a:pt x="840" y="190"/>
                  </a:lnTo>
                  <a:lnTo>
                    <a:pt x="840" y="190"/>
                  </a:lnTo>
                  <a:close/>
                  <a:moveTo>
                    <a:pt x="868" y="100"/>
                  </a:moveTo>
                  <a:lnTo>
                    <a:pt x="866" y="100"/>
                  </a:lnTo>
                  <a:lnTo>
                    <a:pt x="866" y="100"/>
                  </a:lnTo>
                  <a:lnTo>
                    <a:pt x="862" y="88"/>
                  </a:lnTo>
                  <a:lnTo>
                    <a:pt x="862" y="88"/>
                  </a:lnTo>
                  <a:lnTo>
                    <a:pt x="860" y="84"/>
                  </a:lnTo>
                  <a:lnTo>
                    <a:pt x="860" y="84"/>
                  </a:lnTo>
                  <a:lnTo>
                    <a:pt x="856" y="84"/>
                  </a:lnTo>
                  <a:lnTo>
                    <a:pt x="856" y="84"/>
                  </a:lnTo>
                  <a:lnTo>
                    <a:pt x="854" y="84"/>
                  </a:lnTo>
                  <a:lnTo>
                    <a:pt x="852" y="82"/>
                  </a:lnTo>
                  <a:lnTo>
                    <a:pt x="852" y="82"/>
                  </a:lnTo>
                  <a:lnTo>
                    <a:pt x="846" y="84"/>
                  </a:lnTo>
                  <a:lnTo>
                    <a:pt x="840" y="86"/>
                  </a:lnTo>
                  <a:lnTo>
                    <a:pt x="840" y="86"/>
                  </a:lnTo>
                  <a:lnTo>
                    <a:pt x="840" y="86"/>
                  </a:lnTo>
                  <a:lnTo>
                    <a:pt x="836" y="86"/>
                  </a:lnTo>
                  <a:lnTo>
                    <a:pt x="834" y="86"/>
                  </a:lnTo>
                  <a:lnTo>
                    <a:pt x="830" y="82"/>
                  </a:lnTo>
                  <a:lnTo>
                    <a:pt x="830" y="82"/>
                  </a:lnTo>
                  <a:lnTo>
                    <a:pt x="826" y="84"/>
                  </a:lnTo>
                  <a:lnTo>
                    <a:pt x="822" y="86"/>
                  </a:lnTo>
                  <a:lnTo>
                    <a:pt x="822" y="86"/>
                  </a:lnTo>
                  <a:lnTo>
                    <a:pt x="818" y="86"/>
                  </a:lnTo>
                  <a:lnTo>
                    <a:pt x="818" y="86"/>
                  </a:lnTo>
                  <a:lnTo>
                    <a:pt x="814" y="90"/>
                  </a:lnTo>
                  <a:lnTo>
                    <a:pt x="812" y="96"/>
                  </a:lnTo>
                  <a:lnTo>
                    <a:pt x="808" y="108"/>
                  </a:lnTo>
                  <a:lnTo>
                    <a:pt x="808" y="108"/>
                  </a:lnTo>
                  <a:lnTo>
                    <a:pt x="808" y="106"/>
                  </a:lnTo>
                  <a:lnTo>
                    <a:pt x="808" y="110"/>
                  </a:lnTo>
                  <a:lnTo>
                    <a:pt x="810" y="114"/>
                  </a:lnTo>
                  <a:lnTo>
                    <a:pt x="814" y="118"/>
                  </a:lnTo>
                  <a:lnTo>
                    <a:pt x="814" y="118"/>
                  </a:lnTo>
                  <a:lnTo>
                    <a:pt x="818" y="118"/>
                  </a:lnTo>
                  <a:lnTo>
                    <a:pt x="820" y="116"/>
                  </a:lnTo>
                  <a:lnTo>
                    <a:pt x="824" y="114"/>
                  </a:lnTo>
                  <a:lnTo>
                    <a:pt x="824" y="114"/>
                  </a:lnTo>
                  <a:lnTo>
                    <a:pt x="830" y="116"/>
                  </a:lnTo>
                  <a:lnTo>
                    <a:pt x="838" y="116"/>
                  </a:lnTo>
                  <a:lnTo>
                    <a:pt x="838" y="116"/>
                  </a:lnTo>
                  <a:lnTo>
                    <a:pt x="842" y="116"/>
                  </a:lnTo>
                  <a:lnTo>
                    <a:pt x="844" y="112"/>
                  </a:lnTo>
                  <a:lnTo>
                    <a:pt x="850" y="108"/>
                  </a:lnTo>
                  <a:lnTo>
                    <a:pt x="850" y="108"/>
                  </a:lnTo>
                  <a:lnTo>
                    <a:pt x="852" y="108"/>
                  </a:lnTo>
                  <a:lnTo>
                    <a:pt x="856" y="108"/>
                  </a:lnTo>
                  <a:lnTo>
                    <a:pt x="856" y="108"/>
                  </a:lnTo>
                  <a:lnTo>
                    <a:pt x="858" y="106"/>
                  </a:lnTo>
                  <a:lnTo>
                    <a:pt x="858" y="106"/>
                  </a:lnTo>
                  <a:lnTo>
                    <a:pt x="860" y="106"/>
                  </a:lnTo>
                  <a:lnTo>
                    <a:pt x="864" y="106"/>
                  </a:lnTo>
                  <a:lnTo>
                    <a:pt x="864" y="106"/>
                  </a:lnTo>
                  <a:lnTo>
                    <a:pt x="868" y="104"/>
                  </a:lnTo>
                  <a:lnTo>
                    <a:pt x="868" y="104"/>
                  </a:lnTo>
                  <a:lnTo>
                    <a:pt x="868" y="100"/>
                  </a:lnTo>
                  <a:lnTo>
                    <a:pt x="868" y="100"/>
                  </a:lnTo>
                  <a:close/>
                  <a:moveTo>
                    <a:pt x="570" y="12"/>
                  </a:moveTo>
                  <a:lnTo>
                    <a:pt x="570" y="12"/>
                  </a:lnTo>
                  <a:lnTo>
                    <a:pt x="572" y="14"/>
                  </a:lnTo>
                  <a:lnTo>
                    <a:pt x="572" y="14"/>
                  </a:lnTo>
                  <a:lnTo>
                    <a:pt x="572" y="14"/>
                  </a:lnTo>
                  <a:lnTo>
                    <a:pt x="572" y="16"/>
                  </a:lnTo>
                  <a:lnTo>
                    <a:pt x="570" y="16"/>
                  </a:lnTo>
                  <a:lnTo>
                    <a:pt x="564" y="16"/>
                  </a:lnTo>
                  <a:lnTo>
                    <a:pt x="564" y="16"/>
                  </a:lnTo>
                  <a:lnTo>
                    <a:pt x="564" y="14"/>
                  </a:lnTo>
                  <a:lnTo>
                    <a:pt x="564" y="14"/>
                  </a:lnTo>
                  <a:lnTo>
                    <a:pt x="566" y="12"/>
                  </a:lnTo>
                  <a:lnTo>
                    <a:pt x="566" y="12"/>
                  </a:lnTo>
                  <a:lnTo>
                    <a:pt x="560" y="4"/>
                  </a:lnTo>
                  <a:lnTo>
                    <a:pt x="560" y="6"/>
                  </a:lnTo>
                  <a:lnTo>
                    <a:pt x="560" y="6"/>
                  </a:lnTo>
                  <a:lnTo>
                    <a:pt x="554" y="6"/>
                  </a:lnTo>
                  <a:lnTo>
                    <a:pt x="554" y="6"/>
                  </a:lnTo>
                  <a:lnTo>
                    <a:pt x="554" y="8"/>
                  </a:lnTo>
                  <a:lnTo>
                    <a:pt x="552" y="8"/>
                  </a:lnTo>
                  <a:lnTo>
                    <a:pt x="554" y="12"/>
                  </a:lnTo>
                  <a:lnTo>
                    <a:pt x="554" y="12"/>
                  </a:lnTo>
                  <a:lnTo>
                    <a:pt x="562" y="14"/>
                  </a:lnTo>
                  <a:lnTo>
                    <a:pt x="562" y="14"/>
                  </a:lnTo>
                  <a:lnTo>
                    <a:pt x="562" y="14"/>
                  </a:lnTo>
                  <a:lnTo>
                    <a:pt x="562" y="16"/>
                  </a:lnTo>
                  <a:lnTo>
                    <a:pt x="562" y="16"/>
                  </a:lnTo>
                  <a:lnTo>
                    <a:pt x="552" y="16"/>
                  </a:lnTo>
                  <a:lnTo>
                    <a:pt x="552" y="16"/>
                  </a:lnTo>
                  <a:lnTo>
                    <a:pt x="552" y="20"/>
                  </a:lnTo>
                  <a:lnTo>
                    <a:pt x="552" y="20"/>
                  </a:lnTo>
                  <a:lnTo>
                    <a:pt x="554" y="22"/>
                  </a:lnTo>
                  <a:lnTo>
                    <a:pt x="558" y="24"/>
                  </a:lnTo>
                  <a:lnTo>
                    <a:pt x="558" y="24"/>
                  </a:lnTo>
                  <a:lnTo>
                    <a:pt x="558" y="32"/>
                  </a:lnTo>
                  <a:lnTo>
                    <a:pt x="558" y="32"/>
                  </a:lnTo>
                  <a:lnTo>
                    <a:pt x="560" y="32"/>
                  </a:lnTo>
                  <a:lnTo>
                    <a:pt x="560" y="34"/>
                  </a:lnTo>
                  <a:lnTo>
                    <a:pt x="558" y="38"/>
                  </a:lnTo>
                  <a:lnTo>
                    <a:pt x="558" y="38"/>
                  </a:lnTo>
                  <a:lnTo>
                    <a:pt x="554" y="36"/>
                  </a:lnTo>
                  <a:lnTo>
                    <a:pt x="554" y="36"/>
                  </a:lnTo>
                  <a:lnTo>
                    <a:pt x="554" y="34"/>
                  </a:lnTo>
                  <a:lnTo>
                    <a:pt x="554" y="30"/>
                  </a:lnTo>
                  <a:lnTo>
                    <a:pt x="554" y="30"/>
                  </a:lnTo>
                  <a:lnTo>
                    <a:pt x="544" y="22"/>
                  </a:lnTo>
                  <a:lnTo>
                    <a:pt x="544" y="22"/>
                  </a:lnTo>
                  <a:lnTo>
                    <a:pt x="542" y="16"/>
                  </a:lnTo>
                  <a:lnTo>
                    <a:pt x="542" y="16"/>
                  </a:lnTo>
                  <a:lnTo>
                    <a:pt x="538" y="14"/>
                  </a:lnTo>
                  <a:lnTo>
                    <a:pt x="536" y="14"/>
                  </a:lnTo>
                  <a:lnTo>
                    <a:pt x="534" y="16"/>
                  </a:lnTo>
                  <a:lnTo>
                    <a:pt x="534" y="16"/>
                  </a:lnTo>
                  <a:lnTo>
                    <a:pt x="534" y="16"/>
                  </a:lnTo>
                  <a:lnTo>
                    <a:pt x="534" y="18"/>
                  </a:lnTo>
                  <a:lnTo>
                    <a:pt x="532" y="20"/>
                  </a:lnTo>
                  <a:lnTo>
                    <a:pt x="532" y="20"/>
                  </a:lnTo>
                  <a:lnTo>
                    <a:pt x="536" y="20"/>
                  </a:lnTo>
                  <a:lnTo>
                    <a:pt x="536" y="20"/>
                  </a:lnTo>
                  <a:lnTo>
                    <a:pt x="536" y="26"/>
                  </a:lnTo>
                  <a:lnTo>
                    <a:pt x="538" y="32"/>
                  </a:lnTo>
                  <a:lnTo>
                    <a:pt x="538" y="32"/>
                  </a:lnTo>
                  <a:lnTo>
                    <a:pt x="540" y="32"/>
                  </a:lnTo>
                  <a:lnTo>
                    <a:pt x="540" y="32"/>
                  </a:lnTo>
                  <a:lnTo>
                    <a:pt x="542" y="38"/>
                  </a:lnTo>
                  <a:lnTo>
                    <a:pt x="542" y="38"/>
                  </a:lnTo>
                  <a:lnTo>
                    <a:pt x="540" y="40"/>
                  </a:lnTo>
                  <a:lnTo>
                    <a:pt x="538" y="40"/>
                  </a:lnTo>
                  <a:lnTo>
                    <a:pt x="538" y="40"/>
                  </a:lnTo>
                  <a:lnTo>
                    <a:pt x="538" y="38"/>
                  </a:lnTo>
                  <a:lnTo>
                    <a:pt x="538" y="38"/>
                  </a:lnTo>
                  <a:lnTo>
                    <a:pt x="526" y="40"/>
                  </a:lnTo>
                  <a:lnTo>
                    <a:pt x="526" y="40"/>
                  </a:lnTo>
                  <a:lnTo>
                    <a:pt x="528" y="40"/>
                  </a:lnTo>
                  <a:lnTo>
                    <a:pt x="530" y="42"/>
                  </a:lnTo>
                  <a:lnTo>
                    <a:pt x="528" y="44"/>
                  </a:lnTo>
                  <a:lnTo>
                    <a:pt x="528" y="44"/>
                  </a:lnTo>
                  <a:lnTo>
                    <a:pt x="524" y="44"/>
                  </a:lnTo>
                  <a:lnTo>
                    <a:pt x="524" y="44"/>
                  </a:lnTo>
                  <a:lnTo>
                    <a:pt x="524" y="50"/>
                  </a:lnTo>
                  <a:lnTo>
                    <a:pt x="524" y="50"/>
                  </a:lnTo>
                  <a:lnTo>
                    <a:pt x="526" y="52"/>
                  </a:lnTo>
                  <a:lnTo>
                    <a:pt x="530" y="52"/>
                  </a:lnTo>
                  <a:lnTo>
                    <a:pt x="530" y="52"/>
                  </a:lnTo>
                  <a:lnTo>
                    <a:pt x="536" y="50"/>
                  </a:lnTo>
                  <a:lnTo>
                    <a:pt x="540" y="46"/>
                  </a:lnTo>
                  <a:lnTo>
                    <a:pt x="540" y="46"/>
                  </a:lnTo>
                  <a:lnTo>
                    <a:pt x="546" y="46"/>
                  </a:lnTo>
                  <a:lnTo>
                    <a:pt x="554" y="46"/>
                  </a:lnTo>
                  <a:lnTo>
                    <a:pt x="554" y="46"/>
                  </a:lnTo>
                  <a:lnTo>
                    <a:pt x="560" y="42"/>
                  </a:lnTo>
                  <a:lnTo>
                    <a:pt x="560" y="42"/>
                  </a:lnTo>
                  <a:lnTo>
                    <a:pt x="560" y="46"/>
                  </a:lnTo>
                  <a:lnTo>
                    <a:pt x="558" y="46"/>
                  </a:lnTo>
                  <a:lnTo>
                    <a:pt x="558" y="46"/>
                  </a:lnTo>
                  <a:lnTo>
                    <a:pt x="556" y="48"/>
                  </a:lnTo>
                  <a:lnTo>
                    <a:pt x="556" y="48"/>
                  </a:lnTo>
                  <a:lnTo>
                    <a:pt x="550" y="52"/>
                  </a:lnTo>
                  <a:lnTo>
                    <a:pt x="550" y="52"/>
                  </a:lnTo>
                  <a:lnTo>
                    <a:pt x="550" y="58"/>
                  </a:lnTo>
                  <a:lnTo>
                    <a:pt x="554" y="60"/>
                  </a:lnTo>
                  <a:lnTo>
                    <a:pt x="558" y="60"/>
                  </a:lnTo>
                  <a:lnTo>
                    <a:pt x="564" y="60"/>
                  </a:lnTo>
                  <a:lnTo>
                    <a:pt x="564" y="60"/>
                  </a:lnTo>
                  <a:lnTo>
                    <a:pt x="572" y="62"/>
                  </a:lnTo>
                  <a:lnTo>
                    <a:pt x="572" y="62"/>
                  </a:lnTo>
                  <a:lnTo>
                    <a:pt x="582" y="60"/>
                  </a:lnTo>
                  <a:lnTo>
                    <a:pt x="594" y="60"/>
                  </a:lnTo>
                  <a:lnTo>
                    <a:pt x="594" y="60"/>
                  </a:lnTo>
                  <a:lnTo>
                    <a:pt x="596" y="58"/>
                  </a:lnTo>
                  <a:lnTo>
                    <a:pt x="596" y="58"/>
                  </a:lnTo>
                  <a:lnTo>
                    <a:pt x="594" y="54"/>
                  </a:lnTo>
                  <a:lnTo>
                    <a:pt x="594" y="54"/>
                  </a:lnTo>
                  <a:lnTo>
                    <a:pt x="594" y="54"/>
                  </a:lnTo>
                  <a:lnTo>
                    <a:pt x="596" y="54"/>
                  </a:lnTo>
                  <a:lnTo>
                    <a:pt x="596" y="54"/>
                  </a:lnTo>
                  <a:lnTo>
                    <a:pt x="598" y="52"/>
                  </a:lnTo>
                  <a:lnTo>
                    <a:pt x="596" y="50"/>
                  </a:lnTo>
                  <a:lnTo>
                    <a:pt x="596" y="50"/>
                  </a:lnTo>
                  <a:lnTo>
                    <a:pt x="594" y="48"/>
                  </a:lnTo>
                  <a:lnTo>
                    <a:pt x="592" y="48"/>
                  </a:lnTo>
                  <a:lnTo>
                    <a:pt x="592" y="48"/>
                  </a:lnTo>
                  <a:lnTo>
                    <a:pt x="592" y="42"/>
                  </a:lnTo>
                  <a:lnTo>
                    <a:pt x="592" y="42"/>
                  </a:lnTo>
                  <a:lnTo>
                    <a:pt x="594" y="42"/>
                  </a:lnTo>
                  <a:lnTo>
                    <a:pt x="594" y="42"/>
                  </a:lnTo>
                  <a:lnTo>
                    <a:pt x="594" y="38"/>
                  </a:lnTo>
                  <a:lnTo>
                    <a:pt x="594" y="38"/>
                  </a:lnTo>
                  <a:lnTo>
                    <a:pt x="588" y="38"/>
                  </a:lnTo>
                  <a:lnTo>
                    <a:pt x="588" y="38"/>
                  </a:lnTo>
                  <a:lnTo>
                    <a:pt x="590" y="34"/>
                  </a:lnTo>
                  <a:lnTo>
                    <a:pt x="590" y="30"/>
                  </a:lnTo>
                  <a:lnTo>
                    <a:pt x="588" y="26"/>
                  </a:lnTo>
                  <a:lnTo>
                    <a:pt x="588" y="26"/>
                  </a:lnTo>
                  <a:lnTo>
                    <a:pt x="586" y="22"/>
                  </a:lnTo>
                  <a:lnTo>
                    <a:pt x="588" y="16"/>
                  </a:lnTo>
                  <a:lnTo>
                    <a:pt x="588" y="16"/>
                  </a:lnTo>
                  <a:lnTo>
                    <a:pt x="578" y="12"/>
                  </a:lnTo>
                  <a:lnTo>
                    <a:pt x="578" y="12"/>
                  </a:lnTo>
                  <a:lnTo>
                    <a:pt x="580" y="12"/>
                  </a:lnTo>
                  <a:lnTo>
                    <a:pt x="580" y="10"/>
                  </a:lnTo>
                  <a:lnTo>
                    <a:pt x="580" y="10"/>
                  </a:lnTo>
                  <a:lnTo>
                    <a:pt x="576" y="8"/>
                  </a:lnTo>
                  <a:lnTo>
                    <a:pt x="572" y="6"/>
                  </a:lnTo>
                  <a:lnTo>
                    <a:pt x="572" y="6"/>
                  </a:lnTo>
                  <a:lnTo>
                    <a:pt x="570" y="12"/>
                  </a:lnTo>
                  <a:lnTo>
                    <a:pt x="570" y="12"/>
                  </a:lnTo>
                  <a:close/>
                  <a:moveTo>
                    <a:pt x="504" y="26"/>
                  </a:moveTo>
                  <a:lnTo>
                    <a:pt x="504" y="28"/>
                  </a:lnTo>
                  <a:lnTo>
                    <a:pt x="504" y="28"/>
                  </a:lnTo>
                  <a:lnTo>
                    <a:pt x="518" y="26"/>
                  </a:lnTo>
                  <a:lnTo>
                    <a:pt x="518" y="26"/>
                  </a:lnTo>
                  <a:lnTo>
                    <a:pt x="516" y="28"/>
                  </a:lnTo>
                  <a:lnTo>
                    <a:pt x="516" y="28"/>
                  </a:lnTo>
                  <a:lnTo>
                    <a:pt x="506" y="32"/>
                  </a:lnTo>
                  <a:lnTo>
                    <a:pt x="504" y="34"/>
                  </a:lnTo>
                  <a:lnTo>
                    <a:pt x="504" y="34"/>
                  </a:lnTo>
                  <a:lnTo>
                    <a:pt x="516" y="32"/>
                  </a:lnTo>
                  <a:lnTo>
                    <a:pt x="518" y="34"/>
                  </a:lnTo>
                  <a:lnTo>
                    <a:pt x="518" y="34"/>
                  </a:lnTo>
                  <a:lnTo>
                    <a:pt x="514" y="36"/>
                  </a:lnTo>
                  <a:lnTo>
                    <a:pt x="514" y="36"/>
                  </a:lnTo>
                  <a:lnTo>
                    <a:pt x="512" y="40"/>
                  </a:lnTo>
                  <a:lnTo>
                    <a:pt x="512" y="40"/>
                  </a:lnTo>
                  <a:lnTo>
                    <a:pt x="508" y="40"/>
                  </a:lnTo>
                  <a:lnTo>
                    <a:pt x="508" y="40"/>
                  </a:lnTo>
                  <a:lnTo>
                    <a:pt x="508" y="44"/>
                  </a:lnTo>
                  <a:lnTo>
                    <a:pt x="508" y="44"/>
                  </a:lnTo>
                  <a:lnTo>
                    <a:pt x="514" y="44"/>
                  </a:lnTo>
                  <a:lnTo>
                    <a:pt x="520" y="42"/>
                  </a:lnTo>
                  <a:lnTo>
                    <a:pt x="520" y="42"/>
                  </a:lnTo>
                  <a:lnTo>
                    <a:pt x="522" y="40"/>
                  </a:lnTo>
                  <a:lnTo>
                    <a:pt x="524" y="38"/>
                  </a:lnTo>
                  <a:lnTo>
                    <a:pt x="524" y="38"/>
                  </a:lnTo>
                  <a:lnTo>
                    <a:pt x="530" y="34"/>
                  </a:lnTo>
                  <a:lnTo>
                    <a:pt x="530" y="34"/>
                  </a:lnTo>
                  <a:lnTo>
                    <a:pt x="530" y="32"/>
                  </a:lnTo>
                  <a:lnTo>
                    <a:pt x="530" y="32"/>
                  </a:lnTo>
                  <a:lnTo>
                    <a:pt x="528" y="32"/>
                  </a:lnTo>
                  <a:lnTo>
                    <a:pt x="528" y="30"/>
                  </a:lnTo>
                  <a:lnTo>
                    <a:pt x="530" y="28"/>
                  </a:lnTo>
                  <a:lnTo>
                    <a:pt x="530" y="28"/>
                  </a:lnTo>
                  <a:lnTo>
                    <a:pt x="530" y="26"/>
                  </a:lnTo>
                  <a:lnTo>
                    <a:pt x="530" y="26"/>
                  </a:lnTo>
                  <a:lnTo>
                    <a:pt x="530" y="24"/>
                  </a:lnTo>
                  <a:lnTo>
                    <a:pt x="526" y="22"/>
                  </a:lnTo>
                  <a:lnTo>
                    <a:pt x="526" y="22"/>
                  </a:lnTo>
                  <a:lnTo>
                    <a:pt x="520" y="24"/>
                  </a:lnTo>
                  <a:lnTo>
                    <a:pt x="520" y="24"/>
                  </a:lnTo>
                  <a:lnTo>
                    <a:pt x="524" y="18"/>
                  </a:lnTo>
                  <a:lnTo>
                    <a:pt x="524" y="16"/>
                  </a:lnTo>
                  <a:lnTo>
                    <a:pt x="520" y="14"/>
                  </a:lnTo>
                  <a:lnTo>
                    <a:pt x="520" y="14"/>
                  </a:lnTo>
                  <a:lnTo>
                    <a:pt x="512" y="16"/>
                  </a:lnTo>
                  <a:lnTo>
                    <a:pt x="506" y="18"/>
                  </a:lnTo>
                  <a:lnTo>
                    <a:pt x="506" y="18"/>
                  </a:lnTo>
                  <a:lnTo>
                    <a:pt x="502" y="20"/>
                  </a:lnTo>
                  <a:lnTo>
                    <a:pt x="502" y="20"/>
                  </a:lnTo>
                  <a:lnTo>
                    <a:pt x="500" y="20"/>
                  </a:lnTo>
                  <a:lnTo>
                    <a:pt x="500" y="22"/>
                  </a:lnTo>
                  <a:lnTo>
                    <a:pt x="500" y="24"/>
                  </a:lnTo>
                  <a:lnTo>
                    <a:pt x="504" y="26"/>
                  </a:lnTo>
                  <a:lnTo>
                    <a:pt x="504" y="26"/>
                  </a:lnTo>
                  <a:close/>
                  <a:moveTo>
                    <a:pt x="616" y="64"/>
                  </a:moveTo>
                  <a:lnTo>
                    <a:pt x="616" y="64"/>
                  </a:lnTo>
                  <a:lnTo>
                    <a:pt x="628" y="68"/>
                  </a:lnTo>
                  <a:lnTo>
                    <a:pt x="628" y="68"/>
                  </a:lnTo>
                  <a:lnTo>
                    <a:pt x="628" y="66"/>
                  </a:lnTo>
                  <a:lnTo>
                    <a:pt x="630" y="66"/>
                  </a:lnTo>
                  <a:lnTo>
                    <a:pt x="630" y="66"/>
                  </a:lnTo>
                  <a:lnTo>
                    <a:pt x="634" y="70"/>
                  </a:lnTo>
                  <a:lnTo>
                    <a:pt x="634" y="70"/>
                  </a:lnTo>
                  <a:lnTo>
                    <a:pt x="640" y="70"/>
                  </a:lnTo>
                  <a:lnTo>
                    <a:pt x="640" y="70"/>
                  </a:lnTo>
                  <a:lnTo>
                    <a:pt x="642" y="58"/>
                  </a:lnTo>
                  <a:lnTo>
                    <a:pt x="642" y="52"/>
                  </a:lnTo>
                  <a:lnTo>
                    <a:pt x="642" y="48"/>
                  </a:lnTo>
                  <a:lnTo>
                    <a:pt x="642" y="48"/>
                  </a:lnTo>
                  <a:lnTo>
                    <a:pt x="638" y="46"/>
                  </a:lnTo>
                  <a:lnTo>
                    <a:pt x="636" y="44"/>
                  </a:lnTo>
                  <a:lnTo>
                    <a:pt x="636" y="44"/>
                  </a:lnTo>
                  <a:lnTo>
                    <a:pt x="634" y="40"/>
                  </a:lnTo>
                  <a:lnTo>
                    <a:pt x="634" y="40"/>
                  </a:lnTo>
                  <a:lnTo>
                    <a:pt x="632" y="40"/>
                  </a:lnTo>
                  <a:lnTo>
                    <a:pt x="628" y="38"/>
                  </a:lnTo>
                  <a:lnTo>
                    <a:pt x="620" y="38"/>
                  </a:lnTo>
                  <a:lnTo>
                    <a:pt x="620" y="38"/>
                  </a:lnTo>
                  <a:lnTo>
                    <a:pt x="618" y="44"/>
                  </a:lnTo>
                  <a:lnTo>
                    <a:pt x="614" y="48"/>
                  </a:lnTo>
                  <a:lnTo>
                    <a:pt x="614" y="48"/>
                  </a:lnTo>
                  <a:lnTo>
                    <a:pt x="612" y="50"/>
                  </a:lnTo>
                  <a:lnTo>
                    <a:pt x="610" y="50"/>
                  </a:lnTo>
                  <a:lnTo>
                    <a:pt x="610" y="50"/>
                  </a:lnTo>
                  <a:lnTo>
                    <a:pt x="610" y="54"/>
                  </a:lnTo>
                  <a:lnTo>
                    <a:pt x="610" y="54"/>
                  </a:lnTo>
                  <a:lnTo>
                    <a:pt x="608" y="56"/>
                  </a:lnTo>
                  <a:lnTo>
                    <a:pt x="608" y="56"/>
                  </a:lnTo>
                  <a:lnTo>
                    <a:pt x="608" y="60"/>
                  </a:lnTo>
                  <a:lnTo>
                    <a:pt x="608" y="62"/>
                  </a:lnTo>
                  <a:lnTo>
                    <a:pt x="608" y="62"/>
                  </a:lnTo>
                  <a:lnTo>
                    <a:pt x="610" y="62"/>
                  </a:lnTo>
                  <a:lnTo>
                    <a:pt x="610" y="60"/>
                  </a:lnTo>
                  <a:lnTo>
                    <a:pt x="610" y="60"/>
                  </a:lnTo>
                  <a:lnTo>
                    <a:pt x="614" y="62"/>
                  </a:lnTo>
                  <a:lnTo>
                    <a:pt x="614" y="62"/>
                  </a:lnTo>
                  <a:lnTo>
                    <a:pt x="616" y="64"/>
                  </a:lnTo>
                  <a:lnTo>
                    <a:pt x="616" y="64"/>
                  </a:lnTo>
                  <a:close/>
                  <a:moveTo>
                    <a:pt x="682" y="74"/>
                  </a:moveTo>
                  <a:lnTo>
                    <a:pt x="682" y="74"/>
                  </a:lnTo>
                  <a:lnTo>
                    <a:pt x="682" y="74"/>
                  </a:lnTo>
                  <a:lnTo>
                    <a:pt x="680" y="72"/>
                  </a:lnTo>
                  <a:lnTo>
                    <a:pt x="680" y="70"/>
                  </a:lnTo>
                  <a:lnTo>
                    <a:pt x="676" y="70"/>
                  </a:lnTo>
                  <a:lnTo>
                    <a:pt x="676" y="74"/>
                  </a:lnTo>
                  <a:lnTo>
                    <a:pt x="676" y="74"/>
                  </a:lnTo>
                  <a:lnTo>
                    <a:pt x="672" y="74"/>
                  </a:lnTo>
                  <a:lnTo>
                    <a:pt x="668" y="74"/>
                  </a:lnTo>
                  <a:lnTo>
                    <a:pt x="668" y="74"/>
                  </a:lnTo>
                  <a:lnTo>
                    <a:pt x="668" y="68"/>
                  </a:lnTo>
                  <a:lnTo>
                    <a:pt x="668" y="68"/>
                  </a:lnTo>
                  <a:lnTo>
                    <a:pt x="668" y="66"/>
                  </a:lnTo>
                  <a:lnTo>
                    <a:pt x="668" y="66"/>
                  </a:lnTo>
                  <a:lnTo>
                    <a:pt x="666" y="58"/>
                  </a:lnTo>
                  <a:lnTo>
                    <a:pt x="666" y="58"/>
                  </a:lnTo>
                  <a:lnTo>
                    <a:pt x="668" y="56"/>
                  </a:lnTo>
                  <a:lnTo>
                    <a:pt x="668" y="52"/>
                  </a:lnTo>
                  <a:lnTo>
                    <a:pt x="668" y="52"/>
                  </a:lnTo>
                  <a:lnTo>
                    <a:pt x="666" y="48"/>
                  </a:lnTo>
                  <a:lnTo>
                    <a:pt x="666" y="48"/>
                  </a:lnTo>
                  <a:lnTo>
                    <a:pt x="670" y="44"/>
                  </a:lnTo>
                  <a:lnTo>
                    <a:pt x="670" y="40"/>
                  </a:lnTo>
                  <a:lnTo>
                    <a:pt x="668" y="36"/>
                  </a:lnTo>
                  <a:lnTo>
                    <a:pt x="668" y="36"/>
                  </a:lnTo>
                  <a:lnTo>
                    <a:pt x="664" y="34"/>
                  </a:lnTo>
                  <a:lnTo>
                    <a:pt x="664" y="34"/>
                  </a:lnTo>
                  <a:lnTo>
                    <a:pt x="664" y="32"/>
                  </a:lnTo>
                  <a:lnTo>
                    <a:pt x="664" y="32"/>
                  </a:lnTo>
                  <a:lnTo>
                    <a:pt x="662" y="28"/>
                  </a:lnTo>
                  <a:lnTo>
                    <a:pt x="658" y="28"/>
                  </a:lnTo>
                  <a:lnTo>
                    <a:pt x="648" y="26"/>
                  </a:lnTo>
                  <a:lnTo>
                    <a:pt x="648" y="22"/>
                  </a:lnTo>
                  <a:lnTo>
                    <a:pt x="648" y="22"/>
                  </a:lnTo>
                  <a:lnTo>
                    <a:pt x="646" y="22"/>
                  </a:lnTo>
                  <a:lnTo>
                    <a:pt x="644" y="24"/>
                  </a:lnTo>
                  <a:lnTo>
                    <a:pt x="642" y="28"/>
                  </a:lnTo>
                  <a:lnTo>
                    <a:pt x="642" y="28"/>
                  </a:lnTo>
                  <a:lnTo>
                    <a:pt x="640" y="28"/>
                  </a:lnTo>
                  <a:lnTo>
                    <a:pt x="640" y="28"/>
                  </a:lnTo>
                  <a:lnTo>
                    <a:pt x="634" y="24"/>
                  </a:lnTo>
                  <a:lnTo>
                    <a:pt x="628" y="22"/>
                  </a:lnTo>
                  <a:lnTo>
                    <a:pt x="628" y="22"/>
                  </a:lnTo>
                  <a:lnTo>
                    <a:pt x="622" y="22"/>
                  </a:lnTo>
                  <a:lnTo>
                    <a:pt x="618" y="20"/>
                  </a:lnTo>
                  <a:lnTo>
                    <a:pt x="618" y="20"/>
                  </a:lnTo>
                  <a:lnTo>
                    <a:pt x="616" y="18"/>
                  </a:lnTo>
                  <a:lnTo>
                    <a:pt x="614" y="14"/>
                  </a:lnTo>
                  <a:lnTo>
                    <a:pt x="614" y="14"/>
                  </a:lnTo>
                  <a:lnTo>
                    <a:pt x="608" y="10"/>
                  </a:lnTo>
                  <a:lnTo>
                    <a:pt x="608" y="10"/>
                  </a:lnTo>
                  <a:lnTo>
                    <a:pt x="608" y="8"/>
                  </a:lnTo>
                  <a:lnTo>
                    <a:pt x="608" y="8"/>
                  </a:lnTo>
                  <a:lnTo>
                    <a:pt x="610" y="8"/>
                  </a:lnTo>
                  <a:lnTo>
                    <a:pt x="610" y="8"/>
                  </a:lnTo>
                  <a:lnTo>
                    <a:pt x="614" y="2"/>
                  </a:lnTo>
                  <a:lnTo>
                    <a:pt x="614" y="2"/>
                  </a:lnTo>
                  <a:lnTo>
                    <a:pt x="620" y="4"/>
                  </a:lnTo>
                  <a:lnTo>
                    <a:pt x="620" y="4"/>
                  </a:lnTo>
                  <a:lnTo>
                    <a:pt x="624" y="2"/>
                  </a:lnTo>
                  <a:lnTo>
                    <a:pt x="624" y="2"/>
                  </a:lnTo>
                  <a:lnTo>
                    <a:pt x="624" y="4"/>
                  </a:lnTo>
                  <a:lnTo>
                    <a:pt x="624" y="4"/>
                  </a:lnTo>
                  <a:lnTo>
                    <a:pt x="634" y="6"/>
                  </a:lnTo>
                  <a:lnTo>
                    <a:pt x="634" y="6"/>
                  </a:lnTo>
                  <a:lnTo>
                    <a:pt x="640" y="6"/>
                  </a:lnTo>
                  <a:lnTo>
                    <a:pt x="644" y="6"/>
                  </a:lnTo>
                  <a:lnTo>
                    <a:pt x="644" y="6"/>
                  </a:lnTo>
                  <a:lnTo>
                    <a:pt x="650" y="10"/>
                  </a:lnTo>
                  <a:lnTo>
                    <a:pt x="650" y="10"/>
                  </a:lnTo>
                  <a:lnTo>
                    <a:pt x="650" y="14"/>
                  </a:lnTo>
                  <a:lnTo>
                    <a:pt x="650" y="14"/>
                  </a:lnTo>
                  <a:lnTo>
                    <a:pt x="660" y="14"/>
                  </a:lnTo>
                  <a:lnTo>
                    <a:pt x="674" y="10"/>
                  </a:lnTo>
                  <a:lnTo>
                    <a:pt x="674" y="10"/>
                  </a:lnTo>
                  <a:lnTo>
                    <a:pt x="676" y="16"/>
                  </a:lnTo>
                  <a:lnTo>
                    <a:pt x="676" y="16"/>
                  </a:lnTo>
                  <a:lnTo>
                    <a:pt x="680" y="16"/>
                  </a:lnTo>
                  <a:lnTo>
                    <a:pt x="684" y="16"/>
                  </a:lnTo>
                  <a:lnTo>
                    <a:pt x="684" y="16"/>
                  </a:lnTo>
                  <a:lnTo>
                    <a:pt x="686" y="20"/>
                  </a:lnTo>
                  <a:lnTo>
                    <a:pt x="686" y="20"/>
                  </a:lnTo>
                  <a:lnTo>
                    <a:pt x="696" y="22"/>
                  </a:lnTo>
                  <a:lnTo>
                    <a:pt x="696" y="22"/>
                  </a:lnTo>
                  <a:lnTo>
                    <a:pt x="696" y="26"/>
                  </a:lnTo>
                  <a:lnTo>
                    <a:pt x="696" y="26"/>
                  </a:lnTo>
                  <a:lnTo>
                    <a:pt x="690" y="28"/>
                  </a:lnTo>
                  <a:lnTo>
                    <a:pt x="682" y="28"/>
                  </a:lnTo>
                  <a:lnTo>
                    <a:pt x="682" y="30"/>
                  </a:lnTo>
                  <a:lnTo>
                    <a:pt x="682" y="30"/>
                  </a:lnTo>
                  <a:lnTo>
                    <a:pt x="686" y="32"/>
                  </a:lnTo>
                  <a:lnTo>
                    <a:pt x="686" y="32"/>
                  </a:lnTo>
                  <a:lnTo>
                    <a:pt x="684" y="36"/>
                  </a:lnTo>
                  <a:lnTo>
                    <a:pt x="684" y="36"/>
                  </a:lnTo>
                  <a:lnTo>
                    <a:pt x="686" y="36"/>
                  </a:lnTo>
                  <a:lnTo>
                    <a:pt x="686" y="36"/>
                  </a:lnTo>
                  <a:lnTo>
                    <a:pt x="688" y="32"/>
                  </a:lnTo>
                  <a:lnTo>
                    <a:pt x="688" y="32"/>
                  </a:lnTo>
                  <a:lnTo>
                    <a:pt x="694" y="32"/>
                  </a:lnTo>
                  <a:lnTo>
                    <a:pt x="700" y="34"/>
                  </a:lnTo>
                  <a:lnTo>
                    <a:pt x="700" y="34"/>
                  </a:lnTo>
                  <a:lnTo>
                    <a:pt x="700" y="40"/>
                  </a:lnTo>
                  <a:lnTo>
                    <a:pt x="700" y="40"/>
                  </a:lnTo>
                  <a:lnTo>
                    <a:pt x="702" y="38"/>
                  </a:lnTo>
                  <a:lnTo>
                    <a:pt x="702" y="36"/>
                  </a:lnTo>
                  <a:lnTo>
                    <a:pt x="702" y="36"/>
                  </a:lnTo>
                  <a:lnTo>
                    <a:pt x="716" y="40"/>
                  </a:lnTo>
                  <a:lnTo>
                    <a:pt x="716" y="42"/>
                  </a:lnTo>
                  <a:lnTo>
                    <a:pt x="716" y="42"/>
                  </a:lnTo>
                  <a:lnTo>
                    <a:pt x="718" y="42"/>
                  </a:lnTo>
                  <a:lnTo>
                    <a:pt x="718" y="40"/>
                  </a:lnTo>
                  <a:lnTo>
                    <a:pt x="718" y="40"/>
                  </a:lnTo>
                  <a:lnTo>
                    <a:pt x="722" y="42"/>
                  </a:lnTo>
                  <a:lnTo>
                    <a:pt x="726" y="44"/>
                  </a:lnTo>
                  <a:lnTo>
                    <a:pt x="726" y="38"/>
                  </a:lnTo>
                  <a:lnTo>
                    <a:pt x="726" y="38"/>
                  </a:lnTo>
                  <a:lnTo>
                    <a:pt x="734" y="42"/>
                  </a:lnTo>
                  <a:lnTo>
                    <a:pt x="744" y="42"/>
                  </a:lnTo>
                  <a:lnTo>
                    <a:pt x="744" y="42"/>
                  </a:lnTo>
                  <a:lnTo>
                    <a:pt x="744" y="40"/>
                  </a:lnTo>
                  <a:lnTo>
                    <a:pt x="744" y="40"/>
                  </a:lnTo>
                  <a:lnTo>
                    <a:pt x="748" y="38"/>
                  </a:lnTo>
                  <a:lnTo>
                    <a:pt x="748" y="38"/>
                  </a:lnTo>
                  <a:lnTo>
                    <a:pt x="756" y="38"/>
                  </a:lnTo>
                  <a:lnTo>
                    <a:pt x="762" y="38"/>
                  </a:lnTo>
                  <a:lnTo>
                    <a:pt x="762" y="34"/>
                  </a:lnTo>
                  <a:lnTo>
                    <a:pt x="762" y="34"/>
                  </a:lnTo>
                  <a:lnTo>
                    <a:pt x="768" y="34"/>
                  </a:lnTo>
                  <a:lnTo>
                    <a:pt x="770" y="32"/>
                  </a:lnTo>
                  <a:lnTo>
                    <a:pt x="770" y="32"/>
                  </a:lnTo>
                  <a:lnTo>
                    <a:pt x="774" y="32"/>
                  </a:lnTo>
                  <a:lnTo>
                    <a:pt x="776" y="34"/>
                  </a:lnTo>
                  <a:lnTo>
                    <a:pt x="780" y="36"/>
                  </a:lnTo>
                  <a:lnTo>
                    <a:pt x="780" y="36"/>
                  </a:lnTo>
                  <a:lnTo>
                    <a:pt x="784" y="34"/>
                  </a:lnTo>
                  <a:lnTo>
                    <a:pt x="786" y="34"/>
                  </a:lnTo>
                  <a:lnTo>
                    <a:pt x="786" y="34"/>
                  </a:lnTo>
                  <a:lnTo>
                    <a:pt x="802" y="34"/>
                  </a:lnTo>
                  <a:lnTo>
                    <a:pt x="802" y="34"/>
                  </a:lnTo>
                  <a:lnTo>
                    <a:pt x="802" y="38"/>
                  </a:lnTo>
                  <a:lnTo>
                    <a:pt x="806" y="40"/>
                  </a:lnTo>
                  <a:lnTo>
                    <a:pt x="806" y="40"/>
                  </a:lnTo>
                  <a:lnTo>
                    <a:pt x="810" y="40"/>
                  </a:lnTo>
                  <a:lnTo>
                    <a:pt x="812" y="38"/>
                  </a:lnTo>
                  <a:lnTo>
                    <a:pt x="812" y="38"/>
                  </a:lnTo>
                  <a:lnTo>
                    <a:pt x="816" y="38"/>
                  </a:lnTo>
                  <a:lnTo>
                    <a:pt x="820" y="40"/>
                  </a:lnTo>
                  <a:lnTo>
                    <a:pt x="826" y="44"/>
                  </a:lnTo>
                  <a:lnTo>
                    <a:pt x="826" y="44"/>
                  </a:lnTo>
                  <a:lnTo>
                    <a:pt x="830" y="44"/>
                  </a:lnTo>
                  <a:lnTo>
                    <a:pt x="830" y="44"/>
                  </a:lnTo>
                  <a:lnTo>
                    <a:pt x="832" y="50"/>
                  </a:lnTo>
                  <a:lnTo>
                    <a:pt x="832" y="52"/>
                  </a:lnTo>
                  <a:lnTo>
                    <a:pt x="830" y="54"/>
                  </a:lnTo>
                  <a:lnTo>
                    <a:pt x="830" y="54"/>
                  </a:lnTo>
                  <a:lnTo>
                    <a:pt x="822" y="60"/>
                  </a:lnTo>
                  <a:lnTo>
                    <a:pt x="822" y="60"/>
                  </a:lnTo>
                  <a:lnTo>
                    <a:pt x="822" y="58"/>
                  </a:lnTo>
                  <a:lnTo>
                    <a:pt x="822" y="60"/>
                  </a:lnTo>
                  <a:lnTo>
                    <a:pt x="822" y="60"/>
                  </a:lnTo>
                  <a:lnTo>
                    <a:pt x="822" y="64"/>
                  </a:lnTo>
                  <a:lnTo>
                    <a:pt x="822" y="66"/>
                  </a:lnTo>
                  <a:lnTo>
                    <a:pt x="822" y="64"/>
                  </a:lnTo>
                  <a:lnTo>
                    <a:pt x="822" y="64"/>
                  </a:lnTo>
                  <a:lnTo>
                    <a:pt x="820" y="68"/>
                  </a:lnTo>
                  <a:lnTo>
                    <a:pt x="820" y="68"/>
                  </a:lnTo>
                  <a:lnTo>
                    <a:pt x="806" y="70"/>
                  </a:lnTo>
                  <a:lnTo>
                    <a:pt x="794" y="70"/>
                  </a:lnTo>
                  <a:lnTo>
                    <a:pt x="794" y="70"/>
                  </a:lnTo>
                  <a:lnTo>
                    <a:pt x="792" y="68"/>
                  </a:lnTo>
                  <a:lnTo>
                    <a:pt x="792" y="68"/>
                  </a:lnTo>
                  <a:lnTo>
                    <a:pt x="792" y="68"/>
                  </a:lnTo>
                  <a:lnTo>
                    <a:pt x="792" y="70"/>
                  </a:lnTo>
                  <a:lnTo>
                    <a:pt x="792" y="70"/>
                  </a:lnTo>
                  <a:lnTo>
                    <a:pt x="790" y="70"/>
                  </a:lnTo>
                  <a:lnTo>
                    <a:pt x="788" y="70"/>
                  </a:lnTo>
                  <a:lnTo>
                    <a:pt x="788" y="70"/>
                  </a:lnTo>
                  <a:lnTo>
                    <a:pt x="784" y="68"/>
                  </a:lnTo>
                  <a:lnTo>
                    <a:pt x="784" y="68"/>
                  </a:lnTo>
                  <a:lnTo>
                    <a:pt x="782" y="64"/>
                  </a:lnTo>
                  <a:lnTo>
                    <a:pt x="782" y="64"/>
                  </a:lnTo>
                  <a:lnTo>
                    <a:pt x="780" y="64"/>
                  </a:lnTo>
                  <a:lnTo>
                    <a:pt x="780" y="64"/>
                  </a:lnTo>
                  <a:lnTo>
                    <a:pt x="780" y="70"/>
                  </a:lnTo>
                  <a:lnTo>
                    <a:pt x="780" y="70"/>
                  </a:lnTo>
                  <a:lnTo>
                    <a:pt x="778" y="70"/>
                  </a:lnTo>
                  <a:lnTo>
                    <a:pt x="778" y="70"/>
                  </a:lnTo>
                  <a:lnTo>
                    <a:pt x="778" y="70"/>
                  </a:lnTo>
                  <a:lnTo>
                    <a:pt x="762" y="72"/>
                  </a:lnTo>
                  <a:lnTo>
                    <a:pt x="762" y="72"/>
                  </a:lnTo>
                  <a:lnTo>
                    <a:pt x="754" y="70"/>
                  </a:lnTo>
                  <a:lnTo>
                    <a:pt x="754" y="70"/>
                  </a:lnTo>
                  <a:lnTo>
                    <a:pt x="750" y="72"/>
                  </a:lnTo>
                  <a:lnTo>
                    <a:pt x="750" y="72"/>
                  </a:lnTo>
                  <a:lnTo>
                    <a:pt x="750" y="70"/>
                  </a:lnTo>
                  <a:lnTo>
                    <a:pt x="748" y="68"/>
                  </a:lnTo>
                  <a:lnTo>
                    <a:pt x="748" y="72"/>
                  </a:lnTo>
                  <a:lnTo>
                    <a:pt x="748" y="72"/>
                  </a:lnTo>
                  <a:lnTo>
                    <a:pt x="736" y="72"/>
                  </a:lnTo>
                  <a:lnTo>
                    <a:pt x="736" y="72"/>
                  </a:lnTo>
                  <a:lnTo>
                    <a:pt x="736" y="70"/>
                  </a:lnTo>
                  <a:lnTo>
                    <a:pt x="736" y="68"/>
                  </a:lnTo>
                  <a:lnTo>
                    <a:pt x="736" y="68"/>
                  </a:lnTo>
                  <a:lnTo>
                    <a:pt x="730" y="68"/>
                  </a:lnTo>
                  <a:lnTo>
                    <a:pt x="730" y="72"/>
                  </a:lnTo>
                  <a:lnTo>
                    <a:pt x="730" y="72"/>
                  </a:lnTo>
                  <a:lnTo>
                    <a:pt x="724" y="72"/>
                  </a:lnTo>
                  <a:lnTo>
                    <a:pt x="722" y="70"/>
                  </a:lnTo>
                  <a:lnTo>
                    <a:pt x="722" y="70"/>
                  </a:lnTo>
                  <a:lnTo>
                    <a:pt x="716" y="74"/>
                  </a:lnTo>
                  <a:lnTo>
                    <a:pt x="716" y="74"/>
                  </a:lnTo>
                  <a:lnTo>
                    <a:pt x="712" y="74"/>
                  </a:lnTo>
                  <a:lnTo>
                    <a:pt x="710" y="72"/>
                  </a:lnTo>
                  <a:lnTo>
                    <a:pt x="710" y="72"/>
                  </a:lnTo>
                  <a:lnTo>
                    <a:pt x="706" y="62"/>
                  </a:lnTo>
                  <a:lnTo>
                    <a:pt x="700" y="66"/>
                  </a:lnTo>
                  <a:lnTo>
                    <a:pt x="700" y="66"/>
                  </a:lnTo>
                  <a:lnTo>
                    <a:pt x="700" y="68"/>
                  </a:lnTo>
                  <a:lnTo>
                    <a:pt x="700" y="70"/>
                  </a:lnTo>
                  <a:lnTo>
                    <a:pt x="700" y="70"/>
                  </a:lnTo>
                  <a:lnTo>
                    <a:pt x="682" y="74"/>
                  </a:lnTo>
                  <a:lnTo>
                    <a:pt x="682" y="74"/>
                  </a:lnTo>
                  <a:close/>
                  <a:moveTo>
                    <a:pt x="348" y="36"/>
                  </a:moveTo>
                  <a:lnTo>
                    <a:pt x="348" y="36"/>
                  </a:lnTo>
                  <a:lnTo>
                    <a:pt x="342" y="38"/>
                  </a:lnTo>
                  <a:lnTo>
                    <a:pt x="342" y="38"/>
                  </a:lnTo>
                  <a:lnTo>
                    <a:pt x="336" y="38"/>
                  </a:lnTo>
                  <a:lnTo>
                    <a:pt x="336" y="38"/>
                  </a:lnTo>
                  <a:lnTo>
                    <a:pt x="336" y="38"/>
                  </a:lnTo>
                  <a:lnTo>
                    <a:pt x="334" y="40"/>
                  </a:lnTo>
                  <a:lnTo>
                    <a:pt x="336" y="44"/>
                  </a:lnTo>
                  <a:lnTo>
                    <a:pt x="336" y="44"/>
                  </a:lnTo>
                  <a:lnTo>
                    <a:pt x="344" y="42"/>
                  </a:lnTo>
                  <a:lnTo>
                    <a:pt x="346" y="44"/>
                  </a:lnTo>
                  <a:lnTo>
                    <a:pt x="344" y="44"/>
                  </a:lnTo>
                  <a:lnTo>
                    <a:pt x="342" y="46"/>
                  </a:lnTo>
                  <a:lnTo>
                    <a:pt x="342" y="46"/>
                  </a:lnTo>
                  <a:lnTo>
                    <a:pt x="334" y="48"/>
                  </a:lnTo>
                  <a:lnTo>
                    <a:pt x="334" y="48"/>
                  </a:lnTo>
                  <a:lnTo>
                    <a:pt x="332" y="50"/>
                  </a:lnTo>
                  <a:lnTo>
                    <a:pt x="332" y="50"/>
                  </a:lnTo>
                  <a:lnTo>
                    <a:pt x="332" y="52"/>
                  </a:lnTo>
                  <a:lnTo>
                    <a:pt x="332" y="52"/>
                  </a:lnTo>
                  <a:lnTo>
                    <a:pt x="336" y="54"/>
                  </a:lnTo>
                  <a:lnTo>
                    <a:pt x="340" y="54"/>
                  </a:lnTo>
                  <a:lnTo>
                    <a:pt x="348" y="52"/>
                  </a:lnTo>
                  <a:lnTo>
                    <a:pt x="348" y="52"/>
                  </a:lnTo>
                  <a:lnTo>
                    <a:pt x="348" y="52"/>
                  </a:lnTo>
                  <a:lnTo>
                    <a:pt x="350" y="52"/>
                  </a:lnTo>
                  <a:lnTo>
                    <a:pt x="350" y="52"/>
                  </a:lnTo>
                  <a:lnTo>
                    <a:pt x="350" y="56"/>
                  </a:lnTo>
                  <a:lnTo>
                    <a:pt x="350" y="56"/>
                  </a:lnTo>
                  <a:lnTo>
                    <a:pt x="352" y="56"/>
                  </a:lnTo>
                  <a:lnTo>
                    <a:pt x="352" y="56"/>
                  </a:lnTo>
                  <a:lnTo>
                    <a:pt x="352" y="50"/>
                  </a:lnTo>
                  <a:lnTo>
                    <a:pt x="352" y="50"/>
                  </a:lnTo>
                  <a:lnTo>
                    <a:pt x="356" y="50"/>
                  </a:lnTo>
                  <a:lnTo>
                    <a:pt x="356" y="50"/>
                  </a:lnTo>
                  <a:lnTo>
                    <a:pt x="356" y="54"/>
                  </a:lnTo>
                  <a:lnTo>
                    <a:pt x="356" y="58"/>
                  </a:lnTo>
                  <a:lnTo>
                    <a:pt x="356" y="58"/>
                  </a:lnTo>
                  <a:lnTo>
                    <a:pt x="360" y="58"/>
                  </a:lnTo>
                  <a:lnTo>
                    <a:pt x="360" y="58"/>
                  </a:lnTo>
                  <a:lnTo>
                    <a:pt x="362" y="54"/>
                  </a:lnTo>
                  <a:lnTo>
                    <a:pt x="364" y="54"/>
                  </a:lnTo>
                  <a:lnTo>
                    <a:pt x="364" y="54"/>
                  </a:lnTo>
                  <a:lnTo>
                    <a:pt x="364" y="52"/>
                  </a:lnTo>
                  <a:lnTo>
                    <a:pt x="364" y="48"/>
                  </a:lnTo>
                  <a:lnTo>
                    <a:pt x="364" y="46"/>
                  </a:lnTo>
                  <a:lnTo>
                    <a:pt x="366" y="46"/>
                  </a:lnTo>
                  <a:lnTo>
                    <a:pt x="366" y="46"/>
                  </a:lnTo>
                  <a:lnTo>
                    <a:pt x="364" y="44"/>
                  </a:lnTo>
                  <a:lnTo>
                    <a:pt x="364" y="42"/>
                  </a:lnTo>
                  <a:lnTo>
                    <a:pt x="364" y="42"/>
                  </a:lnTo>
                  <a:lnTo>
                    <a:pt x="364" y="38"/>
                  </a:lnTo>
                  <a:lnTo>
                    <a:pt x="364" y="38"/>
                  </a:lnTo>
                  <a:lnTo>
                    <a:pt x="368" y="38"/>
                  </a:lnTo>
                  <a:lnTo>
                    <a:pt x="368" y="38"/>
                  </a:lnTo>
                  <a:lnTo>
                    <a:pt x="368" y="52"/>
                  </a:lnTo>
                  <a:lnTo>
                    <a:pt x="368" y="52"/>
                  </a:lnTo>
                  <a:lnTo>
                    <a:pt x="378" y="52"/>
                  </a:lnTo>
                  <a:lnTo>
                    <a:pt x="382" y="52"/>
                  </a:lnTo>
                  <a:lnTo>
                    <a:pt x="388" y="50"/>
                  </a:lnTo>
                  <a:lnTo>
                    <a:pt x="388" y="50"/>
                  </a:lnTo>
                  <a:lnTo>
                    <a:pt x="390" y="46"/>
                  </a:lnTo>
                  <a:lnTo>
                    <a:pt x="390" y="46"/>
                  </a:lnTo>
                  <a:lnTo>
                    <a:pt x="394" y="46"/>
                  </a:lnTo>
                  <a:lnTo>
                    <a:pt x="394" y="46"/>
                  </a:lnTo>
                  <a:lnTo>
                    <a:pt x="396" y="50"/>
                  </a:lnTo>
                  <a:lnTo>
                    <a:pt x="396" y="50"/>
                  </a:lnTo>
                  <a:lnTo>
                    <a:pt x="400" y="50"/>
                  </a:lnTo>
                  <a:lnTo>
                    <a:pt x="400" y="48"/>
                  </a:lnTo>
                  <a:lnTo>
                    <a:pt x="400" y="48"/>
                  </a:lnTo>
                  <a:lnTo>
                    <a:pt x="406" y="50"/>
                  </a:lnTo>
                  <a:lnTo>
                    <a:pt x="412" y="48"/>
                  </a:lnTo>
                  <a:lnTo>
                    <a:pt x="412" y="48"/>
                  </a:lnTo>
                  <a:lnTo>
                    <a:pt x="412" y="44"/>
                  </a:lnTo>
                  <a:lnTo>
                    <a:pt x="412" y="44"/>
                  </a:lnTo>
                  <a:lnTo>
                    <a:pt x="414" y="44"/>
                  </a:lnTo>
                  <a:lnTo>
                    <a:pt x="414" y="44"/>
                  </a:lnTo>
                  <a:lnTo>
                    <a:pt x="414" y="48"/>
                  </a:lnTo>
                  <a:lnTo>
                    <a:pt x="414" y="48"/>
                  </a:lnTo>
                  <a:lnTo>
                    <a:pt x="410" y="52"/>
                  </a:lnTo>
                  <a:lnTo>
                    <a:pt x="406" y="56"/>
                  </a:lnTo>
                  <a:lnTo>
                    <a:pt x="406" y="56"/>
                  </a:lnTo>
                  <a:lnTo>
                    <a:pt x="402" y="58"/>
                  </a:lnTo>
                  <a:lnTo>
                    <a:pt x="398" y="58"/>
                  </a:lnTo>
                  <a:lnTo>
                    <a:pt x="388" y="58"/>
                  </a:lnTo>
                  <a:lnTo>
                    <a:pt x="388" y="58"/>
                  </a:lnTo>
                  <a:lnTo>
                    <a:pt x="382" y="60"/>
                  </a:lnTo>
                  <a:lnTo>
                    <a:pt x="382" y="60"/>
                  </a:lnTo>
                  <a:lnTo>
                    <a:pt x="380" y="64"/>
                  </a:lnTo>
                  <a:lnTo>
                    <a:pt x="380" y="64"/>
                  </a:lnTo>
                  <a:lnTo>
                    <a:pt x="376" y="64"/>
                  </a:lnTo>
                  <a:lnTo>
                    <a:pt x="376" y="64"/>
                  </a:lnTo>
                  <a:lnTo>
                    <a:pt x="372" y="64"/>
                  </a:lnTo>
                  <a:lnTo>
                    <a:pt x="370" y="68"/>
                  </a:lnTo>
                  <a:lnTo>
                    <a:pt x="370" y="70"/>
                  </a:lnTo>
                  <a:lnTo>
                    <a:pt x="372" y="74"/>
                  </a:lnTo>
                  <a:lnTo>
                    <a:pt x="372" y="74"/>
                  </a:lnTo>
                  <a:lnTo>
                    <a:pt x="376" y="76"/>
                  </a:lnTo>
                  <a:lnTo>
                    <a:pt x="376" y="76"/>
                  </a:lnTo>
                  <a:lnTo>
                    <a:pt x="386" y="76"/>
                  </a:lnTo>
                  <a:lnTo>
                    <a:pt x="392" y="74"/>
                  </a:lnTo>
                  <a:lnTo>
                    <a:pt x="392" y="74"/>
                  </a:lnTo>
                  <a:lnTo>
                    <a:pt x="396" y="70"/>
                  </a:lnTo>
                  <a:lnTo>
                    <a:pt x="396" y="70"/>
                  </a:lnTo>
                  <a:lnTo>
                    <a:pt x="400" y="70"/>
                  </a:lnTo>
                  <a:lnTo>
                    <a:pt x="404" y="68"/>
                  </a:lnTo>
                  <a:lnTo>
                    <a:pt x="404" y="68"/>
                  </a:lnTo>
                  <a:lnTo>
                    <a:pt x="406" y="64"/>
                  </a:lnTo>
                  <a:lnTo>
                    <a:pt x="410" y="60"/>
                  </a:lnTo>
                  <a:lnTo>
                    <a:pt x="410" y="60"/>
                  </a:lnTo>
                  <a:lnTo>
                    <a:pt x="414" y="60"/>
                  </a:lnTo>
                  <a:lnTo>
                    <a:pt x="418" y="62"/>
                  </a:lnTo>
                  <a:lnTo>
                    <a:pt x="418" y="62"/>
                  </a:lnTo>
                  <a:lnTo>
                    <a:pt x="422" y="58"/>
                  </a:lnTo>
                  <a:lnTo>
                    <a:pt x="422" y="58"/>
                  </a:lnTo>
                  <a:lnTo>
                    <a:pt x="428" y="58"/>
                  </a:lnTo>
                  <a:lnTo>
                    <a:pt x="434" y="56"/>
                  </a:lnTo>
                  <a:lnTo>
                    <a:pt x="434" y="56"/>
                  </a:lnTo>
                  <a:lnTo>
                    <a:pt x="436" y="54"/>
                  </a:lnTo>
                  <a:lnTo>
                    <a:pt x="436" y="54"/>
                  </a:lnTo>
                  <a:lnTo>
                    <a:pt x="440" y="54"/>
                  </a:lnTo>
                  <a:lnTo>
                    <a:pt x="440" y="54"/>
                  </a:lnTo>
                  <a:lnTo>
                    <a:pt x="440" y="56"/>
                  </a:lnTo>
                  <a:lnTo>
                    <a:pt x="440" y="58"/>
                  </a:lnTo>
                  <a:lnTo>
                    <a:pt x="442" y="60"/>
                  </a:lnTo>
                  <a:lnTo>
                    <a:pt x="448" y="60"/>
                  </a:lnTo>
                  <a:lnTo>
                    <a:pt x="448" y="60"/>
                  </a:lnTo>
                  <a:lnTo>
                    <a:pt x="452" y="56"/>
                  </a:lnTo>
                  <a:lnTo>
                    <a:pt x="454" y="52"/>
                  </a:lnTo>
                  <a:lnTo>
                    <a:pt x="454" y="52"/>
                  </a:lnTo>
                  <a:lnTo>
                    <a:pt x="456" y="54"/>
                  </a:lnTo>
                  <a:lnTo>
                    <a:pt x="458" y="54"/>
                  </a:lnTo>
                  <a:lnTo>
                    <a:pt x="458" y="54"/>
                  </a:lnTo>
                  <a:lnTo>
                    <a:pt x="468" y="54"/>
                  </a:lnTo>
                  <a:lnTo>
                    <a:pt x="470" y="54"/>
                  </a:lnTo>
                  <a:lnTo>
                    <a:pt x="474" y="54"/>
                  </a:lnTo>
                  <a:lnTo>
                    <a:pt x="474" y="54"/>
                  </a:lnTo>
                  <a:lnTo>
                    <a:pt x="474" y="54"/>
                  </a:lnTo>
                  <a:lnTo>
                    <a:pt x="478" y="50"/>
                  </a:lnTo>
                  <a:lnTo>
                    <a:pt x="478" y="50"/>
                  </a:lnTo>
                  <a:lnTo>
                    <a:pt x="480" y="50"/>
                  </a:lnTo>
                  <a:lnTo>
                    <a:pt x="480" y="50"/>
                  </a:lnTo>
                  <a:lnTo>
                    <a:pt x="478" y="36"/>
                  </a:lnTo>
                  <a:lnTo>
                    <a:pt x="478" y="30"/>
                  </a:lnTo>
                  <a:lnTo>
                    <a:pt x="476" y="26"/>
                  </a:lnTo>
                  <a:lnTo>
                    <a:pt x="476" y="26"/>
                  </a:lnTo>
                  <a:lnTo>
                    <a:pt x="470" y="22"/>
                  </a:lnTo>
                  <a:lnTo>
                    <a:pt x="470" y="22"/>
                  </a:lnTo>
                  <a:lnTo>
                    <a:pt x="470" y="20"/>
                  </a:lnTo>
                  <a:lnTo>
                    <a:pt x="468" y="22"/>
                  </a:lnTo>
                  <a:lnTo>
                    <a:pt x="468" y="22"/>
                  </a:lnTo>
                  <a:lnTo>
                    <a:pt x="468" y="22"/>
                  </a:lnTo>
                  <a:lnTo>
                    <a:pt x="468" y="28"/>
                  </a:lnTo>
                  <a:lnTo>
                    <a:pt x="470" y="30"/>
                  </a:lnTo>
                  <a:lnTo>
                    <a:pt x="470" y="30"/>
                  </a:lnTo>
                  <a:lnTo>
                    <a:pt x="468" y="32"/>
                  </a:lnTo>
                  <a:lnTo>
                    <a:pt x="466" y="34"/>
                  </a:lnTo>
                  <a:lnTo>
                    <a:pt x="466" y="34"/>
                  </a:lnTo>
                  <a:lnTo>
                    <a:pt x="466" y="38"/>
                  </a:lnTo>
                  <a:lnTo>
                    <a:pt x="466" y="38"/>
                  </a:lnTo>
                  <a:lnTo>
                    <a:pt x="464" y="40"/>
                  </a:lnTo>
                  <a:lnTo>
                    <a:pt x="464" y="40"/>
                  </a:lnTo>
                  <a:lnTo>
                    <a:pt x="462" y="30"/>
                  </a:lnTo>
                  <a:lnTo>
                    <a:pt x="462" y="30"/>
                  </a:lnTo>
                  <a:lnTo>
                    <a:pt x="456" y="32"/>
                  </a:lnTo>
                  <a:lnTo>
                    <a:pt x="456" y="32"/>
                  </a:lnTo>
                  <a:lnTo>
                    <a:pt x="456" y="36"/>
                  </a:lnTo>
                  <a:lnTo>
                    <a:pt x="456" y="36"/>
                  </a:lnTo>
                  <a:lnTo>
                    <a:pt x="454" y="36"/>
                  </a:lnTo>
                  <a:lnTo>
                    <a:pt x="454" y="34"/>
                  </a:lnTo>
                  <a:lnTo>
                    <a:pt x="456" y="32"/>
                  </a:lnTo>
                  <a:lnTo>
                    <a:pt x="456" y="32"/>
                  </a:lnTo>
                  <a:lnTo>
                    <a:pt x="456" y="28"/>
                  </a:lnTo>
                  <a:lnTo>
                    <a:pt x="456" y="22"/>
                  </a:lnTo>
                  <a:lnTo>
                    <a:pt x="456" y="20"/>
                  </a:lnTo>
                  <a:lnTo>
                    <a:pt x="456" y="20"/>
                  </a:lnTo>
                  <a:lnTo>
                    <a:pt x="452" y="20"/>
                  </a:lnTo>
                  <a:lnTo>
                    <a:pt x="452" y="20"/>
                  </a:lnTo>
                  <a:lnTo>
                    <a:pt x="450" y="22"/>
                  </a:lnTo>
                  <a:lnTo>
                    <a:pt x="450" y="22"/>
                  </a:lnTo>
                  <a:lnTo>
                    <a:pt x="446" y="24"/>
                  </a:lnTo>
                  <a:lnTo>
                    <a:pt x="446" y="24"/>
                  </a:lnTo>
                  <a:lnTo>
                    <a:pt x="440" y="16"/>
                  </a:lnTo>
                  <a:lnTo>
                    <a:pt x="440" y="16"/>
                  </a:lnTo>
                  <a:lnTo>
                    <a:pt x="436" y="16"/>
                  </a:lnTo>
                  <a:lnTo>
                    <a:pt x="434" y="14"/>
                  </a:lnTo>
                  <a:lnTo>
                    <a:pt x="434" y="14"/>
                  </a:lnTo>
                  <a:lnTo>
                    <a:pt x="434" y="10"/>
                  </a:lnTo>
                  <a:lnTo>
                    <a:pt x="432" y="6"/>
                  </a:lnTo>
                  <a:lnTo>
                    <a:pt x="432" y="2"/>
                  </a:lnTo>
                  <a:lnTo>
                    <a:pt x="428" y="0"/>
                  </a:lnTo>
                  <a:lnTo>
                    <a:pt x="428" y="4"/>
                  </a:lnTo>
                  <a:lnTo>
                    <a:pt x="426" y="4"/>
                  </a:lnTo>
                  <a:lnTo>
                    <a:pt x="426" y="4"/>
                  </a:lnTo>
                  <a:lnTo>
                    <a:pt x="422" y="2"/>
                  </a:lnTo>
                  <a:lnTo>
                    <a:pt x="422" y="2"/>
                  </a:lnTo>
                  <a:lnTo>
                    <a:pt x="426" y="12"/>
                  </a:lnTo>
                  <a:lnTo>
                    <a:pt x="426" y="12"/>
                  </a:lnTo>
                  <a:lnTo>
                    <a:pt x="424" y="12"/>
                  </a:lnTo>
                  <a:lnTo>
                    <a:pt x="422" y="14"/>
                  </a:lnTo>
                  <a:lnTo>
                    <a:pt x="422" y="14"/>
                  </a:lnTo>
                  <a:lnTo>
                    <a:pt x="424" y="14"/>
                  </a:lnTo>
                  <a:lnTo>
                    <a:pt x="424" y="18"/>
                  </a:lnTo>
                  <a:lnTo>
                    <a:pt x="422" y="24"/>
                  </a:lnTo>
                  <a:lnTo>
                    <a:pt x="422" y="24"/>
                  </a:lnTo>
                  <a:lnTo>
                    <a:pt x="432" y="28"/>
                  </a:lnTo>
                  <a:lnTo>
                    <a:pt x="432" y="28"/>
                  </a:lnTo>
                  <a:lnTo>
                    <a:pt x="428" y="36"/>
                  </a:lnTo>
                  <a:lnTo>
                    <a:pt x="428" y="36"/>
                  </a:lnTo>
                  <a:lnTo>
                    <a:pt x="434" y="36"/>
                  </a:lnTo>
                  <a:lnTo>
                    <a:pt x="434" y="36"/>
                  </a:lnTo>
                  <a:lnTo>
                    <a:pt x="436" y="38"/>
                  </a:lnTo>
                  <a:lnTo>
                    <a:pt x="436" y="38"/>
                  </a:lnTo>
                  <a:lnTo>
                    <a:pt x="436" y="42"/>
                  </a:lnTo>
                  <a:lnTo>
                    <a:pt x="436" y="42"/>
                  </a:lnTo>
                  <a:lnTo>
                    <a:pt x="416" y="40"/>
                  </a:lnTo>
                  <a:lnTo>
                    <a:pt x="416" y="40"/>
                  </a:lnTo>
                  <a:lnTo>
                    <a:pt x="410" y="40"/>
                  </a:lnTo>
                  <a:lnTo>
                    <a:pt x="404" y="40"/>
                  </a:lnTo>
                  <a:lnTo>
                    <a:pt x="404" y="40"/>
                  </a:lnTo>
                  <a:lnTo>
                    <a:pt x="404" y="36"/>
                  </a:lnTo>
                  <a:lnTo>
                    <a:pt x="404" y="36"/>
                  </a:lnTo>
                  <a:lnTo>
                    <a:pt x="398" y="36"/>
                  </a:lnTo>
                  <a:lnTo>
                    <a:pt x="398" y="36"/>
                  </a:lnTo>
                  <a:lnTo>
                    <a:pt x="394" y="32"/>
                  </a:lnTo>
                  <a:lnTo>
                    <a:pt x="394" y="32"/>
                  </a:lnTo>
                  <a:lnTo>
                    <a:pt x="394" y="32"/>
                  </a:lnTo>
                  <a:lnTo>
                    <a:pt x="390" y="30"/>
                  </a:lnTo>
                  <a:lnTo>
                    <a:pt x="384" y="30"/>
                  </a:lnTo>
                  <a:lnTo>
                    <a:pt x="384" y="30"/>
                  </a:lnTo>
                  <a:lnTo>
                    <a:pt x="380" y="28"/>
                  </a:lnTo>
                  <a:lnTo>
                    <a:pt x="378" y="26"/>
                  </a:lnTo>
                  <a:lnTo>
                    <a:pt x="378" y="26"/>
                  </a:lnTo>
                  <a:lnTo>
                    <a:pt x="370" y="24"/>
                  </a:lnTo>
                  <a:lnTo>
                    <a:pt x="364" y="26"/>
                  </a:lnTo>
                  <a:lnTo>
                    <a:pt x="364" y="26"/>
                  </a:lnTo>
                  <a:lnTo>
                    <a:pt x="360" y="22"/>
                  </a:lnTo>
                  <a:lnTo>
                    <a:pt x="360" y="22"/>
                  </a:lnTo>
                  <a:lnTo>
                    <a:pt x="352" y="22"/>
                  </a:lnTo>
                  <a:lnTo>
                    <a:pt x="352" y="26"/>
                  </a:lnTo>
                  <a:lnTo>
                    <a:pt x="352" y="26"/>
                  </a:lnTo>
                  <a:lnTo>
                    <a:pt x="342" y="24"/>
                  </a:lnTo>
                  <a:lnTo>
                    <a:pt x="342" y="24"/>
                  </a:lnTo>
                  <a:lnTo>
                    <a:pt x="342" y="32"/>
                  </a:lnTo>
                  <a:lnTo>
                    <a:pt x="344" y="34"/>
                  </a:lnTo>
                  <a:lnTo>
                    <a:pt x="348" y="36"/>
                  </a:lnTo>
                  <a:lnTo>
                    <a:pt x="348" y="36"/>
                  </a:lnTo>
                  <a:close/>
                  <a:moveTo>
                    <a:pt x="798" y="334"/>
                  </a:moveTo>
                  <a:lnTo>
                    <a:pt x="798" y="334"/>
                  </a:lnTo>
                  <a:lnTo>
                    <a:pt x="792" y="334"/>
                  </a:lnTo>
                  <a:lnTo>
                    <a:pt x="792" y="334"/>
                  </a:lnTo>
                  <a:lnTo>
                    <a:pt x="790" y="338"/>
                  </a:lnTo>
                  <a:lnTo>
                    <a:pt x="790" y="338"/>
                  </a:lnTo>
                  <a:lnTo>
                    <a:pt x="788" y="332"/>
                  </a:lnTo>
                  <a:lnTo>
                    <a:pt x="786" y="324"/>
                  </a:lnTo>
                  <a:lnTo>
                    <a:pt x="784" y="324"/>
                  </a:lnTo>
                  <a:lnTo>
                    <a:pt x="784" y="322"/>
                  </a:lnTo>
                  <a:lnTo>
                    <a:pt x="776" y="316"/>
                  </a:lnTo>
                  <a:lnTo>
                    <a:pt x="776" y="314"/>
                  </a:lnTo>
                  <a:lnTo>
                    <a:pt x="774" y="314"/>
                  </a:lnTo>
                  <a:lnTo>
                    <a:pt x="774" y="314"/>
                  </a:lnTo>
                  <a:lnTo>
                    <a:pt x="774" y="312"/>
                  </a:lnTo>
                  <a:lnTo>
                    <a:pt x="772" y="310"/>
                  </a:lnTo>
                  <a:lnTo>
                    <a:pt x="772" y="310"/>
                  </a:lnTo>
                  <a:lnTo>
                    <a:pt x="768" y="310"/>
                  </a:lnTo>
                  <a:lnTo>
                    <a:pt x="762" y="310"/>
                  </a:lnTo>
                  <a:lnTo>
                    <a:pt x="762" y="308"/>
                  </a:lnTo>
                  <a:lnTo>
                    <a:pt x="762" y="308"/>
                  </a:lnTo>
                  <a:lnTo>
                    <a:pt x="760" y="308"/>
                  </a:lnTo>
                  <a:lnTo>
                    <a:pt x="758" y="308"/>
                  </a:lnTo>
                  <a:lnTo>
                    <a:pt x="758" y="312"/>
                  </a:lnTo>
                  <a:lnTo>
                    <a:pt x="758" y="312"/>
                  </a:lnTo>
                  <a:lnTo>
                    <a:pt x="756" y="310"/>
                  </a:lnTo>
                  <a:lnTo>
                    <a:pt x="754" y="310"/>
                  </a:lnTo>
                  <a:lnTo>
                    <a:pt x="752" y="306"/>
                  </a:lnTo>
                  <a:lnTo>
                    <a:pt x="752" y="306"/>
                  </a:lnTo>
                  <a:lnTo>
                    <a:pt x="756" y="302"/>
                  </a:lnTo>
                  <a:lnTo>
                    <a:pt x="756" y="302"/>
                  </a:lnTo>
                  <a:lnTo>
                    <a:pt x="754" y="300"/>
                  </a:lnTo>
                  <a:lnTo>
                    <a:pt x="750" y="300"/>
                  </a:lnTo>
                  <a:lnTo>
                    <a:pt x="750" y="300"/>
                  </a:lnTo>
                  <a:lnTo>
                    <a:pt x="748" y="314"/>
                  </a:lnTo>
                  <a:lnTo>
                    <a:pt x="750" y="330"/>
                  </a:lnTo>
                  <a:lnTo>
                    <a:pt x="750" y="330"/>
                  </a:lnTo>
                  <a:lnTo>
                    <a:pt x="736" y="340"/>
                  </a:lnTo>
                  <a:lnTo>
                    <a:pt x="736" y="340"/>
                  </a:lnTo>
                  <a:lnTo>
                    <a:pt x="736" y="342"/>
                  </a:lnTo>
                  <a:lnTo>
                    <a:pt x="736" y="344"/>
                  </a:lnTo>
                  <a:lnTo>
                    <a:pt x="736" y="346"/>
                  </a:lnTo>
                  <a:lnTo>
                    <a:pt x="736" y="346"/>
                  </a:lnTo>
                  <a:lnTo>
                    <a:pt x="740" y="348"/>
                  </a:lnTo>
                  <a:lnTo>
                    <a:pt x="742" y="346"/>
                  </a:lnTo>
                  <a:lnTo>
                    <a:pt x="748" y="344"/>
                  </a:lnTo>
                  <a:lnTo>
                    <a:pt x="748" y="344"/>
                  </a:lnTo>
                  <a:lnTo>
                    <a:pt x="750" y="346"/>
                  </a:lnTo>
                  <a:lnTo>
                    <a:pt x="748" y="346"/>
                  </a:lnTo>
                  <a:lnTo>
                    <a:pt x="748" y="346"/>
                  </a:lnTo>
                  <a:lnTo>
                    <a:pt x="750" y="354"/>
                  </a:lnTo>
                  <a:lnTo>
                    <a:pt x="750" y="354"/>
                  </a:lnTo>
                  <a:lnTo>
                    <a:pt x="756" y="354"/>
                  </a:lnTo>
                  <a:lnTo>
                    <a:pt x="762" y="352"/>
                  </a:lnTo>
                  <a:lnTo>
                    <a:pt x="762" y="352"/>
                  </a:lnTo>
                  <a:lnTo>
                    <a:pt x="762" y="350"/>
                  </a:lnTo>
                  <a:lnTo>
                    <a:pt x="762" y="350"/>
                  </a:lnTo>
                  <a:lnTo>
                    <a:pt x="764" y="346"/>
                  </a:lnTo>
                  <a:lnTo>
                    <a:pt x="764" y="346"/>
                  </a:lnTo>
                  <a:lnTo>
                    <a:pt x="764" y="340"/>
                  </a:lnTo>
                  <a:lnTo>
                    <a:pt x="764" y="334"/>
                  </a:lnTo>
                  <a:lnTo>
                    <a:pt x="764" y="334"/>
                  </a:lnTo>
                  <a:lnTo>
                    <a:pt x="770" y="328"/>
                  </a:lnTo>
                  <a:lnTo>
                    <a:pt x="770" y="328"/>
                  </a:lnTo>
                  <a:lnTo>
                    <a:pt x="774" y="328"/>
                  </a:lnTo>
                  <a:lnTo>
                    <a:pt x="774" y="328"/>
                  </a:lnTo>
                  <a:lnTo>
                    <a:pt x="774" y="328"/>
                  </a:lnTo>
                  <a:lnTo>
                    <a:pt x="774" y="326"/>
                  </a:lnTo>
                  <a:lnTo>
                    <a:pt x="778" y="326"/>
                  </a:lnTo>
                  <a:lnTo>
                    <a:pt x="778" y="326"/>
                  </a:lnTo>
                  <a:lnTo>
                    <a:pt x="780" y="332"/>
                  </a:lnTo>
                  <a:lnTo>
                    <a:pt x="780" y="332"/>
                  </a:lnTo>
                  <a:lnTo>
                    <a:pt x="780" y="336"/>
                  </a:lnTo>
                  <a:lnTo>
                    <a:pt x="780" y="336"/>
                  </a:lnTo>
                  <a:lnTo>
                    <a:pt x="776" y="338"/>
                  </a:lnTo>
                  <a:lnTo>
                    <a:pt x="776" y="338"/>
                  </a:lnTo>
                  <a:lnTo>
                    <a:pt x="776" y="340"/>
                  </a:lnTo>
                  <a:lnTo>
                    <a:pt x="776" y="340"/>
                  </a:lnTo>
                  <a:lnTo>
                    <a:pt x="780" y="340"/>
                  </a:lnTo>
                  <a:lnTo>
                    <a:pt x="780" y="340"/>
                  </a:lnTo>
                  <a:lnTo>
                    <a:pt x="782" y="344"/>
                  </a:lnTo>
                  <a:lnTo>
                    <a:pt x="782" y="344"/>
                  </a:lnTo>
                  <a:lnTo>
                    <a:pt x="790" y="344"/>
                  </a:lnTo>
                  <a:lnTo>
                    <a:pt x="798" y="348"/>
                  </a:lnTo>
                  <a:lnTo>
                    <a:pt x="798" y="348"/>
                  </a:lnTo>
                  <a:lnTo>
                    <a:pt x="802" y="344"/>
                  </a:lnTo>
                  <a:lnTo>
                    <a:pt x="802" y="344"/>
                  </a:lnTo>
                  <a:lnTo>
                    <a:pt x="802" y="338"/>
                  </a:lnTo>
                  <a:lnTo>
                    <a:pt x="802" y="338"/>
                  </a:lnTo>
                  <a:lnTo>
                    <a:pt x="804" y="338"/>
                  </a:lnTo>
                  <a:lnTo>
                    <a:pt x="804" y="338"/>
                  </a:lnTo>
                  <a:lnTo>
                    <a:pt x="804" y="334"/>
                  </a:lnTo>
                  <a:lnTo>
                    <a:pt x="804" y="334"/>
                  </a:lnTo>
                  <a:lnTo>
                    <a:pt x="798" y="334"/>
                  </a:lnTo>
                  <a:lnTo>
                    <a:pt x="798" y="334"/>
                  </a:lnTo>
                  <a:close/>
                  <a:moveTo>
                    <a:pt x="1082" y="270"/>
                  </a:moveTo>
                  <a:lnTo>
                    <a:pt x="1082" y="270"/>
                  </a:lnTo>
                  <a:lnTo>
                    <a:pt x="1080" y="270"/>
                  </a:lnTo>
                  <a:lnTo>
                    <a:pt x="1080" y="268"/>
                  </a:lnTo>
                  <a:lnTo>
                    <a:pt x="1080" y="268"/>
                  </a:lnTo>
                  <a:lnTo>
                    <a:pt x="1080" y="268"/>
                  </a:lnTo>
                  <a:lnTo>
                    <a:pt x="1076" y="268"/>
                  </a:lnTo>
                  <a:lnTo>
                    <a:pt x="1076" y="268"/>
                  </a:lnTo>
                  <a:lnTo>
                    <a:pt x="1078" y="270"/>
                  </a:lnTo>
                  <a:lnTo>
                    <a:pt x="1078" y="270"/>
                  </a:lnTo>
                  <a:lnTo>
                    <a:pt x="1078" y="272"/>
                  </a:lnTo>
                  <a:lnTo>
                    <a:pt x="1078" y="274"/>
                  </a:lnTo>
                  <a:lnTo>
                    <a:pt x="1078" y="274"/>
                  </a:lnTo>
                  <a:lnTo>
                    <a:pt x="1078" y="276"/>
                  </a:lnTo>
                  <a:lnTo>
                    <a:pt x="1078" y="276"/>
                  </a:lnTo>
                  <a:lnTo>
                    <a:pt x="1078" y="276"/>
                  </a:lnTo>
                  <a:lnTo>
                    <a:pt x="1078" y="278"/>
                  </a:lnTo>
                  <a:lnTo>
                    <a:pt x="1078" y="276"/>
                  </a:lnTo>
                  <a:lnTo>
                    <a:pt x="1078" y="276"/>
                  </a:lnTo>
                  <a:lnTo>
                    <a:pt x="1076" y="276"/>
                  </a:lnTo>
                  <a:lnTo>
                    <a:pt x="1072" y="276"/>
                  </a:lnTo>
                  <a:lnTo>
                    <a:pt x="1072" y="272"/>
                  </a:lnTo>
                  <a:lnTo>
                    <a:pt x="1072" y="272"/>
                  </a:lnTo>
                  <a:lnTo>
                    <a:pt x="1068" y="272"/>
                  </a:lnTo>
                  <a:lnTo>
                    <a:pt x="1068" y="272"/>
                  </a:lnTo>
                  <a:lnTo>
                    <a:pt x="1066" y="276"/>
                  </a:lnTo>
                  <a:lnTo>
                    <a:pt x="1066" y="276"/>
                  </a:lnTo>
                  <a:lnTo>
                    <a:pt x="1068" y="276"/>
                  </a:lnTo>
                  <a:lnTo>
                    <a:pt x="1068" y="276"/>
                  </a:lnTo>
                  <a:lnTo>
                    <a:pt x="1068" y="280"/>
                  </a:lnTo>
                  <a:lnTo>
                    <a:pt x="1068" y="280"/>
                  </a:lnTo>
                  <a:lnTo>
                    <a:pt x="1062" y="280"/>
                  </a:lnTo>
                  <a:lnTo>
                    <a:pt x="1062" y="280"/>
                  </a:lnTo>
                  <a:lnTo>
                    <a:pt x="1062" y="284"/>
                  </a:lnTo>
                  <a:lnTo>
                    <a:pt x="1062" y="284"/>
                  </a:lnTo>
                  <a:lnTo>
                    <a:pt x="1064" y="286"/>
                  </a:lnTo>
                  <a:lnTo>
                    <a:pt x="1064" y="288"/>
                  </a:lnTo>
                  <a:lnTo>
                    <a:pt x="1064" y="288"/>
                  </a:lnTo>
                  <a:lnTo>
                    <a:pt x="1060" y="288"/>
                  </a:lnTo>
                  <a:lnTo>
                    <a:pt x="1060" y="288"/>
                  </a:lnTo>
                  <a:lnTo>
                    <a:pt x="1060" y="288"/>
                  </a:lnTo>
                  <a:lnTo>
                    <a:pt x="1060" y="290"/>
                  </a:lnTo>
                  <a:lnTo>
                    <a:pt x="1060" y="290"/>
                  </a:lnTo>
                  <a:lnTo>
                    <a:pt x="1062" y="292"/>
                  </a:lnTo>
                  <a:lnTo>
                    <a:pt x="1064" y="292"/>
                  </a:lnTo>
                  <a:lnTo>
                    <a:pt x="1064" y="292"/>
                  </a:lnTo>
                  <a:lnTo>
                    <a:pt x="1064" y="294"/>
                  </a:lnTo>
                  <a:lnTo>
                    <a:pt x="1064" y="294"/>
                  </a:lnTo>
                  <a:lnTo>
                    <a:pt x="1058" y="294"/>
                  </a:lnTo>
                  <a:lnTo>
                    <a:pt x="1058" y="294"/>
                  </a:lnTo>
                  <a:lnTo>
                    <a:pt x="1058" y="294"/>
                  </a:lnTo>
                  <a:lnTo>
                    <a:pt x="1058" y="296"/>
                  </a:lnTo>
                  <a:lnTo>
                    <a:pt x="1054" y="296"/>
                  </a:lnTo>
                  <a:lnTo>
                    <a:pt x="1054" y="296"/>
                  </a:lnTo>
                  <a:lnTo>
                    <a:pt x="1054" y="294"/>
                  </a:lnTo>
                  <a:lnTo>
                    <a:pt x="1052" y="292"/>
                  </a:lnTo>
                  <a:lnTo>
                    <a:pt x="1052" y="292"/>
                  </a:lnTo>
                  <a:lnTo>
                    <a:pt x="1052" y="292"/>
                  </a:lnTo>
                  <a:lnTo>
                    <a:pt x="1052" y="294"/>
                  </a:lnTo>
                  <a:lnTo>
                    <a:pt x="1050" y="296"/>
                  </a:lnTo>
                  <a:lnTo>
                    <a:pt x="1050" y="296"/>
                  </a:lnTo>
                  <a:lnTo>
                    <a:pt x="1054" y="298"/>
                  </a:lnTo>
                  <a:lnTo>
                    <a:pt x="1054" y="298"/>
                  </a:lnTo>
                  <a:lnTo>
                    <a:pt x="1054" y="302"/>
                  </a:lnTo>
                  <a:lnTo>
                    <a:pt x="1054" y="302"/>
                  </a:lnTo>
                  <a:lnTo>
                    <a:pt x="1056" y="306"/>
                  </a:lnTo>
                  <a:lnTo>
                    <a:pt x="1056" y="308"/>
                  </a:lnTo>
                  <a:lnTo>
                    <a:pt x="1054" y="310"/>
                  </a:lnTo>
                  <a:lnTo>
                    <a:pt x="1054" y="310"/>
                  </a:lnTo>
                  <a:lnTo>
                    <a:pt x="1052" y="310"/>
                  </a:lnTo>
                  <a:lnTo>
                    <a:pt x="1052" y="310"/>
                  </a:lnTo>
                  <a:lnTo>
                    <a:pt x="1048" y="312"/>
                  </a:lnTo>
                  <a:lnTo>
                    <a:pt x="1048" y="310"/>
                  </a:lnTo>
                  <a:lnTo>
                    <a:pt x="1048" y="310"/>
                  </a:lnTo>
                  <a:lnTo>
                    <a:pt x="1046" y="310"/>
                  </a:lnTo>
                  <a:lnTo>
                    <a:pt x="1044" y="310"/>
                  </a:lnTo>
                  <a:lnTo>
                    <a:pt x="1044" y="310"/>
                  </a:lnTo>
                  <a:lnTo>
                    <a:pt x="1042" y="308"/>
                  </a:lnTo>
                  <a:lnTo>
                    <a:pt x="1042" y="308"/>
                  </a:lnTo>
                  <a:lnTo>
                    <a:pt x="1042" y="304"/>
                  </a:lnTo>
                  <a:lnTo>
                    <a:pt x="1042" y="304"/>
                  </a:lnTo>
                  <a:lnTo>
                    <a:pt x="1038" y="308"/>
                  </a:lnTo>
                  <a:lnTo>
                    <a:pt x="1038" y="308"/>
                  </a:lnTo>
                  <a:lnTo>
                    <a:pt x="1036" y="306"/>
                  </a:lnTo>
                  <a:lnTo>
                    <a:pt x="1038" y="304"/>
                  </a:lnTo>
                  <a:lnTo>
                    <a:pt x="1038" y="304"/>
                  </a:lnTo>
                  <a:lnTo>
                    <a:pt x="1040" y="300"/>
                  </a:lnTo>
                  <a:lnTo>
                    <a:pt x="1038" y="300"/>
                  </a:lnTo>
                  <a:lnTo>
                    <a:pt x="1030" y="302"/>
                  </a:lnTo>
                  <a:lnTo>
                    <a:pt x="1030" y="302"/>
                  </a:lnTo>
                  <a:lnTo>
                    <a:pt x="1030" y="300"/>
                  </a:lnTo>
                  <a:lnTo>
                    <a:pt x="1032" y="300"/>
                  </a:lnTo>
                  <a:lnTo>
                    <a:pt x="1032" y="300"/>
                  </a:lnTo>
                  <a:lnTo>
                    <a:pt x="1032" y="298"/>
                  </a:lnTo>
                  <a:lnTo>
                    <a:pt x="1034" y="294"/>
                  </a:lnTo>
                  <a:lnTo>
                    <a:pt x="1034" y="294"/>
                  </a:lnTo>
                  <a:lnTo>
                    <a:pt x="1032" y="294"/>
                  </a:lnTo>
                  <a:lnTo>
                    <a:pt x="1030" y="296"/>
                  </a:lnTo>
                  <a:lnTo>
                    <a:pt x="1030" y="296"/>
                  </a:lnTo>
                  <a:lnTo>
                    <a:pt x="1028" y="296"/>
                  </a:lnTo>
                  <a:lnTo>
                    <a:pt x="1028" y="292"/>
                  </a:lnTo>
                  <a:lnTo>
                    <a:pt x="1028" y="292"/>
                  </a:lnTo>
                  <a:lnTo>
                    <a:pt x="1022" y="292"/>
                  </a:lnTo>
                  <a:lnTo>
                    <a:pt x="1022" y="290"/>
                  </a:lnTo>
                  <a:lnTo>
                    <a:pt x="1022" y="290"/>
                  </a:lnTo>
                  <a:lnTo>
                    <a:pt x="1026" y="290"/>
                  </a:lnTo>
                  <a:lnTo>
                    <a:pt x="1026" y="290"/>
                  </a:lnTo>
                  <a:lnTo>
                    <a:pt x="1028" y="286"/>
                  </a:lnTo>
                  <a:lnTo>
                    <a:pt x="1028" y="286"/>
                  </a:lnTo>
                  <a:lnTo>
                    <a:pt x="1022" y="288"/>
                  </a:lnTo>
                  <a:lnTo>
                    <a:pt x="1016" y="288"/>
                  </a:lnTo>
                  <a:lnTo>
                    <a:pt x="1016" y="288"/>
                  </a:lnTo>
                  <a:lnTo>
                    <a:pt x="1012" y="286"/>
                  </a:lnTo>
                  <a:lnTo>
                    <a:pt x="1012" y="286"/>
                  </a:lnTo>
                  <a:lnTo>
                    <a:pt x="1010" y="286"/>
                  </a:lnTo>
                  <a:lnTo>
                    <a:pt x="1008" y="284"/>
                  </a:lnTo>
                  <a:lnTo>
                    <a:pt x="1008" y="284"/>
                  </a:lnTo>
                  <a:lnTo>
                    <a:pt x="1006" y="282"/>
                  </a:lnTo>
                  <a:lnTo>
                    <a:pt x="1006" y="278"/>
                  </a:lnTo>
                  <a:lnTo>
                    <a:pt x="1006" y="278"/>
                  </a:lnTo>
                  <a:lnTo>
                    <a:pt x="1002" y="276"/>
                  </a:lnTo>
                  <a:lnTo>
                    <a:pt x="1002" y="276"/>
                  </a:lnTo>
                  <a:lnTo>
                    <a:pt x="1004" y="274"/>
                  </a:lnTo>
                  <a:lnTo>
                    <a:pt x="1004" y="272"/>
                  </a:lnTo>
                  <a:lnTo>
                    <a:pt x="1004" y="272"/>
                  </a:lnTo>
                  <a:lnTo>
                    <a:pt x="1002" y="272"/>
                  </a:lnTo>
                  <a:lnTo>
                    <a:pt x="1000" y="272"/>
                  </a:lnTo>
                  <a:lnTo>
                    <a:pt x="998" y="270"/>
                  </a:lnTo>
                  <a:lnTo>
                    <a:pt x="998" y="270"/>
                  </a:lnTo>
                  <a:lnTo>
                    <a:pt x="996" y="270"/>
                  </a:lnTo>
                  <a:lnTo>
                    <a:pt x="996" y="270"/>
                  </a:lnTo>
                  <a:lnTo>
                    <a:pt x="998" y="272"/>
                  </a:lnTo>
                  <a:lnTo>
                    <a:pt x="998" y="272"/>
                  </a:lnTo>
                  <a:lnTo>
                    <a:pt x="998" y="278"/>
                  </a:lnTo>
                  <a:lnTo>
                    <a:pt x="998" y="280"/>
                  </a:lnTo>
                  <a:lnTo>
                    <a:pt x="996" y="280"/>
                  </a:lnTo>
                  <a:lnTo>
                    <a:pt x="996" y="280"/>
                  </a:lnTo>
                  <a:lnTo>
                    <a:pt x="994" y="274"/>
                  </a:lnTo>
                  <a:lnTo>
                    <a:pt x="994" y="274"/>
                  </a:lnTo>
                  <a:lnTo>
                    <a:pt x="990" y="274"/>
                  </a:lnTo>
                  <a:lnTo>
                    <a:pt x="990" y="274"/>
                  </a:lnTo>
                  <a:lnTo>
                    <a:pt x="992" y="278"/>
                  </a:lnTo>
                  <a:lnTo>
                    <a:pt x="994" y="284"/>
                  </a:lnTo>
                  <a:lnTo>
                    <a:pt x="996" y="284"/>
                  </a:lnTo>
                  <a:lnTo>
                    <a:pt x="996" y="284"/>
                  </a:lnTo>
                  <a:lnTo>
                    <a:pt x="996" y="284"/>
                  </a:lnTo>
                  <a:lnTo>
                    <a:pt x="996" y="286"/>
                  </a:lnTo>
                  <a:lnTo>
                    <a:pt x="996" y="286"/>
                  </a:lnTo>
                  <a:lnTo>
                    <a:pt x="996" y="288"/>
                  </a:lnTo>
                  <a:lnTo>
                    <a:pt x="996" y="288"/>
                  </a:lnTo>
                  <a:lnTo>
                    <a:pt x="992" y="288"/>
                  </a:lnTo>
                  <a:lnTo>
                    <a:pt x="990" y="286"/>
                  </a:lnTo>
                  <a:lnTo>
                    <a:pt x="990" y="286"/>
                  </a:lnTo>
                  <a:lnTo>
                    <a:pt x="988" y="286"/>
                  </a:lnTo>
                  <a:lnTo>
                    <a:pt x="986" y="286"/>
                  </a:lnTo>
                  <a:lnTo>
                    <a:pt x="986" y="286"/>
                  </a:lnTo>
                  <a:lnTo>
                    <a:pt x="990" y="294"/>
                  </a:lnTo>
                  <a:lnTo>
                    <a:pt x="992" y="296"/>
                  </a:lnTo>
                  <a:lnTo>
                    <a:pt x="998" y="296"/>
                  </a:lnTo>
                  <a:lnTo>
                    <a:pt x="998" y="296"/>
                  </a:lnTo>
                  <a:lnTo>
                    <a:pt x="998" y="302"/>
                  </a:lnTo>
                  <a:lnTo>
                    <a:pt x="1000" y="306"/>
                  </a:lnTo>
                  <a:lnTo>
                    <a:pt x="1000" y="306"/>
                  </a:lnTo>
                  <a:lnTo>
                    <a:pt x="1004" y="308"/>
                  </a:lnTo>
                  <a:lnTo>
                    <a:pt x="1004" y="308"/>
                  </a:lnTo>
                  <a:lnTo>
                    <a:pt x="1004" y="310"/>
                  </a:lnTo>
                  <a:lnTo>
                    <a:pt x="1006" y="312"/>
                  </a:lnTo>
                  <a:lnTo>
                    <a:pt x="1006" y="312"/>
                  </a:lnTo>
                  <a:lnTo>
                    <a:pt x="1008" y="312"/>
                  </a:lnTo>
                  <a:lnTo>
                    <a:pt x="1010" y="312"/>
                  </a:lnTo>
                  <a:lnTo>
                    <a:pt x="1010" y="312"/>
                  </a:lnTo>
                  <a:lnTo>
                    <a:pt x="1014" y="316"/>
                  </a:lnTo>
                  <a:lnTo>
                    <a:pt x="1014" y="316"/>
                  </a:lnTo>
                  <a:lnTo>
                    <a:pt x="1014" y="320"/>
                  </a:lnTo>
                  <a:lnTo>
                    <a:pt x="1014" y="320"/>
                  </a:lnTo>
                  <a:lnTo>
                    <a:pt x="1016" y="318"/>
                  </a:lnTo>
                  <a:lnTo>
                    <a:pt x="1020" y="318"/>
                  </a:lnTo>
                  <a:lnTo>
                    <a:pt x="1020" y="318"/>
                  </a:lnTo>
                  <a:lnTo>
                    <a:pt x="1020" y="320"/>
                  </a:lnTo>
                  <a:lnTo>
                    <a:pt x="1022" y="322"/>
                  </a:lnTo>
                  <a:lnTo>
                    <a:pt x="1022" y="322"/>
                  </a:lnTo>
                  <a:lnTo>
                    <a:pt x="1022" y="322"/>
                  </a:lnTo>
                  <a:lnTo>
                    <a:pt x="1024" y="322"/>
                  </a:lnTo>
                  <a:lnTo>
                    <a:pt x="1024" y="322"/>
                  </a:lnTo>
                  <a:lnTo>
                    <a:pt x="1022" y="320"/>
                  </a:lnTo>
                  <a:lnTo>
                    <a:pt x="1022" y="318"/>
                  </a:lnTo>
                  <a:lnTo>
                    <a:pt x="1022" y="318"/>
                  </a:lnTo>
                  <a:lnTo>
                    <a:pt x="1020" y="318"/>
                  </a:lnTo>
                  <a:lnTo>
                    <a:pt x="1022" y="318"/>
                  </a:lnTo>
                  <a:lnTo>
                    <a:pt x="1022" y="316"/>
                  </a:lnTo>
                  <a:lnTo>
                    <a:pt x="1022" y="316"/>
                  </a:lnTo>
                  <a:lnTo>
                    <a:pt x="1024" y="318"/>
                  </a:lnTo>
                  <a:lnTo>
                    <a:pt x="1026" y="318"/>
                  </a:lnTo>
                  <a:lnTo>
                    <a:pt x="1026" y="318"/>
                  </a:lnTo>
                  <a:lnTo>
                    <a:pt x="1030" y="328"/>
                  </a:lnTo>
                  <a:lnTo>
                    <a:pt x="1030" y="328"/>
                  </a:lnTo>
                  <a:lnTo>
                    <a:pt x="1030" y="330"/>
                  </a:lnTo>
                  <a:lnTo>
                    <a:pt x="1028" y="332"/>
                  </a:lnTo>
                  <a:lnTo>
                    <a:pt x="1028" y="332"/>
                  </a:lnTo>
                  <a:lnTo>
                    <a:pt x="1024" y="330"/>
                  </a:lnTo>
                  <a:lnTo>
                    <a:pt x="1024" y="330"/>
                  </a:lnTo>
                  <a:lnTo>
                    <a:pt x="1024" y="330"/>
                  </a:lnTo>
                  <a:lnTo>
                    <a:pt x="1024" y="332"/>
                  </a:lnTo>
                  <a:lnTo>
                    <a:pt x="1024" y="332"/>
                  </a:lnTo>
                  <a:lnTo>
                    <a:pt x="1026" y="338"/>
                  </a:lnTo>
                  <a:lnTo>
                    <a:pt x="1020" y="338"/>
                  </a:lnTo>
                  <a:lnTo>
                    <a:pt x="1020" y="338"/>
                  </a:lnTo>
                  <a:lnTo>
                    <a:pt x="1020" y="342"/>
                  </a:lnTo>
                  <a:lnTo>
                    <a:pt x="1020" y="342"/>
                  </a:lnTo>
                  <a:lnTo>
                    <a:pt x="1024" y="342"/>
                  </a:lnTo>
                  <a:lnTo>
                    <a:pt x="1024" y="342"/>
                  </a:lnTo>
                  <a:lnTo>
                    <a:pt x="1026" y="350"/>
                  </a:lnTo>
                  <a:lnTo>
                    <a:pt x="1026" y="350"/>
                  </a:lnTo>
                  <a:lnTo>
                    <a:pt x="1030" y="348"/>
                  </a:lnTo>
                  <a:lnTo>
                    <a:pt x="1030" y="350"/>
                  </a:lnTo>
                  <a:lnTo>
                    <a:pt x="1030" y="350"/>
                  </a:lnTo>
                  <a:lnTo>
                    <a:pt x="1026" y="352"/>
                  </a:lnTo>
                  <a:lnTo>
                    <a:pt x="1026" y="352"/>
                  </a:lnTo>
                  <a:lnTo>
                    <a:pt x="1022" y="346"/>
                  </a:lnTo>
                  <a:lnTo>
                    <a:pt x="1018" y="344"/>
                  </a:lnTo>
                  <a:lnTo>
                    <a:pt x="1018" y="344"/>
                  </a:lnTo>
                  <a:lnTo>
                    <a:pt x="1018" y="344"/>
                  </a:lnTo>
                  <a:lnTo>
                    <a:pt x="1016" y="346"/>
                  </a:lnTo>
                  <a:lnTo>
                    <a:pt x="1016" y="346"/>
                  </a:lnTo>
                  <a:lnTo>
                    <a:pt x="1016" y="342"/>
                  </a:lnTo>
                  <a:lnTo>
                    <a:pt x="1014" y="342"/>
                  </a:lnTo>
                  <a:lnTo>
                    <a:pt x="1014" y="342"/>
                  </a:lnTo>
                  <a:lnTo>
                    <a:pt x="1010" y="340"/>
                  </a:lnTo>
                  <a:lnTo>
                    <a:pt x="1004" y="342"/>
                  </a:lnTo>
                  <a:lnTo>
                    <a:pt x="1004" y="342"/>
                  </a:lnTo>
                  <a:lnTo>
                    <a:pt x="1002" y="342"/>
                  </a:lnTo>
                  <a:lnTo>
                    <a:pt x="1002" y="344"/>
                  </a:lnTo>
                  <a:lnTo>
                    <a:pt x="1002" y="344"/>
                  </a:lnTo>
                  <a:lnTo>
                    <a:pt x="998" y="340"/>
                  </a:lnTo>
                  <a:lnTo>
                    <a:pt x="994" y="338"/>
                  </a:lnTo>
                  <a:lnTo>
                    <a:pt x="992" y="338"/>
                  </a:lnTo>
                  <a:lnTo>
                    <a:pt x="992" y="338"/>
                  </a:lnTo>
                  <a:lnTo>
                    <a:pt x="992" y="342"/>
                  </a:lnTo>
                  <a:lnTo>
                    <a:pt x="992" y="342"/>
                  </a:lnTo>
                  <a:lnTo>
                    <a:pt x="988" y="342"/>
                  </a:lnTo>
                  <a:lnTo>
                    <a:pt x="984" y="338"/>
                  </a:lnTo>
                  <a:lnTo>
                    <a:pt x="980" y="336"/>
                  </a:lnTo>
                  <a:lnTo>
                    <a:pt x="974" y="336"/>
                  </a:lnTo>
                  <a:lnTo>
                    <a:pt x="974" y="336"/>
                  </a:lnTo>
                  <a:lnTo>
                    <a:pt x="972" y="340"/>
                  </a:lnTo>
                  <a:lnTo>
                    <a:pt x="972" y="340"/>
                  </a:lnTo>
                  <a:lnTo>
                    <a:pt x="972" y="338"/>
                  </a:lnTo>
                  <a:lnTo>
                    <a:pt x="972" y="340"/>
                  </a:lnTo>
                  <a:lnTo>
                    <a:pt x="972" y="342"/>
                  </a:lnTo>
                  <a:lnTo>
                    <a:pt x="972" y="342"/>
                  </a:lnTo>
                  <a:lnTo>
                    <a:pt x="980" y="348"/>
                  </a:lnTo>
                  <a:lnTo>
                    <a:pt x="990" y="354"/>
                  </a:lnTo>
                  <a:lnTo>
                    <a:pt x="992" y="354"/>
                  </a:lnTo>
                  <a:lnTo>
                    <a:pt x="992" y="354"/>
                  </a:lnTo>
                  <a:lnTo>
                    <a:pt x="992" y="356"/>
                  </a:lnTo>
                  <a:lnTo>
                    <a:pt x="992" y="356"/>
                  </a:lnTo>
                  <a:lnTo>
                    <a:pt x="994" y="356"/>
                  </a:lnTo>
                  <a:lnTo>
                    <a:pt x="1000" y="356"/>
                  </a:lnTo>
                  <a:lnTo>
                    <a:pt x="1000" y="356"/>
                  </a:lnTo>
                  <a:lnTo>
                    <a:pt x="1004" y="360"/>
                  </a:lnTo>
                  <a:lnTo>
                    <a:pt x="1006" y="360"/>
                  </a:lnTo>
                  <a:lnTo>
                    <a:pt x="1006" y="360"/>
                  </a:lnTo>
                  <a:lnTo>
                    <a:pt x="1006" y="366"/>
                  </a:lnTo>
                  <a:lnTo>
                    <a:pt x="1006" y="366"/>
                  </a:lnTo>
                  <a:lnTo>
                    <a:pt x="1012" y="366"/>
                  </a:lnTo>
                  <a:lnTo>
                    <a:pt x="1018" y="368"/>
                  </a:lnTo>
                  <a:lnTo>
                    <a:pt x="1018" y="368"/>
                  </a:lnTo>
                  <a:lnTo>
                    <a:pt x="1020" y="368"/>
                  </a:lnTo>
                  <a:lnTo>
                    <a:pt x="1020" y="370"/>
                  </a:lnTo>
                  <a:lnTo>
                    <a:pt x="1018" y="370"/>
                  </a:lnTo>
                  <a:lnTo>
                    <a:pt x="1018" y="372"/>
                  </a:lnTo>
                  <a:lnTo>
                    <a:pt x="1018" y="372"/>
                  </a:lnTo>
                  <a:lnTo>
                    <a:pt x="1018" y="376"/>
                  </a:lnTo>
                  <a:lnTo>
                    <a:pt x="1016" y="378"/>
                  </a:lnTo>
                  <a:lnTo>
                    <a:pt x="1016" y="378"/>
                  </a:lnTo>
                  <a:lnTo>
                    <a:pt x="1008" y="376"/>
                  </a:lnTo>
                  <a:lnTo>
                    <a:pt x="1008" y="376"/>
                  </a:lnTo>
                  <a:lnTo>
                    <a:pt x="1006" y="376"/>
                  </a:lnTo>
                  <a:lnTo>
                    <a:pt x="1006" y="376"/>
                  </a:lnTo>
                  <a:lnTo>
                    <a:pt x="1006" y="376"/>
                  </a:lnTo>
                  <a:lnTo>
                    <a:pt x="998" y="372"/>
                  </a:lnTo>
                  <a:lnTo>
                    <a:pt x="998" y="372"/>
                  </a:lnTo>
                  <a:lnTo>
                    <a:pt x="994" y="372"/>
                  </a:lnTo>
                  <a:lnTo>
                    <a:pt x="988" y="374"/>
                  </a:lnTo>
                  <a:lnTo>
                    <a:pt x="988" y="374"/>
                  </a:lnTo>
                  <a:lnTo>
                    <a:pt x="984" y="370"/>
                  </a:lnTo>
                  <a:lnTo>
                    <a:pt x="984" y="370"/>
                  </a:lnTo>
                  <a:lnTo>
                    <a:pt x="982" y="372"/>
                  </a:lnTo>
                  <a:lnTo>
                    <a:pt x="982" y="374"/>
                  </a:lnTo>
                  <a:lnTo>
                    <a:pt x="982" y="374"/>
                  </a:lnTo>
                  <a:lnTo>
                    <a:pt x="970" y="370"/>
                  </a:lnTo>
                  <a:lnTo>
                    <a:pt x="970" y="370"/>
                  </a:lnTo>
                  <a:lnTo>
                    <a:pt x="968" y="372"/>
                  </a:lnTo>
                  <a:lnTo>
                    <a:pt x="968" y="372"/>
                  </a:lnTo>
                  <a:lnTo>
                    <a:pt x="964" y="368"/>
                  </a:lnTo>
                  <a:lnTo>
                    <a:pt x="964" y="368"/>
                  </a:lnTo>
                  <a:lnTo>
                    <a:pt x="962" y="374"/>
                  </a:lnTo>
                  <a:lnTo>
                    <a:pt x="962" y="374"/>
                  </a:lnTo>
                  <a:lnTo>
                    <a:pt x="954" y="374"/>
                  </a:lnTo>
                  <a:lnTo>
                    <a:pt x="954" y="374"/>
                  </a:lnTo>
                  <a:lnTo>
                    <a:pt x="952" y="372"/>
                  </a:lnTo>
                  <a:lnTo>
                    <a:pt x="952" y="370"/>
                  </a:lnTo>
                  <a:lnTo>
                    <a:pt x="952" y="370"/>
                  </a:lnTo>
                  <a:lnTo>
                    <a:pt x="948" y="372"/>
                  </a:lnTo>
                  <a:lnTo>
                    <a:pt x="946" y="374"/>
                  </a:lnTo>
                  <a:lnTo>
                    <a:pt x="946" y="374"/>
                  </a:lnTo>
                  <a:lnTo>
                    <a:pt x="940" y="370"/>
                  </a:lnTo>
                  <a:lnTo>
                    <a:pt x="940" y="370"/>
                  </a:lnTo>
                  <a:lnTo>
                    <a:pt x="936" y="370"/>
                  </a:lnTo>
                  <a:lnTo>
                    <a:pt x="936" y="368"/>
                  </a:lnTo>
                  <a:lnTo>
                    <a:pt x="936" y="368"/>
                  </a:lnTo>
                  <a:lnTo>
                    <a:pt x="946" y="364"/>
                  </a:lnTo>
                  <a:lnTo>
                    <a:pt x="946" y="364"/>
                  </a:lnTo>
                  <a:lnTo>
                    <a:pt x="946" y="362"/>
                  </a:lnTo>
                  <a:lnTo>
                    <a:pt x="948" y="362"/>
                  </a:lnTo>
                  <a:lnTo>
                    <a:pt x="948" y="362"/>
                  </a:lnTo>
                  <a:lnTo>
                    <a:pt x="946" y="360"/>
                  </a:lnTo>
                  <a:lnTo>
                    <a:pt x="946" y="360"/>
                  </a:lnTo>
                  <a:lnTo>
                    <a:pt x="942" y="360"/>
                  </a:lnTo>
                  <a:lnTo>
                    <a:pt x="942" y="360"/>
                  </a:lnTo>
                  <a:lnTo>
                    <a:pt x="942" y="358"/>
                  </a:lnTo>
                  <a:lnTo>
                    <a:pt x="940" y="358"/>
                  </a:lnTo>
                  <a:lnTo>
                    <a:pt x="940" y="358"/>
                  </a:lnTo>
                  <a:lnTo>
                    <a:pt x="940" y="362"/>
                  </a:lnTo>
                  <a:lnTo>
                    <a:pt x="940" y="362"/>
                  </a:lnTo>
                  <a:lnTo>
                    <a:pt x="938" y="362"/>
                  </a:lnTo>
                  <a:lnTo>
                    <a:pt x="938" y="362"/>
                  </a:lnTo>
                  <a:lnTo>
                    <a:pt x="934" y="360"/>
                  </a:lnTo>
                  <a:lnTo>
                    <a:pt x="934" y="358"/>
                  </a:lnTo>
                  <a:lnTo>
                    <a:pt x="934" y="358"/>
                  </a:lnTo>
                  <a:lnTo>
                    <a:pt x="932" y="360"/>
                  </a:lnTo>
                  <a:lnTo>
                    <a:pt x="930" y="360"/>
                  </a:lnTo>
                  <a:lnTo>
                    <a:pt x="930" y="360"/>
                  </a:lnTo>
                  <a:lnTo>
                    <a:pt x="928" y="348"/>
                  </a:lnTo>
                  <a:lnTo>
                    <a:pt x="928" y="348"/>
                  </a:lnTo>
                  <a:lnTo>
                    <a:pt x="924" y="348"/>
                  </a:lnTo>
                  <a:lnTo>
                    <a:pt x="924" y="348"/>
                  </a:lnTo>
                  <a:lnTo>
                    <a:pt x="920" y="336"/>
                  </a:lnTo>
                  <a:lnTo>
                    <a:pt x="920" y="336"/>
                  </a:lnTo>
                  <a:lnTo>
                    <a:pt x="916" y="336"/>
                  </a:lnTo>
                  <a:lnTo>
                    <a:pt x="916" y="336"/>
                  </a:lnTo>
                  <a:lnTo>
                    <a:pt x="914" y="340"/>
                  </a:lnTo>
                  <a:lnTo>
                    <a:pt x="914" y="340"/>
                  </a:lnTo>
                  <a:lnTo>
                    <a:pt x="914" y="336"/>
                  </a:lnTo>
                  <a:lnTo>
                    <a:pt x="914" y="336"/>
                  </a:lnTo>
                  <a:lnTo>
                    <a:pt x="908" y="334"/>
                  </a:lnTo>
                  <a:lnTo>
                    <a:pt x="908" y="334"/>
                  </a:lnTo>
                  <a:lnTo>
                    <a:pt x="908" y="330"/>
                  </a:lnTo>
                  <a:lnTo>
                    <a:pt x="908" y="330"/>
                  </a:lnTo>
                  <a:lnTo>
                    <a:pt x="906" y="330"/>
                  </a:lnTo>
                  <a:lnTo>
                    <a:pt x="906" y="330"/>
                  </a:lnTo>
                  <a:lnTo>
                    <a:pt x="906" y="332"/>
                  </a:lnTo>
                  <a:lnTo>
                    <a:pt x="906" y="334"/>
                  </a:lnTo>
                  <a:lnTo>
                    <a:pt x="906" y="334"/>
                  </a:lnTo>
                  <a:lnTo>
                    <a:pt x="902" y="336"/>
                  </a:lnTo>
                  <a:lnTo>
                    <a:pt x="902" y="336"/>
                  </a:lnTo>
                  <a:lnTo>
                    <a:pt x="898" y="330"/>
                  </a:lnTo>
                  <a:lnTo>
                    <a:pt x="898" y="330"/>
                  </a:lnTo>
                  <a:lnTo>
                    <a:pt x="898" y="326"/>
                  </a:lnTo>
                  <a:lnTo>
                    <a:pt x="896" y="326"/>
                  </a:lnTo>
                  <a:lnTo>
                    <a:pt x="896" y="326"/>
                  </a:lnTo>
                  <a:lnTo>
                    <a:pt x="896" y="328"/>
                  </a:lnTo>
                  <a:lnTo>
                    <a:pt x="894" y="330"/>
                  </a:lnTo>
                  <a:lnTo>
                    <a:pt x="894" y="332"/>
                  </a:lnTo>
                  <a:lnTo>
                    <a:pt x="894" y="332"/>
                  </a:lnTo>
                  <a:lnTo>
                    <a:pt x="900" y="336"/>
                  </a:lnTo>
                  <a:lnTo>
                    <a:pt x="900" y="336"/>
                  </a:lnTo>
                  <a:lnTo>
                    <a:pt x="900" y="340"/>
                  </a:lnTo>
                  <a:lnTo>
                    <a:pt x="900" y="340"/>
                  </a:lnTo>
                  <a:lnTo>
                    <a:pt x="898" y="340"/>
                  </a:lnTo>
                  <a:lnTo>
                    <a:pt x="898" y="342"/>
                  </a:lnTo>
                  <a:lnTo>
                    <a:pt x="898" y="342"/>
                  </a:lnTo>
                  <a:lnTo>
                    <a:pt x="890" y="340"/>
                  </a:lnTo>
                  <a:lnTo>
                    <a:pt x="888" y="336"/>
                  </a:lnTo>
                  <a:lnTo>
                    <a:pt x="888" y="336"/>
                  </a:lnTo>
                  <a:lnTo>
                    <a:pt x="886" y="340"/>
                  </a:lnTo>
                  <a:lnTo>
                    <a:pt x="886" y="340"/>
                  </a:lnTo>
                  <a:lnTo>
                    <a:pt x="884" y="340"/>
                  </a:lnTo>
                  <a:lnTo>
                    <a:pt x="884" y="340"/>
                  </a:lnTo>
                  <a:lnTo>
                    <a:pt x="884" y="344"/>
                  </a:lnTo>
                  <a:lnTo>
                    <a:pt x="884" y="344"/>
                  </a:lnTo>
                  <a:lnTo>
                    <a:pt x="880" y="344"/>
                  </a:lnTo>
                  <a:lnTo>
                    <a:pt x="878" y="344"/>
                  </a:lnTo>
                  <a:lnTo>
                    <a:pt x="876" y="348"/>
                  </a:lnTo>
                  <a:lnTo>
                    <a:pt x="876" y="348"/>
                  </a:lnTo>
                  <a:lnTo>
                    <a:pt x="868" y="348"/>
                  </a:lnTo>
                  <a:lnTo>
                    <a:pt x="866" y="346"/>
                  </a:lnTo>
                  <a:lnTo>
                    <a:pt x="866" y="346"/>
                  </a:lnTo>
                  <a:lnTo>
                    <a:pt x="864" y="346"/>
                  </a:lnTo>
                  <a:lnTo>
                    <a:pt x="862" y="348"/>
                  </a:lnTo>
                  <a:lnTo>
                    <a:pt x="862" y="346"/>
                  </a:lnTo>
                  <a:lnTo>
                    <a:pt x="862" y="346"/>
                  </a:lnTo>
                  <a:lnTo>
                    <a:pt x="858" y="344"/>
                  </a:lnTo>
                  <a:lnTo>
                    <a:pt x="856" y="344"/>
                  </a:lnTo>
                  <a:lnTo>
                    <a:pt x="856" y="344"/>
                  </a:lnTo>
                  <a:lnTo>
                    <a:pt x="854" y="338"/>
                  </a:lnTo>
                  <a:lnTo>
                    <a:pt x="854" y="338"/>
                  </a:lnTo>
                  <a:lnTo>
                    <a:pt x="856" y="334"/>
                  </a:lnTo>
                  <a:lnTo>
                    <a:pt x="858" y="330"/>
                  </a:lnTo>
                  <a:lnTo>
                    <a:pt x="858" y="330"/>
                  </a:lnTo>
                  <a:lnTo>
                    <a:pt x="856" y="330"/>
                  </a:lnTo>
                  <a:lnTo>
                    <a:pt x="856" y="326"/>
                  </a:lnTo>
                  <a:lnTo>
                    <a:pt x="856" y="326"/>
                  </a:lnTo>
                  <a:lnTo>
                    <a:pt x="860" y="316"/>
                  </a:lnTo>
                  <a:lnTo>
                    <a:pt x="860" y="316"/>
                  </a:lnTo>
                  <a:lnTo>
                    <a:pt x="872" y="316"/>
                  </a:lnTo>
                  <a:lnTo>
                    <a:pt x="872" y="316"/>
                  </a:lnTo>
                  <a:lnTo>
                    <a:pt x="876" y="318"/>
                  </a:lnTo>
                  <a:lnTo>
                    <a:pt x="880" y="318"/>
                  </a:lnTo>
                  <a:lnTo>
                    <a:pt x="880" y="316"/>
                  </a:lnTo>
                  <a:lnTo>
                    <a:pt x="880" y="316"/>
                  </a:lnTo>
                  <a:lnTo>
                    <a:pt x="886" y="316"/>
                  </a:lnTo>
                  <a:lnTo>
                    <a:pt x="886" y="316"/>
                  </a:lnTo>
                  <a:lnTo>
                    <a:pt x="886" y="316"/>
                  </a:lnTo>
                  <a:lnTo>
                    <a:pt x="888" y="314"/>
                  </a:lnTo>
                  <a:lnTo>
                    <a:pt x="888" y="314"/>
                  </a:lnTo>
                  <a:lnTo>
                    <a:pt x="888" y="314"/>
                  </a:lnTo>
                  <a:lnTo>
                    <a:pt x="890" y="314"/>
                  </a:lnTo>
                  <a:lnTo>
                    <a:pt x="892" y="316"/>
                  </a:lnTo>
                  <a:lnTo>
                    <a:pt x="892" y="314"/>
                  </a:lnTo>
                  <a:lnTo>
                    <a:pt x="892" y="314"/>
                  </a:lnTo>
                  <a:lnTo>
                    <a:pt x="896" y="312"/>
                  </a:lnTo>
                  <a:lnTo>
                    <a:pt x="896" y="312"/>
                  </a:lnTo>
                  <a:lnTo>
                    <a:pt x="898" y="314"/>
                  </a:lnTo>
                  <a:lnTo>
                    <a:pt x="902" y="314"/>
                  </a:lnTo>
                  <a:lnTo>
                    <a:pt x="902" y="314"/>
                  </a:lnTo>
                  <a:lnTo>
                    <a:pt x="906" y="312"/>
                  </a:lnTo>
                  <a:lnTo>
                    <a:pt x="906" y="312"/>
                  </a:lnTo>
                  <a:lnTo>
                    <a:pt x="916" y="310"/>
                  </a:lnTo>
                  <a:lnTo>
                    <a:pt x="924" y="310"/>
                  </a:lnTo>
                  <a:lnTo>
                    <a:pt x="924" y="310"/>
                  </a:lnTo>
                  <a:lnTo>
                    <a:pt x="922" y="304"/>
                  </a:lnTo>
                  <a:lnTo>
                    <a:pt x="922" y="304"/>
                  </a:lnTo>
                  <a:lnTo>
                    <a:pt x="918" y="302"/>
                  </a:lnTo>
                  <a:lnTo>
                    <a:pt x="916" y="300"/>
                  </a:lnTo>
                  <a:lnTo>
                    <a:pt x="916" y="300"/>
                  </a:lnTo>
                  <a:lnTo>
                    <a:pt x="914" y="294"/>
                  </a:lnTo>
                  <a:lnTo>
                    <a:pt x="914" y="294"/>
                  </a:lnTo>
                  <a:lnTo>
                    <a:pt x="910" y="294"/>
                  </a:lnTo>
                  <a:lnTo>
                    <a:pt x="910" y="294"/>
                  </a:lnTo>
                  <a:lnTo>
                    <a:pt x="906" y="288"/>
                  </a:lnTo>
                  <a:lnTo>
                    <a:pt x="906" y="288"/>
                  </a:lnTo>
                  <a:lnTo>
                    <a:pt x="906" y="284"/>
                  </a:lnTo>
                  <a:lnTo>
                    <a:pt x="906" y="284"/>
                  </a:lnTo>
                  <a:lnTo>
                    <a:pt x="914" y="282"/>
                  </a:lnTo>
                  <a:lnTo>
                    <a:pt x="914" y="282"/>
                  </a:lnTo>
                  <a:lnTo>
                    <a:pt x="914" y="278"/>
                  </a:lnTo>
                  <a:lnTo>
                    <a:pt x="916" y="276"/>
                  </a:lnTo>
                  <a:lnTo>
                    <a:pt x="916" y="276"/>
                  </a:lnTo>
                  <a:lnTo>
                    <a:pt x="922" y="270"/>
                  </a:lnTo>
                  <a:lnTo>
                    <a:pt x="930" y="268"/>
                  </a:lnTo>
                  <a:lnTo>
                    <a:pt x="930" y="268"/>
                  </a:lnTo>
                  <a:lnTo>
                    <a:pt x="924" y="264"/>
                  </a:lnTo>
                  <a:lnTo>
                    <a:pt x="922" y="260"/>
                  </a:lnTo>
                  <a:lnTo>
                    <a:pt x="924" y="256"/>
                  </a:lnTo>
                  <a:lnTo>
                    <a:pt x="924" y="256"/>
                  </a:lnTo>
                  <a:lnTo>
                    <a:pt x="924" y="254"/>
                  </a:lnTo>
                  <a:lnTo>
                    <a:pt x="926" y="254"/>
                  </a:lnTo>
                  <a:lnTo>
                    <a:pt x="926" y="254"/>
                  </a:lnTo>
                  <a:lnTo>
                    <a:pt x="928" y="254"/>
                  </a:lnTo>
                  <a:lnTo>
                    <a:pt x="930" y="254"/>
                  </a:lnTo>
                  <a:lnTo>
                    <a:pt x="930" y="254"/>
                  </a:lnTo>
                  <a:lnTo>
                    <a:pt x="930" y="254"/>
                  </a:lnTo>
                  <a:lnTo>
                    <a:pt x="932" y="252"/>
                  </a:lnTo>
                  <a:lnTo>
                    <a:pt x="932" y="252"/>
                  </a:lnTo>
                  <a:lnTo>
                    <a:pt x="932" y="250"/>
                  </a:lnTo>
                  <a:lnTo>
                    <a:pt x="932" y="250"/>
                  </a:lnTo>
                  <a:lnTo>
                    <a:pt x="928" y="248"/>
                  </a:lnTo>
                  <a:lnTo>
                    <a:pt x="928" y="248"/>
                  </a:lnTo>
                  <a:lnTo>
                    <a:pt x="928" y="244"/>
                  </a:lnTo>
                  <a:lnTo>
                    <a:pt x="926" y="244"/>
                  </a:lnTo>
                  <a:lnTo>
                    <a:pt x="926" y="244"/>
                  </a:lnTo>
                  <a:lnTo>
                    <a:pt x="926" y="238"/>
                  </a:lnTo>
                  <a:lnTo>
                    <a:pt x="926" y="232"/>
                  </a:lnTo>
                  <a:lnTo>
                    <a:pt x="926" y="232"/>
                  </a:lnTo>
                  <a:lnTo>
                    <a:pt x="924" y="232"/>
                  </a:lnTo>
                  <a:lnTo>
                    <a:pt x="922" y="232"/>
                  </a:lnTo>
                  <a:lnTo>
                    <a:pt x="922" y="232"/>
                  </a:lnTo>
                  <a:lnTo>
                    <a:pt x="920" y="228"/>
                  </a:lnTo>
                  <a:lnTo>
                    <a:pt x="920" y="228"/>
                  </a:lnTo>
                  <a:lnTo>
                    <a:pt x="922" y="228"/>
                  </a:lnTo>
                  <a:lnTo>
                    <a:pt x="922" y="228"/>
                  </a:lnTo>
                  <a:lnTo>
                    <a:pt x="920" y="226"/>
                  </a:lnTo>
                  <a:lnTo>
                    <a:pt x="920" y="226"/>
                  </a:lnTo>
                  <a:lnTo>
                    <a:pt x="914" y="226"/>
                  </a:lnTo>
                  <a:lnTo>
                    <a:pt x="914" y="224"/>
                  </a:lnTo>
                  <a:lnTo>
                    <a:pt x="914" y="224"/>
                  </a:lnTo>
                  <a:lnTo>
                    <a:pt x="914" y="222"/>
                  </a:lnTo>
                  <a:lnTo>
                    <a:pt x="914" y="220"/>
                  </a:lnTo>
                  <a:lnTo>
                    <a:pt x="914" y="220"/>
                  </a:lnTo>
                  <a:lnTo>
                    <a:pt x="912" y="220"/>
                  </a:lnTo>
                  <a:lnTo>
                    <a:pt x="912" y="220"/>
                  </a:lnTo>
                  <a:lnTo>
                    <a:pt x="912" y="218"/>
                  </a:lnTo>
                  <a:lnTo>
                    <a:pt x="912" y="218"/>
                  </a:lnTo>
                  <a:lnTo>
                    <a:pt x="916" y="216"/>
                  </a:lnTo>
                  <a:lnTo>
                    <a:pt x="916" y="216"/>
                  </a:lnTo>
                  <a:lnTo>
                    <a:pt x="916" y="212"/>
                  </a:lnTo>
                  <a:lnTo>
                    <a:pt x="916" y="210"/>
                  </a:lnTo>
                  <a:lnTo>
                    <a:pt x="916" y="210"/>
                  </a:lnTo>
                  <a:lnTo>
                    <a:pt x="914" y="210"/>
                  </a:lnTo>
                  <a:lnTo>
                    <a:pt x="914" y="212"/>
                  </a:lnTo>
                  <a:lnTo>
                    <a:pt x="912" y="214"/>
                  </a:lnTo>
                  <a:lnTo>
                    <a:pt x="912" y="214"/>
                  </a:lnTo>
                  <a:lnTo>
                    <a:pt x="910" y="214"/>
                  </a:lnTo>
                  <a:lnTo>
                    <a:pt x="908" y="212"/>
                  </a:lnTo>
                  <a:lnTo>
                    <a:pt x="908" y="212"/>
                  </a:lnTo>
                  <a:lnTo>
                    <a:pt x="902" y="218"/>
                  </a:lnTo>
                  <a:lnTo>
                    <a:pt x="896" y="224"/>
                  </a:lnTo>
                  <a:lnTo>
                    <a:pt x="896" y="224"/>
                  </a:lnTo>
                  <a:lnTo>
                    <a:pt x="894" y="224"/>
                  </a:lnTo>
                  <a:lnTo>
                    <a:pt x="894" y="224"/>
                  </a:lnTo>
                  <a:lnTo>
                    <a:pt x="894" y="220"/>
                  </a:lnTo>
                  <a:lnTo>
                    <a:pt x="894" y="218"/>
                  </a:lnTo>
                  <a:lnTo>
                    <a:pt x="894" y="218"/>
                  </a:lnTo>
                  <a:lnTo>
                    <a:pt x="890" y="218"/>
                  </a:lnTo>
                  <a:lnTo>
                    <a:pt x="890" y="218"/>
                  </a:lnTo>
                  <a:lnTo>
                    <a:pt x="888" y="214"/>
                  </a:lnTo>
                  <a:lnTo>
                    <a:pt x="890" y="212"/>
                  </a:lnTo>
                  <a:lnTo>
                    <a:pt x="890" y="212"/>
                  </a:lnTo>
                  <a:lnTo>
                    <a:pt x="890" y="212"/>
                  </a:lnTo>
                  <a:lnTo>
                    <a:pt x="892" y="208"/>
                  </a:lnTo>
                  <a:lnTo>
                    <a:pt x="892" y="208"/>
                  </a:lnTo>
                  <a:lnTo>
                    <a:pt x="892" y="206"/>
                  </a:lnTo>
                  <a:lnTo>
                    <a:pt x="892" y="206"/>
                  </a:lnTo>
                  <a:lnTo>
                    <a:pt x="896" y="206"/>
                  </a:lnTo>
                  <a:lnTo>
                    <a:pt x="896" y="206"/>
                  </a:lnTo>
                  <a:lnTo>
                    <a:pt x="896" y="208"/>
                  </a:lnTo>
                  <a:lnTo>
                    <a:pt x="896" y="208"/>
                  </a:lnTo>
                  <a:lnTo>
                    <a:pt x="898" y="206"/>
                  </a:lnTo>
                  <a:lnTo>
                    <a:pt x="896" y="204"/>
                  </a:lnTo>
                  <a:lnTo>
                    <a:pt x="896" y="204"/>
                  </a:lnTo>
                  <a:lnTo>
                    <a:pt x="890" y="202"/>
                  </a:lnTo>
                  <a:lnTo>
                    <a:pt x="890" y="202"/>
                  </a:lnTo>
                  <a:lnTo>
                    <a:pt x="888" y="200"/>
                  </a:lnTo>
                  <a:lnTo>
                    <a:pt x="888" y="200"/>
                  </a:lnTo>
                  <a:lnTo>
                    <a:pt x="888" y="200"/>
                  </a:lnTo>
                  <a:lnTo>
                    <a:pt x="888" y="194"/>
                  </a:lnTo>
                  <a:lnTo>
                    <a:pt x="888" y="194"/>
                  </a:lnTo>
                  <a:lnTo>
                    <a:pt x="888" y="194"/>
                  </a:lnTo>
                  <a:lnTo>
                    <a:pt x="888" y="192"/>
                  </a:lnTo>
                  <a:lnTo>
                    <a:pt x="888" y="192"/>
                  </a:lnTo>
                  <a:lnTo>
                    <a:pt x="894" y="192"/>
                  </a:lnTo>
                  <a:lnTo>
                    <a:pt x="892" y="188"/>
                  </a:lnTo>
                  <a:lnTo>
                    <a:pt x="892" y="188"/>
                  </a:lnTo>
                  <a:lnTo>
                    <a:pt x="886" y="188"/>
                  </a:lnTo>
                  <a:lnTo>
                    <a:pt x="884" y="194"/>
                  </a:lnTo>
                  <a:lnTo>
                    <a:pt x="884" y="194"/>
                  </a:lnTo>
                  <a:lnTo>
                    <a:pt x="880" y="194"/>
                  </a:lnTo>
                  <a:lnTo>
                    <a:pt x="880" y="194"/>
                  </a:lnTo>
                  <a:lnTo>
                    <a:pt x="882" y="188"/>
                  </a:lnTo>
                  <a:lnTo>
                    <a:pt x="882" y="188"/>
                  </a:lnTo>
                  <a:lnTo>
                    <a:pt x="878" y="188"/>
                  </a:lnTo>
                  <a:lnTo>
                    <a:pt x="878" y="188"/>
                  </a:lnTo>
                  <a:lnTo>
                    <a:pt x="878" y="186"/>
                  </a:lnTo>
                  <a:lnTo>
                    <a:pt x="876" y="184"/>
                  </a:lnTo>
                  <a:lnTo>
                    <a:pt x="876" y="184"/>
                  </a:lnTo>
                  <a:lnTo>
                    <a:pt x="874" y="184"/>
                  </a:lnTo>
                  <a:lnTo>
                    <a:pt x="872" y="182"/>
                  </a:lnTo>
                  <a:lnTo>
                    <a:pt x="872" y="182"/>
                  </a:lnTo>
                  <a:lnTo>
                    <a:pt x="872" y="184"/>
                  </a:lnTo>
                  <a:lnTo>
                    <a:pt x="872" y="184"/>
                  </a:lnTo>
                  <a:lnTo>
                    <a:pt x="868" y="184"/>
                  </a:lnTo>
                  <a:lnTo>
                    <a:pt x="868" y="184"/>
                  </a:lnTo>
                  <a:lnTo>
                    <a:pt x="868" y="190"/>
                  </a:lnTo>
                  <a:lnTo>
                    <a:pt x="866" y="190"/>
                  </a:lnTo>
                  <a:lnTo>
                    <a:pt x="866" y="190"/>
                  </a:lnTo>
                  <a:lnTo>
                    <a:pt x="862" y="174"/>
                  </a:lnTo>
                  <a:lnTo>
                    <a:pt x="862" y="174"/>
                  </a:lnTo>
                  <a:lnTo>
                    <a:pt x="858" y="174"/>
                  </a:lnTo>
                  <a:lnTo>
                    <a:pt x="858" y="178"/>
                  </a:lnTo>
                  <a:lnTo>
                    <a:pt x="858" y="178"/>
                  </a:lnTo>
                  <a:lnTo>
                    <a:pt x="854" y="176"/>
                  </a:lnTo>
                  <a:lnTo>
                    <a:pt x="854" y="176"/>
                  </a:lnTo>
                  <a:lnTo>
                    <a:pt x="850" y="168"/>
                  </a:lnTo>
                  <a:lnTo>
                    <a:pt x="850" y="168"/>
                  </a:lnTo>
                  <a:lnTo>
                    <a:pt x="842" y="172"/>
                  </a:lnTo>
                  <a:lnTo>
                    <a:pt x="842" y="172"/>
                  </a:lnTo>
                  <a:lnTo>
                    <a:pt x="842" y="176"/>
                  </a:lnTo>
                  <a:lnTo>
                    <a:pt x="842" y="176"/>
                  </a:lnTo>
                  <a:lnTo>
                    <a:pt x="846" y="176"/>
                  </a:lnTo>
                  <a:lnTo>
                    <a:pt x="846" y="176"/>
                  </a:lnTo>
                  <a:lnTo>
                    <a:pt x="848" y="172"/>
                  </a:lnTo>
                  <a:lnTo>
                    <a:pt x="850" y="172"/>
                  </a:lnTo>
                  <a:lnTo>
                    <a:pt x="850" y="172"/>
                  </a:lnTo>
                  <a:lnTo>
                    <a:pt x="852" y="180"/>
                  </a:lnTo>
                  <a:lnTo>
                    <a:pt x="852" y="180"/>
                  </a:lnTo>
                  <a:lnTo>
                    <a:pt x="850" y="182"/>
                  </a:lnTo>
                  <a:lnTo>
                    <a:pt x="850" y="182"/>
                  </a:lnTo>
                  <a:lnTo>
                    <a:pt x="846" y="182"/>
                  </a:lnTo>
                  <a:lnTo>
                    <a:pt x="846" y="182"/>
                  </a:lnTo>
                  <a:lnTo>
                    <a:pt x="846" y="182"/>
                  </a:lnTo>
                  <a:lnTo>
                    <a:pt x="840" y="184"/>
                  </a:lnTo>
                  <a:lnTo>
                    <a:pt x="838" y="182"/>
                  </a:lnTo>
                  <a:lnTo>
                    <a:pt x="834" y="180"/>
                  </a:lnTo>
                  <a:lnTo>
                    <a:pt x="834" y="180"/>
                  </a:lnTo>
                  <a:lnTo>
                    <a:pt x="832" y="178"/>
                  </a:lnTo>
                  <a:lnTo>
                    <a:pt x="830" y="176"/>
                  </a:lnTo>
                  <a:lnTo>
                    <a:pt x="830" y="176"/>
                  </a:lnTo>
                  <a:lnTo>
                    <a:pt x="828" y="176"/>
                  </a:lnTo>
                  <a:lnTo>
                    <a:pt x="828" y="176"/>
                  </a:lnTo>
                  <a:lnTo>
                    <a:pt x="824" y="174"/>
                  </a:lnTo>
                  <a:lnTo>
                    <a:pt x="824" y="176"/>
                  </a:lnTo>
                  <a:lnTo>
                    <a:pt x="824" y="176"/>
                  </a:lnTo>
                  <a:lnTo>
                    <a:pt x="816" y="176"/>
                  </a:lnTo>
                  <a:lnTo>
                    <a:pt x="816" y="176"/>
                  </a:lnTo>
                  <a:lnTo>
                    <a:pt x="814" y="178"/>
                  </a:lnTo>
                  <a:lnTo>
                    <a:pt x="814" y="180"/>
                  </a:lnTo>
                  <a:lnTo>
                    <a:pt x="814" y="180"/>
                  </a:lnTo>
                  <a:lnTo>
                    <a:pt x="818" y="182"/>
                  </a:lnTo>
                  <a:lnTo>
                    <a:pt x="818" y="182"/>
                  </a:lnTo>
                  <a:lnTo>
                    <a:pt x="818" y="184"/>
                  </a:lnTo>
                  <a:lnTo>
                    <a:pt x="818" y="184"/>
                  </a:lnTo>
                  <a:lnTo>
                    <a:pt x="822" y="186"/>
                  </a:lnTo>
                  <a:lnTo>
                    <a:pt x="822" y="186"/>
                  </a:lnTo>
                  <a:lnTo>
                    <a:pt x="822" y="190"/>
                  </a:lnTo>
                  <a:lnTo>
                    <a:pt x="822" y="194"/>
                  </a:lnTo>
                  <a:lnTo>
                    <a:pt x="822" y="194"/>
                  </a:lnTo>
                  <a:lnTo>
                    <a:pt x="818" y="194"/>
                  </a:lnTo>
                  <a:lnTo>
                    <a:pt x="818" y="194"/>
                  </a:lnTo>
                  <a:lnTo>
                    <a:pt x="816" y="188"/>
                  </a:lnTo>
                  <a:lnTo>
                    <a:pt x="812" y="184"/>
                  </a:lnTo>
                  <a:lnTo>
                    <a:pt x="812" y="184"/>
                  </a:lnTo>
                  <a:lnTo>
                    <a:pt x="808" y="184"/>
                  </a:lnTo>
                  <a:lnTo>
                    <a:pt x="808" y="184"/>
                  </a:lnTo>
                  <a:lnTo>
                    <a:pt x="804" y="180"/>
                  </a:lnTo>
                  <a:lnTo>
                    <a:pt x="800" y="174"/>
                  </a:lnTo>
                  <a:lnTo>
                    <a:pt x="800" y="174"/>
                  </a:lnTo>
                  <a:lnTo>
                    <a:pt x="796" y="174"/>
                  </a:lnTo>
                  <a:lnTo>
                    <a:pt x="796" y="176"/>
                  </a:lnTo>
                  <a:lnTo>
                    <a:pt x="796" y="176"/>
                  </a:lnTo>
                  <a:lnTo>
                    <a:pt x="796" y="176"/>
                  </a:lnTo>
                  <a:lnTo>
                    <a:pt x="802" y="182"/>
                  </a:lnTo>
                  <a:lnTo>
                    <a:pt x="802" y="182"/>
                  </a:lnTo>
                  <a:lnTo>
                    <a:pt x="804" y="184"/>
                  </a:lnTo>
                  <a:lnTo>
                    <a:pt x="804" y="184"/>
                  </a:lnTo>
                  <a:lnTo>
                    <a:pt x="808" y="188"/>
                  </a:lnTo>
                  <a:lnTo>
                    <a:pt x="808" y="190"/>
                  </a:lnTo>
                  <a:lnTo>
                    <a:pt x="802" y="190"/>
                  </a:lnTo>
                  <a:lnTo>
                    <a:pt x="802" y="190"/>
                  </a:lnTo>
                  <a:lnTo>
                    <a:pt x="794" y="188"/>
                  </a:lnTo>
                  <a:lnTo>
                    <a:pt x="794" y="188"/>
                  </a:lnTo>
                  <a:lnTo>
                    <a:pt x="792" y="184"/>
                  </a:lnTo>
                  <a:lnTo>
                    <a:pt x="792" y="184"/>
                  </a:lnTo>
                  <a:lnTo>
                    <a:pt x="786" y="186"/>
                  </a:lnTo>
                  <a:lnTo>
                    <a:pt x="782" y="186"/>
                  </a:lnTo>
                  <a:lnTo>
                    <a:pt x="782" y="186"/>
                  </a:lnTo>
                  <a:lnTo>
                    <a:pt x="776" y="186"/>
                  </a:lnTo>
                  <a:lnTo>
                    <a:pt x="774" y="184"/>
                  </a:lnTo>
                  <a:lnTo>
                    <a:pt x="774" y="184"/>
                  </a:lnTo>
                  <a:lnTo>
                    <a:pt x="770" y="184"/>
                  </a:lnTo>
                  <a:lnTo>
                    <a:pt x="764" y="184"/>
                  </a:lnTo>
                  <a:lnTo>
                    <a:pt x="764" y="184"/>
                  </a:lnTo>
                  <a:lnTo>
                    <a:pt x="760" y="180"/>
                  </a:lnTo>
                  <a:lnTo>
                    <a:pt x="758" y="180"/>
                  </a:lnTo>
                  <a:lnTo>
                    <a:pt x="758" y="180"/>
                  </a:lnTo>
                  <a:lnTo>
                    <a:pt x="758" y="182"/>
                  </a:lnTo>
                  <a:lnTo>
                    <a:pt x="760" y="184"/>
                  </a:lnTo>
                  <a:lnTo>
                    <a:pt x="760" y="184"/>
                  </a:lnTo>
                  <a:lnTo>
                    <a:pt x="750" y="184"/>
                  </a:lnTo>
                  <a:lnTo>
                    <a:pt x="750" y="184"/>
                  </a:lnTo>
                  <a:lnTo>
                    <a:pt x="750" y="184"/>
                  </a:lnTo>
                  <a:lnTo>
                    <a:pt x="750" y="184"/>
                  </a:lnTo>
                  <a:lnTo>
                    <a:pt x="750" y="182"/>
                  </a:lnTo>
                  <a:lnTo>
                    <a:pt x="750" y="180"/>
                  </a:lnTo>
                  <a:lnTo>
                    <a:pt x="750" y="180"/>
                  </a:lnTo>
                  <a:lnTo>
                    <a:pt x="742" y="174"/>
                  </a:lnTo>
                  <a:lnTo>
                    <a:pt x="742" y="174"/>
                  </a:lnTo>
                  <a:lnTo>
                    <a:pt x="742" y="172"/>
                  </a:lnTo>
                  <a:lnTo>
                    <a:pt x="742" y="172"/>
                  </a:lnTo>
                  <a:lnTo>
                    <a:pt x="738" y="170"/>
                  </a:lnTo>
                  <a:lnTo>
                    <a:pt x="736" y="172"/>
                  </a:lnTo>
                  <a:lnTo>
                    <a:pt x="732" y="176"/>
                  </a:lnTo>
                  <a:lnTo>
                    <a:pt x="732" y="176"/>
                  </a:lnTo>
                  <a:lnTo>
                    <a:pt x="726" y="174"/>
                  </a:lnTo>
                  <a:lnTo>
                    <a:pt x="726" y="172"/>
                  </a:lnTo>
                  <a:lnTo>
                    <a:pt x="726" y="172"/>
                  </a:lnTo>
                  <a:lnTo>
                    <a:pt x="728" y="172"/>
                  </a:lnTo>
                  <a:lnTo>
                    <a:pt x="728" y="172"/>
                  </a:lnTo>
                  <a:lnTo>
                    <a:pt x="722" y="168"/>
                  </a:lnTo>
                  <a:lnTo>
                    <a:pt x="722" y="168"/>
                  </a:lnTo>
                  <a:lnTo>
                    <a:pt x="720" y="168"/>
                  </a:lnTo>
                  <a:lnTo>
                    <a:pt x="720" y="168"/>
                  </a:lnTo>
                  <a:lnTo>
                    <a:pt x="720" y="168"/>
                  </a:lnTo>
                  <a:lnTo>
                    <a:pt x="720" y="168"/>
                  </a:lnTo>
                  <a:lnTo>
                    <a:pt x="716" y="162"/>
                  </a:lnTo>
                  <a:lnTo>
                    <a:pt x="716" y="162"/>
                  </a:lnTo>
                  <a:lnTo>
                    <a:pt x="716" y="158"/>
                  </a:lnTo>
                  <a:lnTo>
                    <a:pt x="716" y="158"/>
                  </a:lnTo>
                  <a:lnTo>
                    <a:pt x="724" y="158"/>
                  </a:lnTo>
                  <a:lnTo>
                    <a:pt x="724" y="154"/>
                  </a:lnTo>
                  <a:lnTo>
                    <a:pt x="724" y="154"/>
                  </a:lnTo>
                  <a:lnTo>
                    <a:pt x="714" y="156"/>
                  </a:lnTo>
                  <a:lnTo>
                    <a:pt x="704" y="154"/>
                  </a:lnTo>
                  <a:lnTo>
                    <a:pt x="704" y="154"/>
                  </a:lnTo>
                  <a:lnTo>
                    <a:pt x="704" y="154"/>
                  </a:lnTo>
                  <a:lnTo>
                    <a:pt x="702" y="150"/>
                  </a:lnTo>
                  <a:lnTo>
                    <a:pt x="700" y="148"/>
                  </a:lnTo>
                  <a:lnTo>
                    <a:pt x="700" y="148"/>
                  </a:lnTo>
                  <a:lnTo>
                    <a:pt x="702" y="148"/>
                  </a:lnTo>
                  <a:lnTo>
                    <a:pt x="702" y="146"/>
                  </a:lnTo>
                  <a:lnTo>
                    <a:pt x="702" y="146"/>
                  </a:lnTo>
                  <a:lnTo>
                    <a:pt x="692" y="140"/>
                  </a:lnTo>
                  <a:lnTo>
                    <a:pt x="692" y="140"/>
                  </a:lnTo>
                  <a:lnTo>
                    <a:pt x="692" y="136"/>
                  </a:lnTo>
                  <a:lnTo>
                    <a:pt x="692" y="136"/>
                  </a:lnTo>
                  <a:lnTo>
                    <a:pt x="698" y="130"/>
                  </a:lnTo>
                  <a:lnTo>
                    <a:pt x="698" y="130"/>
                  </a:lnTo>
                  <a:lnTo>
                    <a:pt x="696" y="126"/>
                  </a:lnTo>
                  <a:lnTo>
                    <a:pt x="696" y="124"/>
                  </a:lnTo>
                  <a:lnTo>
                    <a:pt x="696" y="124"/>
                  </a:lnTo>
                  <a:lnTo>
                    <a:pt x="702" y="118"/>
                  </a:lnTo>
                  <a:lnTo>
                    <a:pt x="708" y="110"/>
                  </a:lnTo>
                  <a:lnTo>
                    <a:pt x="708" y="106"/>
                  </a:lnTo>
                  <a:lnTo>
                    <a:pt x="708" y="106"/>
                  </a:lnTo>
                  <a:lnTo>
                    <a:pt x="714" y="102"/>
                  </a:lnTo>
                  <a:lnTo>
                    <a:pt x="714" y="102"/>
                  </a:lnTo>
                  <a:lnTo>
                    <a:pt x="714" y="96"/>
                  </a:lnTo>
                  <a:lnTo>
                    <a:pt x="714" y="96"/>
                  </a:lnTo>
                  <a:lnTo>
                    <a:pt x="720" y="90"/>
                  </a:lnTo>
                  <a:lnTo>
                    <a:pt x="720" y="88"/>
                  </a:lnTo>
                  <a:lnTo>
                    <a:pt x="720" y="88"/>
                  </a:lnTo>
                  <a:lnTo>
                    <a:pt x="724" y="90"/>
                  </a:lnTo>
                  <a:lnTo>
                    <a:pt x="728" y="90"/>
                  </a:lnTo>
                  <a:lnTo>
                    <a:pt x="728" y="90"/>
                  </a:lnTo>
                  <a:lnTo>
                    <a:pt x="736" y="86"/>
                  </a:lnTo>
                  <a:lnTo>
                    <a:pt x="736" y="86"/>
                  </a:lnTo>
                  <a:lnTo>
                    <a:pt x="740" y="88"/>
                  </a:lnTo>
                  <a:lnTo>
                    <a:pt x="744" y="88"/>
                  </a:lnTo>
                  <a:lnTo>
                    <a:pt x="748" y="86"/>
                  </a:lnTo>
                  <a:lnTo>
                    <a:pt x="748" y="86"/>
                  </a:lnTo>
                  <a:lnTo>
                    <a:pt x="758" y="86"/>
                  </a:lnTo>
                  <a:lnTo>
                    <a:pt x="768" y="86"/>
                  </a:lnTo>
                  <a:lnTo>
                    <a:pt x="768" y="86"/>
                  </a:lnTo>
                  <a:lnTo>
                    <a:pt x="778" y="88"/>
                  </a:lnTo>
                  <a:lnTo>
                    <a:pt x="778" y="88"/>
                  </a:lnTo>
                  <a:lnTo>
                    <a:pt x="778" y="90"/>
                  </a:lnTo>
                  <a:lnTo>
                    <a:pt x="778" y="90"/>
                  </a:lnTo>
                  <a:lnTo>
                    <a:pt x="776" y="90"/>
                  </a:lnTo>
                  <a:lnTo>
                    <a:pt x="776" y="92"/>
                  </a:lnTo>
                  <a:lnTo>
                    <a:pt x="776" y="92"/>
                  </a:lnTo>
                  <a:lnTo>
                    <a:pt x="766" y="94"/>
                  </a:lnTo>
                  <a:lnTo>
                    <a:pt x="756" y="96"/>
                  </a:lnTo>
                  <a:lnTo>
                    <a:pt x="748" y="100"/>
                  </a:lnTo>
                  <a:lnTo>
                    <a:pt x="746" y="104"/>
                  </a:lnTo>
                  <a:lnTo>
                    <a:pt x="744" y="108"/>
                  </a:lnTo>
                  <a:lnTo>
                    <a:pt x="744" y="108"/>
                  </a:lnTo>
                  <a:lnTo>
                    <a:pt x="742" y="124"/>
                  </a:lnTo>
                  <a:lnTo>
                    <a:pt x="744" y="132"/>
                  </a:lnTo>
                  <a:lnTo>
                    <a:pt x="746" y="138"/>
                  </a:lnTo>
                  <a:lnTo>
                    <a:pt x="746" y="138"/>
                  </a:lnTo>
                  <a:lnTo>
                    <a:pt x="748" y="140"/>
                  </a:lnTo>
                  <a:lnTo>
                    <a:pt x="752" y="142"/>
                  </a:lnTo>
                  <a:lnTo>
                    <a:pt x="752" y="142"/>
                  </a:lnTo>
                  <a:lnTo>
                    <a:pt x="754" y="148"/>
                  </a:lnTo>
                  <a:lnTo>
                    <a:pt x="754" y="148"/>
                  </a:lnTo>
                  <a:lnTo>
                    <a:pt x="750" y="148"/>
                  </a:lnTo>
                  <a:lnTo>
                    <a:pt x="750" y="148"/>
                  </a:lnTo>
                  <a:lnTo>
                    <a:pt x="746" y="150"/>
                  </a:lnTo>
                  <a:lnTo>
                    <a:pt x="742" y="154"/>
                  </a:lnTo>
                  <a:lnTo>
                    <a:pt x="742" y="154"/>
                  </a:lnTo>
                  <a:lnTo>
                    <a:pt x="752" y="152"/>
                  </a:lnTo>
                  <a:lnTo>
                    <a:pt x="762" y="154"/>
                  </a:lnTo>
                  <a:lnTo>
                    <a:pt x="762" y="154"/>
                  </a:lnTo>
                  <a:lnTo>
                    <a:pt x="760" y="144"/>
                  </a:lnTo>
                  <a:lnTo>
                    <a:pt x="760" y="144"/>
                  </a:lnTo>
                  <a:lnTo>
                    <a:pt x="764" y="140"/>
                  </a:lnTo>
                  <a:lnTo>
                    <a:pt x="762" y="138"/>
                  </a:lnTo>
                  <a:lnTo>
                    <a:pt x="760" y="136"/>
                  </a:lnTo>
                  <a:lnTo>
                    <a:pt x="754" y="134"/>
                  </a:lnTo>
                  <a:lnTo>
                    <a:pt x="754" y="134"/>
                  </a:lnTo>
                  <a:lnTo>
                    <a:pt x="754" y="128"/>
                  </a:lnTo>
                  <a:lnTo>
                    <a:pt x="754" y="128"/>
                  </a:lnTo>
                  <a:lnTo>
                    <a:pt x="762" y="128"/>
                  </a:lnTo>
                  <a:lnTo>
                    <a:pt x="768" y="132"/>
                  </a:lnTo>
                  <a:lnTo>
                    <a:pt x="768" y="132"/>
                  </a:lnTo>
                  <a:lnTo>
                    <a:pt x="768" y="126"/>
                  </a:lnTo>
                  <a:lnTo>
                    <a:pt x="768" y="122"/>
                  </a:lnTo>
                  <a:lnTo>
                    <a:pt x="768" y="122"/>
                  </a:lnTo>
                  <a:lnTo>
                    <a:pt x="766" y="122"/>
                  </a:lnTo>
                  <a:lnTo>
                    <a:pt x="764" y="122"/>
                  </a:lnTo>
                  <a:lnTo>
                    <a:pt x="758" y="122"/>
                  </a:lnTo>
                  <a:lnTo>
                    <a:pt x="758" y="122"/>
                  </a:lnTo>
                  <a:lnTo>
                    <a:pt x="756" y="120"/>
                  </a:lnTo>
                  <a:lnTo>
                    <a:pt x="756" y="120"/>
                  </a:lnTo>
                  <a:lnTo>
                    <a:pt x="756" y="110"/>
                  </a:lnTo>
                  <a:lnTo>
                    <a:pt x="756" y="110"/>
                  </a:lnTo>
                  <a:lnTo>
                    <a:pt x="756" y="108"/>
                  </a:lnTo>
                  <a:lnTo>
                    <a:pt x="760" y="106"/>
                  </a:lnTo>
                  <a:lnTo>
                    <a:pt x="760" y="106"/>
                  </a:lnTo>
                  <a:lnTo>
                    <a:pt x="762" y="108"/>
                  </a:lnTo>
                  <a:lnTo>
                    <a:pt x="766" y="108"/>
                  </a:lnTo>
                  <a:lnTo>
                    <a:pt x="766" y="108"/>
                  </a:lnTo>
                  <a:lnTo>
                    <a:pt x="766" y="106"/>
                  </a:lnTo>
                  <a:lnTo>
                    <a:pt x="766" y="106"/>
                  </a:lnTo>
                  <a:lnTo>
                    <a:pt x="764" y="106"/>
                  </a:lnTo>
                  <a:lnTo>
                    <a:pt x="764" y="106"/>
                  </a:lnTo>
                  <a:lnTo>
                    <a:pt x="766" y="102"/>
                  </a:lnTo>
                  <a:lnTo>
                    <a:pt x="766" y="102"/>
                  </a:lnTo>
                  <a:lnTo>
                    <a:pt x="766" y="100"/>
                  </a:lnTo>
                  <a:lnTo>
                    <a:pt x="766" y="100"/>
                  </a:lnTo>
                  <a:lnTo>
                    <a:pt x="764" y="100"/>
                  </a:lnTo>
                  <a:lnTo>
                    <a:pt x="764" y="100"/>
                  </a:lnTo>
                  <a:lnTo>
                    <a:pt x="764" y="100"/>
                  </a:lnTo>
                  <a:lnTo>
                    <a:pt x="770" y="98"/>
                  </a:lnTo>
                  <a:lnTo>
                    <a:pt x="772" y="98"/>
                  </a:lnTo>
                  <a:lnTo>
                    <a:pt x="772" y="98"/>
                  </a:lnTo>
                  <a:lnTo>
                    <a:pt x="772" y="96"/>
                  </a:lnTo>
                  <a:lnTo>
                    <a:pt x="782" y="94"/>
                  </a:lnTo>
                  <a:lnTo>
                    <a:pt x="782" y="94"/>
                  </a:lnTo>
                  <a:lnTo>
                    <a:pt x="782" y="92"/>
                  </a:lnTo>
                  <a:lnTo>
                    <a:pt x="782" y="90"/>
                  </a:lnTo>
                  <a:lnTo>
                    <a:pt x="782" y="90"/>
                  </a:lnTo>
                  <a:lnTo>
                    <a:pt x="788" y="90"/>
                  </a:lnTo>
                  <a:lnTo>
                    <a:pt x="788" y="90"/>
                  </a:lnTo>
                  <a:lnTo>
                    <a:pt x="792" y="86"/>
                  </a:lnTo>
                  <a:lnTo>
                    <a:pt x="792" y="86"/>
                  </a:lnTo>
                  <a:lnTo>
                    <a:pt x="792" y="86"/>
                  </a:lnTo>
                  <a:lnTo>
                    <a:pt x="798" y="86"/>
                  </a:lnTo>
                  <a:lnTo>
                    <a:pt x="804" y="88"/>
                  </a:lnTo>
                  <a:lnTo>
                    <a:pt x="804" y="88"/>
                  </a:lnTo>
                  <a:lnTo>
                    <a:pt x="808" y="90"/>
                  </a:lnTo>
                  <a:lnTo>
                    <a:pt x="810" y="92"/>
                  </a:lnTo>
                  <a:lnTo>
                    <a:pt x="806" y="100"/>
                  </a:lnTo>
                  <a:lnTo>
                    <a:pt x="806" y="100"/>
                  </a:lnTo>
                  <a:lnTo>
                    <a:pt x="806" y="102"/>
                  </a:lnTo>
                  <a:lnTo>
                    <a:pt x="808" y="102"/>
                  </a:lnTo>
                  <a:lnTo>
                    <a:pt x="808" y="102"/>
                  </a:lnTo>
                  <a:lnTo>
                    <a:pt x="808" y="104"/>
                  </a:lnTo>
                  <a:lnTo>
                    <a:pt x="808" y="104"/>
                  </a:lnTo>
                  <a:lnTo>
                    <a:pt x="804" y="106"/>
                  </a:lnTo>
                  <a:lnTo>
                    <a:pt x="804" y="110"/>
                  </a:lnTo>
                  <a:lnTo>
                    <a:pt x="804" y="114"/>
                  </a:lnTo>
                  <a:lnTo>
                    <a:pt x="806" y="114"/>
                  </a:lnTo>
                  <a:lnTo>
                    <a:pt x="806" y="114"/>
                  </a:lnTo>
                  <a:lnTo>
                    <a:pt x="808" y="116"/>
                  </a:lnTo>
                  <a:lnTo>
                    <a:pt x="808" y="118"/>
                  </a:lnTo>
                  <a:lnTo>
                    <a:pt x="810" y="118"/>
                  </a:lnTo>
                  <a:lnTo>
                    <a:pt x="810" y="118"/>
                  </a:lnTo>
                  <a:lnTo>
                    <a:pt x="808" y="124"/>
                  </a:lnTo>
                  <a:lnTo>
                    <a:pt x="808" y="126"/>
                  </a:lnTo>
                  <a:lnTo>
                    <a:pt x="808" y="126"/>
                  </a:lnTo>
                  <a:lnTo>
                    <a:pt x="812" y="126"/>
                  </a:lnTo>
                  <a:lnTo>
                    <a:pt x="812" y="128"/>
                  </a:lnTo>
                  <a:lnTo>
                    <a:pt x="812" y="130"/>
                  </a:lnTo>
                  <a:lnTo>
                    <a:pt x="812" y="130"/>
                  </a:lnTo>
                  <a:lnTo>
                    <a:pt x="810" y="132"/>
                  </a:lnTo>
                  <a:lnTo>
                    <a:pt x="810" y="136"/>
                  </a:lnTo>
                  <a:lnTo>
                    <a:pt x="810" y="136"/>
                  </a:lnTo>
                  <a:lnTo>
                    <a:pt x="804" y="136"/>
                  </a:lnTo>
                  <a:lnTo>
                    <a:pt x="804" y="138"/>
                  </a:lnTo>
                  <a:lnTo>
                    <a:pt x="804" y="138"/>
                  </a:lnTo>
                  <a:lnTo>
                    <a:pt x="810" y="140"/>
                  </a:lnTo>
                  <a:lnTo>
                    <a:pt x="816" y="140"/>
                  </a:lnTo>
                  <a:lnTo>
                    <a:pt x="816" y="140"/>
                  </a:lnTo>
                  <a:lnTo>
                    <a:pt x="818" y="136"/>
                  </a:lnTo>
                  <a:lnTo>
                    <a:pt x="818" y="136"/>
                  </a:lnTo>
                  <a:lnTo>
                    <a:pt x="814" y="132"/>
                  </a:lnTo>
                  <a:lnTo>
                    <a:pt x="814" y="132"/>
                  </a:lnTo>
                  <a:lnTo>
                    <a:pt x="818" y="128"/>
                  </a:lnTo>
                  <a:lnTo>
                    <a:pt x="822" y="124"/>
                  </a:lnTo>
                  <a:lnTo>
                    <a:pt x="824" y="122"/>
                  </a:lnTo>
                  <a:lnTo>
                    <a:pt x="824" y="122"/>
                  </a:lnTo>
                  <a:lnTo>
                    <a:pt x="826" y="124"/>
                  </a:lnTo>
                  <a:lnTo>
                    <a:pt x="828" y="124"/>
                  </a:lnTo>
                  <a:lnTo>
                    <a:pt x="828" y="126"/>
                  </a:lnTo>
                  <a:lnTo>
                    <a:pt x="826" y="126"/>
                  </a:lnTo>
                  <a:lnTo>
                    <a:pt x="828" y="130"/>
                  </a:lnTo>
                  <a:lnTo>
                    <a:pt x="828" y="130"/>
                  </a:lnTo>
                  <a:lnTo>
                    <a:pt x="836" y="126"/>
                  </a:lnTo>
                  <a:lnTo>
                    <a:pt x="838" y="128"/>
                  </a:lnTo>
                  <a:lnTo>
                    <a:pt x="836" y="136"/>
                  </a:lnTo>
                  <a:lnTo>
                    <a:pt x="836" y="136"/>
                  </a:lnTo>
                  <a:lnTo>
                    <a:pt x="836" y="138"/>
                  </a:lnTo>
                  <a:lnTo>
                    <a:pt x="836" y="138"/>
                  </a:lnTo>
                  <a:lnTo>
                    <a:pt x="836" y="140"/>
                  </a:lnTo>
                  <a:lnTo>
                    <a:pt x="836" y="140"/>
                  </a:lnTo>
                  <a:lnTo>
                    <a:pt x="836" y="140"/>
                  </a:lnTo>
                  <a:lnTo>
                    <a:pt x="836" y="140"/>
                  </a:lnTo>
                  <a:lnTo>
                    <a:pt x="838" y="140"/>
                  </a:lnTo>
                  <a:lnTo>
                    <a:pt x="838" y="140"/>
                  </a:lnTo>
                  <a:lnTo>
                    <a:pt x="840" y="140"/>
                  </a:lnTo>
                  <a:lnTo>
                    <a:pt x="840" y="140"/>
                  </a:lnTo>
                  <a:lnTo>
                    <a:pt x="840" y="138"/>
                  </a:lnTo>
                  <a:lnTo>
                    <a:pt x="838" y="138"/>
                  </a:lnTo>
                  <a:lnTo>
                    <a:pt x="838" y="138"/>
                  </a:lnTo>
                  <a:lnTo>
                    <a:pt x="838" y="136"/>
                  </a:lnTo>
                  <a:lnTo>
                    <a:pt x="838" y="134"/>
                  </a:lnTo>
                  <a:lnTo>
                    <a:pt x="838" y="136"/>
                  </a:lnTo>
                  <a:lnTo>
                    <a:pt x="838" y="136"/>
                  </a:lnTo>
                  <a:lnTo>
                    <a:pt x="840" y="132"/>
                  </a:lnTo>
                  <a:lnTo>
                    <a:pt x="840" y="132"/>
                  </a:lnTo>
                  <a:lnTo>
                    <a:pt x="844" y="132"/>
                  </a:lnTo>
                  <a:lnTo>
                    <a:pt x="844" y="132"/>
                  </a:lnTo>
                  <a:lnTo>
                    <a:pt x="844" y="130"/>
                  </a:lnTo>
                  <a:lnTo>
                    <a:pt x="842" y="128"/>
                  </a:lnTo>
                  <a:lnTo>
                    <a:pt x="842" y="124"/>
                  </a:lnTo>
                  <a:lnTo>
                    <a:pt x="842" y="124"/>
                  </a:lnTo>
                  <a:lnTo>
                    <a:pt x="848" y="124"/>
                  </a:lnTo>
                  <a:lnTo>
                    <a:pt x="848" y="124"/>
                  </a:lnTo>
                  <a:lnTo>
                    <a:pt x="850" y="126"/>
                  </a:lnTo>
                  <a:lnTo>
                    <a:pt x="854" y="128"/>
                  </a:lnTo>
                  <a:lnTo>
                    <a:pt x="854" y="128"/>
                  </a:lnTo>
                  <a:lnTo>
                    <a:pt x="858" y="128"/>
                  </a:lnTo>
                  <a:lnTo>
                    <a:pt x="858" y="128"/>
                  </a:lnTo>
                  <a:lnTo>
                    <a:pt x="860" y="128"/>
                  </a:lnTo>
                  <a:lnTo>
                    <a:pt x="860" y="130"/>
                  </a:lnTo>
                  <a:lnTo>
                    <a:pt x="860" y="130"/>
                  </a:lnTo>
                  <a:lnTo>
                    <a:pt x="862" y="128"/>
                  </a:lnTo>
                  <a:lnTo>
                    <a:pt x="862" y="128"/>
                  </a:lnTo>
                  <a:lnTo>
                    <a:pt x="858" y="126"/>
                  </a:lnTo>
                  <a:lnTo>
                    <a:pt x="850" y="122"/>
                  </a:lnTo>
                  <a:lnTo>
                    <a:pt x="850" y="122"/>
                  </a:lnTo>
                  <a:lnTo>
                    <a:pt x="846" y="120"/>
                  </a:lnTo>
                  <a:lnTo>
                    <a:pt x="844" y="116"/>
                  </a:lnTo>
                  <a:lnTo>
                    <a:pt x="846" y="114"/>
                  </a:lnTo>
                  <a:lnTo>
                    <a:pt x="852" y="112"/>
                  </a:lnTo>
                  <a:lnTo>
                    <a:pt x="852" y="112"/>
                  </a:lnTo>
                  <a:lnTo>
                    <a:pt x="858" y="112"/>
                  </a:lnTo>
                  <a:lnTo>
                    <a:pt x="864" y="112"/>
                  </a:lnTo>
                  <a:lnTo>
                    <a:pt x="864" y="112"/>
                  </a:lnTo>
                  <a:lnTo>
                    <a:pt x="866" y="116"/>
                  </a:lnTo>
                  <a:lnTo>
                    <a:pt x="866" y="116"/>
                  </a:lnTo>
                  <a:lnTo>
                    <a:pt x="876" y="118"/>
                  </a:lnTo>
                  <a:lnTo>
                    <a:pt x="876" y="118"/>
                  </a:lnTo>
                  <a:lnTo>
                    <a:pt x="880" y="120"/>
                  </a:lnTo>
                  <a:lnTo>
                    <a:pt x="884" y="122"/>
                  </a:lnTo>
                  <a:lnTo>
                    <a:pt x="884" y="122"/>
                  </a:lnTo>
                  <a:lnTo>
                    <a:pt x="888" y="120"/>
                  </a:lnTo>
                  <a:lnTo>
                    <a:pt x="892" y="118"/>
                  </a:lnTo>
                  <a:lnTo>
                    <a:pt x="892" y="118"/>
                  </a:lnTo>
                  <a:lnTo>
                    <a:pt x="896" y="120"/>
                  </a:lnTo>
                  <a:lnTo>
                    <a:pt x="896" y="120"/>
                  </a:lnTo>
                  <a:lnTo>
                    <a:pt x="904" y="118"/>
                  </a:lnTo>
                  <a:lnTo>
                    <a:pt x="904" y="118"/>
                  </a:lnTo>
                  <a:lnTo>
                    <a:pt x="908" y="124"/>
                  </a:lnTo>
                  <a:lnTo>
                    <a:pt x="908" y="124"/>
                  </a:lnTo>
                  <a:lnTo>
                    <a:pt x="908" y="124"/>
                  </a:lnTo>
                  <a:lnTo>
                    <a:pt x="908" y="130"/>
                  </a:lnTo>
                  <a:lnTo>
                    <a:pt x="908" y="130"/>
                  </a:lnTo>
                  <a:lnTo>
                    <a:pt x="904" y="130"/>
                  </a:lnTo>
                  <a:lnTo>
                    <a:pt x="904" y="130"/>
                  </a:lnTo>
                  <a:lnTo>
                    <a:pt x="910" y="130"/>
                  </a:lnTo>
                  <a:lnTo>
                    <a:pt x="912" y="132"/>
                  </a:lnTo>
                  <a:lnTo>
                    <a:pt x="914" y="142"/>
                  </a:lnTo>
                  <a:lnTo>
                    <a:pt x="914" y="142"/>
                  </a:lnTo>
                  <a:lnTo>
                    <a:pt x="906" y="144"/>
                  </a:lnTo>
                  <a:lnTo>
                    <a:pt x="906" y="144"/>
                  </a:lnTo>
                  <a:lnTo>
                    <a:pt x="906" y="146"/>
                  </a:lnTo>
                  <a:lnTo>
                    <a:pt x="906" y="148"/>
                  </a:lnTo>
                  <a:lnTo>
                    <a:pt x="906" y="148"/>
                  </a:lnTo>
                  <a:lnTo>
                    <a:pt x="910" y="148"/>
                  </a:lnTo>
                  <a:lnTo>
                    <a:pt x="910" y="148"/>
                  </a:lnTo>
                  <a:lnTo>
                    <a:pt x="910" y="150"/>
                  </a:lnTo>
                  <a:lnTo>
                    <a:pt x="910" y="150"/>
                  </a:lnTo>
                  <a:lnTo>
                    <a:pt x="910" y="150"/>
                  </a:lnTo>
                  <a:lnTo>
                    <a:pt x="910" y="150"/>
                  </a:lnTo>
                  <a:lnTo>
                    <a:pt x="908" y="152"/>
                  </a:lnTo>
                  <a:lnTo>
                    <a:pt x="908" y="152"/>
                  </a:lnTo>
                  <a:lnTo>
                    <a:pt x="910" y="154"/>
                  </a:lnTo>
                  <a:lnTo>
                    <a:pt x="910" y="154"/>
                  </a:lnTo>
                  <a:lnTo>
                    <a:pt x="914" y="154"/>
                  </a:lnTo>
                  <a:lnTo>
                    <a:pt x="914" y="154"/>
                  </a:lnTo>
                  <a:lnTo>
                    <a:pt x="916" y="148"/>
                  </a:lnTo>
                  <a:lnTo>
                    <a:pt x="916" y="148"/>
                  </a:lnTo>
                  <a:lnTo>
                    <a:pt x="918" y="144"/>
                  </a:lnTo>
                  <a:lnTo>
                    <a:pt x="920" y="146"/>
                  </a:lnTo>
                  <a:lnTo>
                    <a:pt x="922" y="156"/>
                  </a:lnTo>
                  <a:lnTo>
                    <a:pt x="922" y="156"/>
                  </a:lnTo>
                  <a:lnTo>
                    <a:pt x="924" y="152"/>
                  </a:lnTo>
                  <a:lnTo>
                    <a:pt x="924" y="152"/>
                  </a:lnTo>
                  <a:lnTo>
                    <a:pt x="926" y="154"/>
                  </a:lnTo>
                  <a:lnTo>
                    <a:pt x="928" y="154"/>
                  </a:lnTo>
                  <a:lnTo>
                    <a:pt x="928" y="154"/>
                  </a:lnTo>
                  <a:lnTo>
                    <a:pt x="928" y="156"/>
                  </a:lnTo>
                  <a:lnTo>
                    <a:pt x="928" y="156"/>
                  </a:lnTo>
                  <a:lnTo>
                    <a:pt x="930" y="156"/>
                  </a:lnTo>
                  <a:lnTo>
                    <a:pt x="930" y="156"/>
                  </a:lnTo>
                  <a:lnTo>
                    <a:pt x="930" y="150"/>
                  </a:lnTo>
                  <a:lnTo>
                    <a:pt x="930" y="146"/>
                  </a:lnTo>
                  <a:lnTo>
                    <a:pt x="934" y="146"/>
                  </a:lnTo>
                  <a:lnTo>
                    <a:pt x="934" y="146"/>
                  </a:lnTo>
                  <a:lnTo>
                    <a:pt x="936" y="146"/>
                  </a:lnTo>
                  <a:lnTo>
                    <a:pt x="936" y="146"/>
                  </a:lnTo>
                  <a:lnTo>
                    <a:pt x="936" y="146"/>
                  </a:lnTo>
                  <a:lnTo>
                    <a:pt x="938" y="150"/>
                  </a:lnTo>
                  <a:lnTo>
                    <a:pt x="940" y="152"/>
                  </a:lnTo>
                  <a:lnTo>
                    <a:pt x="940" y="152"/>
                  </a:lnTo>
                  <a:lnTo>
                    <a:pt x="946" y="154"/>
                  </a:lnTo>
                  <a:lnTo>
                    <a:pt x="946" y="154"/>
                  </a:lnTo>
                  <a:lnTo>
                    <a:pt x="946" y="154"/>
                  </a:lnTo>
                  <a:lnTo>
                    <a:pt x="948" y="154"/>
                  </a:lnTo>
                  <a:lnTo>
                    <a:pt x="948" y="156"/>
                  </a:lnTo>
                  <a:lnTo>
                    <a:pt x="948" y="156"/>
                  </a:lnTo>
                  <a:lnTo>
                    <a:pt x="942" y="158"/>
                  </a:lnTo>
                  <a:lnTo>
                    <a:pt x="942" y="158"/>
                  </a:lnTo>
                  <a:lnTo>
                    <a:pt x="940" y="162"/>
                  </a:lnTo>
                  <a:lnTo>
                    <a:pt x="946" y="162"/>
                  </a:lnTo>
                  <a:lnTo>
                    <a:pt x="946" y="162"/>
                  </a:lnTo>
                  <a:lnTo>
                    <a:pt x="948" y="160"/>
                  </a:lnTo>
                  <a:lnTo>
                    <a:pt x="950" y="160"/>
                  </a:lnTo>
                  <a:lnTo>
                    <a:pt x="950" y="160"/>
                  </a:lnTo>
                  <a:lnTo>
                    <a:pt x="948" y="156"/>
                  </a:lnTo>
                  <a:lnTo>
                    <a:pt x="950" y="156"/>
                  </a:lnTo>
                  <a:lnTo>
                    <a:pt x="950" y="156"/>
                  </a:lnTo>
                  <a:lnTo>
                    <a:pt x="950" y="156"/>
                  </a:lnTo>
                  <a:lnTo>
                    <a:pt x="952" y="156"/>
                  </a:lnTo>
                  <a:lnTo>
                    <a:pt x="952" y="156"/>
                  </a:lnTo>
                  <a:lnTo>
                    <a:pt x="950" y="158"/>
                  </a:lnTo>
                  <a:lnTo>
                    <a:pt x="950" y="158"/>
                  </a:lnTo>
                  <a:lnTo>
                    <a:pt x="954" y="158"/>
                  </a:lnTo>
                  <a:lnTo>
                    <a:pt x="954" y="158"/>
                  </a:lnTo>
                  <a:lnTo>
                    <a:pt x="956" y="156"/>
                  </a:lnTo>
                  <a:lnTo>
                    <a:pt x="958" y="162"/>
                  </a:lnTo>
                  <a:lnTo>
                    <a:pt x="958" y="162"/>
                  </a:lnTo>
                  <a:lnTo>
                    <a:pt x="954" y="164"/>
                  </a:lnTo>
                  <a:lnTo>
                    <a:pt x="954" y="164"/>
                  </a:lnTo>
                  <a:lnTo>
                    <a:pt x="952" y="164"/>
                  </a:lnTo>
                  <a:lnTo>
                    <a:pt x="952" y="164"/>
                  </a:lnTo>
                  <a:lnTo>
                    <a:pt x="952" y="170"/>
                  </a:lnTo>
                  <a:lnTo>
                    <a:pt x="954" y="170"/>
                  </a:lnTo>
                  <a:lnTo>
                    <a:pt x="954" y="168"/>
                  </a:lnTo>
                  <a:lnTo>
                    <a:pt x="954" y="168"/>
                  </a:lnTo>
                  <a:lnTo>
                    <a:pt x="954" y="164"/>
                  </a:lnTo>
                  <a:lnTo>
                    <a:pt x="958" y="164"/>
                  </a:lnTo>
                  <a:lnTo>
                    <a:pt x="964" y="164"/>
                  </a:lnTo>
                  <a:lnTo>
                    <a:pt x="964" y="164"/>
                  </a:lnTo>
                  <a:lnTo>
                    <a:pt x="962" y="168"/>
                  </a:lnTo>
                  <a:lnTo>
                    <a:pt x="962" y="168"/>
                  </a:lnTo>
                  <a:lnTo>
                    <a:pt x="960" y="168"/>
                  </a:lnTo>
                  <a:lnTo>
                    <a:pt x="960" y="168"/>
                  </a:lnTo>
                  <a:lnTo>
                    <a:pt x="962" y="168"/>
                  </a:lnTo>
                  <a:lnTo>
                    <a:pt x="962" y="168"/>
                  </a:lnTo>
                  <a:lnTo>
                    <a:pt x="966" y="164"/>
                  </a:lnTo>
                  <a:lnTo>
                    <a:pt x="966" y="164"/>
                  </a:lnTo>
                  <a:lnTo>
                    <a:pt x="972" y="164"/>
                  </a:lnTo>
                  <a:lnTo>
                    <a:pt x="972" y="164"/>
                  </a:lnTo>
                  <a:lnTo>
                    <a:pt x="974" y="170"/>
                  </a:lnTo>
                  <a:lnTo>
                    <a:pt x="974" y="170"/>
                  </a:lnTo>
                  <a:lnTo>
                    <a:pt x="978" y="170"/>
                  </a:lnTo>
                  <a:lnTo>
                    <a:pt x="982" y="170"/>
                  </a:lnTo>
                  <a:lnTo>
                    <a:pt x="982" y="170"/>
                  </a:lnTo>
                  <a:lnTo>
                    <a:pt x="982" y="174"/>
                  </a:lnTo>
                  <a:lnTo>
                    <a:pt x="982" y="174"/>
                  </a:lnTo>
                  <a:lnTo>
                    <a:pt x="976" y="172"/>
                  </a:lnTo>
                  <a:lnTo>
                    <a:pt x="976" y="172"/>
                  </a:lnTo>
                  <a:lnTo>
                    <a:pt x="976" y="176"/>
                  </a:lnTo>
                  <a:lnTo>
                    <a:pt x="976" y="176"/>
                  </a:lnTo>
                  <a:lnTo>
                    <a:pt x="972" y="176"/>
                  </a:lnTo>
                  <a:lnTo>
                    <a:pt x="972" y="176"/>
                  </a:lnTo>
                  <a:lnTo>
                    <a:pt x="970" y="178"/>
                  </a:lnTo>
                  <a:lnTo>
                    <a:pt x="970" y="178"/>
                  </a:lnTo>
                  <a:lnTo>
                    <a:pt x="976" y="178"/>
                  </a:lnTo>
                  <a:lnTo>
                    <a:pt x="976" y="178"/>
                  </a:lnTo>
                  <a:lnTo>
                    <a:pt x="978" y="180"/>
                  </a:lnTo>
                  <a:lnTo>
                    <a:pt x="978" y="182"/>
                  </a:lnTo>
                  <a:lnTo>
                    <a:pt x="978" y="182"/>
                  </a:lnTo>
                  <a:lnTo>
                    <a:pt x="980" y="182"/>
                  </a:lnTo>
                  <a:lnTo>
                    <a:pt x="980" y="182"/>
                  </a:lnTo>
                  <a:lnTo>
                    <a:pt x="986" y="176"/>
                  </a:lnTo>
                  <a:lnTo>
                    <a:pt x="986" y="176"/>
                  </a:lnTo>
                  <a:lnTo>
                    <a:pt x="986" y="174"/>
                  </a:lnTo>
                  <a:lnTo>
                    <a:pt x="986" y="174"/>
                  </a:lnTo>
                  <a:lnTo>
                    <a:pt x="988" y="174"/>
                  </a:lnTo>
                  <a:lnTo>
                    <a:pt x="988" y="174"/>
                  </a:lnTo>
                  <a:lnTo>
                    <a:pt x="990" y="178"/>
                  </a:lnTo>
                  <a:lnTo>
                    <a:pt x="990" y="178"/>
                  </a:lnTo>
                  <a:lnTo>
                    <a:pt x="994" y="180"/>
                  </a:lnTo>
                  <a:lnTo>
                    <a:pt x="994" y="180"/>
                  </a:lnTo>
                  <a:lnTo>
                    <a:pt x="994" y="184"/>
                  </a:lnTo>
                  <a:lnTo>
                    <a:pt x="994" y="188"/>
                  </a:lnTo>
                  <a:lnTo>
                    <a:pt x="994" y="188"/>
                  </a:lnTo>
                  <a:lnTo>
                    <a:pt x="988" y="188"/>
                  </a:lnTo>
                  <a:lnTo>
                    <a:pt x="988" y="188"/>
                  </a:lnTo>
                  <a:lnTo>
                    <a:pt x="986" y="192"/>
                  </a:lnTo>
                  <a:lnTo>
                    <a:pt x="986" y="192"/>
                  </a:lnTo>
                  <a:lnTo>
                    <a:pt x="982" y="192"/>
                  </a:lnTo>
                  <a:lnTo>
                    <a:pt x="978" y="192"/>
                  </a:lnTo>
                  <a:lnTo>
                    <a:pt x="978" y="192"/>
                  </a:lnTo>
                  <a:lnTo>
                    <a:pt x="984" y="196"/>
                  </a:lnTo>
                  <a:lnTo>
                    <a:pt x="984" y="198"/>
                  </a:lnTo>
                  <a:lnTo>
                    <a:pt x="984" y="198"/>
                  </a:lnTo>
                  <a:lnTo>
                    <a:pt x="990" y="198"/>
                  </a:lnTo>
                  <a:lnTo>
                    <a:pt x="990" y="198"/>
                  </a:lnTo>
                  <a:lnTo>
                    <a:pt x="998" y="202"/>
                  </a:lnTo>
                  <a:lnTo>
                    <a:pt x="1000" y="204"/>
                  </a:lnTo>
                  <a:lnTo>
                    <a:pt x="1000" y="204"/>
                  </a:lnTo>
                  <a:lnTo>
                    <a:pt x="998" y="206"/>
                  </a:lnTo>
                  <a:lnTo>
                    <a:pt x="998" y="206"/>
                  </a:lnTo>
                  <a:lnTo>
                    <a:pt x="988" y="206"/>
                  </a:lnTo>
                  <a:lnTo>
                    <a:pt x="986" y="204"/>
                  </a:lnTo>
                  <a:lnTo>
                    <a:pt x="986" y="204"/>
                  </a:lnTo>
                  <a:lnTo>
                    <a:pt x="984" y="204"/>
                  </a:lnTo>
                  <a:lnTo>
                    <a:pt x="986" y="204"/>
                  </a:lnTo>
                  <a:lnTo>
                    <a:pt x="986" y="208"/>
                  </a:lnTo>
                  <a:lnTo>
                    <a:pt x="986" y="208"/>
                  </a:lnTo>
                  <a:lnTo>
                    <a:pt x="992" y="212"/>
                  </a:lnTo>
                  <a:lnTo>
                    <a:pt x="992" y="214"/>
                  </a:lnTo>
                  <a:lnTo>
                    <a:pt x="992" y="214"/>
                  </a:lnTo>
                  <a:lnTo>
                    <a:pt x="988" y="214"/>
                  </a:lnTo>
                  <a:lnTo>
                    <a:pt x="988" y="214"/>
                  </a:lnTo>
                  <a:lnTo>
                    <a:pt x="988" y="218"/>
                  </a:lnTo>
                  <a:lnTo>
                    <a:pt x="988" y="218"/>
                  </a:lnTo>
                  <a:lnTo>
                    <a:pt x="978" y="218"/>
                  </a:lnTo>
                  <a:lnTo>
                    <a:pt x="978" y="220"/>
                  </a:lnTo>
                  <a:lnTo>
                    <a:pt x="978" y="220"/>
                  </a:lnTo>
                  <a:lnTo>
                    <a:pt x="980" y="220"/>
                  </a:lnTo>
                  <a:lnTo>
                    <a:pt x="984" y="222"/>
                  </a:lnTo>
                  <a:lnTo>
                    <a:pt x="984" y="222"/>
                  </a:lnTo>
                  <a:lnTo>
                    <a:pt x="982" y="224"/>
                  </a:lnTo>
                  <a:lnTo>
                    <a:pt x="982" y="224"/>
                  </a:lnTo>
                  <a:lnTo>
                    <a:pt x="984" y="224"/>
                  </a:lnTo>
                  <a:lnTo>
                    <a:pt x="984" y="224"/>
                  </a:lnTo>
                  <a:lnTo>
                    <a:pt x="990" y="226"/>
                  </a:lnTo>
                  <a:lnTo>
                    <a:pt x="994" y="226"/>
                  </a:lnTo>
                  <a:lnTo>
                    <a:pt x="994" y="226"/>
                  </a:lnTo>
                  <a:lnTo>
                    <a:pt x="994" y="232"/>
                  </a:lnTo>
                  <a:lnTo>
                    <a:pt x="994" y="232"/>
                  </a:lnTo>
                  <a:lnTo>
                    <a:pt x="996" y="230"/>
                  </a:lnTo>
                  <a:lnTo>
                    <a:pt x="996" y="228"/>
                  </a:lnTo>
                  <a:lnTo>
                    <a:pt x="996" y="228"/>
                  </a:lnTo>
                  <a:lnTo>
                    <a:pt x="1002" y="230"/>
                  </a:lnTo>
                  <a:lnTo>
                    <a:pt x="998" y="236"/>
                  </a:lnTo>
                  <a:lnTo>
                    <a:pt x="998" y="236"/>
                  </a:lnTo>
                  <a:lnTo>
                    <a:pt x="1004" y="234"/>
                  </a:lnTo>
                  <a:lnTo>
                    <a:pt x="1004" y="234"/>
                  </a:lnTo>
                  <a:lnTo>
                    <a:pt x="1004" y="238"/>
                  </a:lnTo>
                  <a:lnTo>
                    <a:pt x="1004" y="238"/>
                  </a:lnTo>
                  <a:lnTo>
                    <a:pt x="1006" y="238"/>
                  </a:lnTo>
                  <a:lnTo>
                    <a:pt x="1006" y="238"/>
                  </a:lnTo>
                  <a:lnTo>
                    <a:pt x="1006" y="240"/>
                  </a:lnTo>
                  <a:lnTo>
                    <a:pt x="1006" y="240"/>
                  </a:lnTo>
                  <a:lnTo>
                    <a:pt x="1008" y="240"/>
                  </a:lnTo>
                  <a:lnTo>
                    <a:pt x="1008" y="238"/>
                  </a:lnTo>
                  <a:lnTo>
                    <a:pt x="1008" y="238"/>
                  </a:lnTo>
                  <a:lnTo>
                    <a:pt x="1010" y="238"/>
                  </a:lnTo>
                  <a:lnTo>
                    <a:pt x="1010" y="238"/>
                  </a:lnTo>
                  <a:lnTo>
                    <a:pt x="1010" y="240"/>
                  </a:lnTo>
                  <a:lnTo>
                    <a:pt x="1010" y="240"/>
                  </a:lnTo>
                  <a:lnTo>
                    <a:pt x="1008" y="248"/>
                  </a:lnTo>
                  <a:lnTo>
                    <a:pt x="1008" y="248"/>
                  </a:lnTo>
                  <a:lnTo>
                    <a:pt x="1010" y="248"/>
                  </a:lnTo>
                  <a:lnTo>
                    <a:pt x="1010" y="248"/>
                  </a:lnTo>
                  <a:lnTo>
                    <a:pt x="1012" y="242"/>
                  </a:lnTo>
                  <a:lnTo>
                    <a:pt x="1014" y="242"/>
                  </a:lnTo>
                  <a:lnTo>
                    <a:pt x="1014" y="242"/>
                  </a:lnTo>
                  <a:lnTo>
                    <a:pt x="1016" y="246"/>
                  </a:lnTo>
                  <a:lnTo>
                    <a:pt x="1016" y="246"/>
                  </a:lnTo>
                  <a:lnTo>
                    <a:pt x="1018" y="244"/>
                  </a:lnTo>
                  <a:lnTo>
                    <a:pt x="1018" y="242"/>
                  </a:lnTo>
                  <a:lnTo>
                    <a:pt x="1018" y="242"/>
                  </a:lnTo>
                  <a:lnTo>
                    <a:pt x="1018" y="242"/>
                  </a:lnTo>
                  <a:lnTo>
                    <a:pt x="1020" y="240"/>
                  </a:lnTo>
                  <a:lnTo>
                    <a:pt x="1020" y="240"/>
                  </a:lnTo>
                  <a:lnTo>
                    <a:pt x="1022" y="240"/>
                  </a:lnTo>
                  <a:lnTo>
                    <a:pt x="1022" y="240"/>
                  </a:lnTo>
                  <a:lnTo>
                    <a:pt x="1022" y="246"/>
                  </a:lnTo>
                  <a:lnTo>
                    <a:pt x="1022" y="246"/>
                  </a:lnTo>
                  <a:lnTo>
                    <a:pt x="1024" y="244"/>
                  </a:lnTo>
                  <a:lnTo>
                    <a:pt x="1024" y="244"/>
                  </a:lnTo>
                  <a:lnTo>
                    <a:pt x="1024" y="240"/>
                  </a:lnTo>
                  <a:lnTo>
                    <a:pt x="1024" y="240"/>
                  </a:lnTo>
                  <a:lnTo>
                    <a:pt x="1028" y="236"/>
                  </a:lnTo>
                  <a:lnTo>
                    <a:pt x="1028" y="236"/>
                  </a:lnTo>
                  <a:lnTo>
                    <a:pt x="1030" y="236"/>
                  </a:lnTo>
                  <a:lnTo>
                    <a:pt x="1030" y="238"/>
                  </a:lnTo>
                  <a:lnTo>
                    <a:pt x="1030" y="238"/>
                  </a:lnTo>
                  <a:lnTo>
                    <a:pt x="1028" y="248"/>
                  </a:lnTo>
                  <a:lnTo>
                    <a:pt x="1028" y="248"/>
                  </a:lnTo>
                  <a:lnTo>
                    <a:pt x="1032" y="248"/>
                  </a:lnTo>
                  <a:lnTo>
                    <a:pt x="1032" y="248"/>
                  </a:lnTo>
                  <a:lnTo>
                    <a:pt x="1032" y="242"/>
                  </a:lnTo>
                  <a:lnTo>
                    <a:pt x="1032" y="242"/>
                  </a:lnTo>
                  <a:lnTo>
                    <a:pt x="1036" y="244"/>
                  </a:lnTo>
                  <a:lnTo>
                    <a:pt x="1040" y="246"/>
                  </a:lnTo>
                  <a:lnTo>
                    <a:pt x="1040" y="246"/>
                  </a:lnTo>
                  <a:lnTo>
                    <a:pt x="1040" y="250"/>
                  </a:lnTo>
                  <a:lnTo>
                    <a:pt x="1040" y="250"/>
                  </a:lnTo>
                  <a:lnTo>
                    <a:pt x="1042" y="252"/>
                  </a:lnTo>
                  <a:lnTo>
                    <a:pt x="1042" y="252"/>
                  </a:lnTo>
                  <a:lnTo>
                    <a:pt x="1036" y="254"/>
                  </a:lnTo>
                  <a:lnTo>
                    <a:pt x="1038" y="256"/>
                  </a:lnTo>
                  <a:lnTo>
                    <a:pt x="1038" y="256"/>
                  </a:lnTo>
                  <a:lnTo>
                    <a:pt x="1042" y="256"/>
                  </a:lnTo>
                  <a:lnTo>
                    <a:pt x="1042" y="258"/>
                  </a:lnTo>
                  <a:lnTo>
                    <a:pt x="1042" y="258"/>
                  </a:lnTo>
                  <a:lnTo>
                    <a:pt x="1048" y="258"/>
                  </a:lnTo>
                  <a:lnTo>
                    <a:pt x="1054" y="260"/>
                  </a:lnTo>
                  <a:lnTo>
                    <a:pt x="1054" y="260"/>
                  </a:lnTo>
                  <a:lnTo>
                    <a:pt x="1054" y="254"/>
                  </a:lnTo>
                  <a:lnTo>
                    <a:pt x="1054" y="254"/>
                  </a:lnTo>
                  <a:lnTo>
                    <a:pt x="1054" y="252"/>
                  </a:lnTo>
                  <a:lnTo>
                    <a:pt x="1054" y="252"/>
                  </a:lnTo>
                  <a:lnTo>
                    <a:pt x="1058" y="254"/>
                  </a:lnTo>
                  <a:lnTo>
                    <a:pt x="1058" y="254"/>
                  </a:lnTo>
                  <a:lnTo>
                    <a:pt x="1058" y="254"/>
                  </a:lnTo>
                  <a:lnTo>
                    <a:pt x="1060" y="254"/>
                  </a:lnTo>
                  <a:lnTo>
                    <a:pt x="1060" y="254"/>
                  </a:lnTo>
                  <a:lnTo>
                    <a:pt x="1060" y="254"/>
                  </a:lnTo>
                  <a:lnTo>
                    <a:pt x="1056" y="258"/>
                  </a:lnTo>
                  <a:lnTo>
                    <a:pt x="1056" y="258"/>
                  </a:lnTo>
                  <a:lnTo>
                    <a:pt x="1056" y="266"/>
                  </a:lnTo>
                  <a:lnTo>
                    <a:pt x="1056" y="266"/>
                  </a:lnTo>
                  <a:lnTo>
                    <a:pt x="1060" y="266"/>
                  </a:lnTo>
                  <a:lnTo>
                    <a:pt x="1060" y="266"/>
                  </a:lnTo>
                  <a:lnTo>
                    <a:pt x="1060" y="260"/>
                  </a:lnTo>
                  <a:lnTo>
                    <a:pt x="1060" y="260"/>
                  </a:lnTo>
                  <a:lnTo>
                    <a:pt x="1060" y="260"/>
                  </a:lnTo>
                  <a:lnTo>
                    <a:pt x="1062" y="258"/>
                  </a:lnTo>
                  <a:lnTo>
                    <a:pt x="1062" y="258"/>
                  </a:lnTo>
                  <a:lnTo>
                    <a:pt x="1062" y="258"/>
                  </a:lnTo>
                  <a:lnTo>
                    <a:pt x="1064" y="258"/>
                  </a:lnTo>
                  <a:lnTo>
                    <a:pt x="1064" y="260"/>
                  </a:lnTo>
                  <a:lnTo>
                    <a:pt x="1064" y="260"/>
                  </a:lnTo>
                  <a:lnTo>
                    <a:pt x="1068" y="258"/>
                  </a:lnTo>
                  <a:lnTo>
                    <a:pt x="1068" y="258"/>
                  </a:lnTo>
                  <a:lnTo>
                    <a:pt x="1070" y="260"/>
                  </a:lnTo>
                  <a:lnTo>
                    <a:pt x="1070" y="260"/>
                  </a:lnTo>
                  <a:lnTo>
                    <a:pt x="1070" y="260"/>
                  </a:lnTo>
                  <a:lnTo>
                    <a:pt x="1070" y="256"/>
                  </a:lnTo>
                  <a:lnTo>
                    <a:pt x="1070" y="252"/>
                  </a:lnTo>
                  <a:lnTo>
                    <a:pt x="1070" y="252"/>
                  </a:lnTo>
                  <a:lnTo>
                    <a:pt x="1070" y="252"/>
                  </a:lnTo>
                  <a:lnTo>
                    <a:pt x="1072" y="254"/>
                  </a:lnTo>
                  <a:lnTo>
                    <a:pt x="1072" y="254"/>
                  </a:lnTo>
                  <a:lnTo>
                    <a:pt x="1072" y="254"/>
                  </a:lnTo>
                  <a:lnTo>
                    <a:pt x="1078" y="256"/>
                  </a:lnTo>
                  <a:lnTo>
                    <a:pt x="1078" y="256"/>
                  </a:lnTo>
                  <a:lnTo>
                    <a:pt x="1080" y="262"/>
                  </a:lnTo>
                  <a:lnTo>
                    <a:pt x="1082" y="264"/>
                  </a:lnTo>
                  <a:lnTo>
                    <a:pt x="1082" y="266"/>
                  </a:lnTo>
                  <a:lnTo>
                    <a:pt x="1082" y="266"/>
                  </a:lnTo>
                  <a:lnTo>
                    <a:pt x="1082" y="268"/>
                  </a:lnTo>
                  <a:lnTo>
                    <a:pt x="1082" y="270"/>
                  </a:lnTo>
                  <a:lnTo>
                    <a:pt x="1082" y="270"/>
                  </a:lnTo>
                  <a:close/>
                  <a:moveTo>
                    <a:pt x="1074" y="730"/>
                  </a:moveTo>
                  <a:lnTo>
                    <a:pt x="1074" y="730"/>
                  </a:lnTo>
                  <a:lnTo>
                    <a:pt x="1072" y="730"/>
                  </a:lnTo>
                  <a:lnTo>
                    <a:pt x="1072" y="730"/>
                  </a:lnTo>
                  <a:lnTo>
                    <a:pt x="1068" y="738"/>
                  </a:lnTo>
                  <a:lnTo>
                    <a:pt x="1064" y="742"/>
                  </a:lnTo>
                  <a:lnTo>
                    <a:pt x="1056" y="744"/>
                  </a:lnTo>
                  <a:lnTo>
                    <a:pt x="1048" y="746"/>
                  </a:lnTo>
                  <a:lnTo>
                    <a:pt x="1048" y="746"/>
                  </a:lnTo>
                  <a:lnTo>
                    <a:pt x="1046" y="748"/>
                  </a:lnTo>
                  <a:lnTo>
                    <a:pt x="1046" y="748"/>
                  </a:lnTo>
                  <a:lnTo>
                    <a:pt x="1046" y="750"/>
                  </a:lnTo>
                  <a:lnTo>
                    <a:pt x="1046" y="754"/>
                  </a:lnTo>
                  <a:lnTo>
                    <a:pt x="1046" y="754"/>
                  </a:lnTo>
                  <a:lnTo>
                    <a:pt x="1040" y="748"/>
                  </a:lnTo>
                  <a:lnTo>
                    <a:pt x="1040" y="748"/>
                  </a:lnTo>
                  <a:lnTo>
                    <a:pt x="1040" y="750"/>
                  </a:lnTo>
                  <a:lnTo>
                    <a:pt x="1040" y="752"/>
                  </a:lnTo>
                  <a:lnTo>
                    <a:pt x="1040" y="752"/>
                  </a:lnTo>
                  <a:lnTo>
                    <a:pt x="1038" y="752"/>
                  </a:lnTo>
                  <a:lnTo>
                    <a:pt x="1036" y="750"/>
                  </a:lnTo>
                  <a:lnTo>
                    <a:pt x="1036" y="750"/>
                  </a:lnTo>
                  <a:lnTo>
                    <a:pt x="1036" y="754"/>
                  </a:lnTo>
                  <a:lnTo>
                    <a:pt x="1036" y="760"/>
                  </a:lnTo>
                  <a:lnTo>
                    <a:pt x="1036" y="760"/>
                  </a:lnTo>
                  <a:lnTo>
                    <a:pt x="1036" y="760"/>
                  </a:lnTo>
                  <a:lnTo>
                    <a:pt x="1036" y="762"/>
                  </a:lnTo>
                  <a:lnTo>
                    <a:pt x="1034" y="762"/>
                  </a:lnTo>
                  <a:lnTo>
                    <a:pt x="1034" y="762"/>
                  </a:lnTo>
                  <a:lnTo>
                    <a:pt x="1036" y="760"/>
                  </a:lnTo>
                  <a:lnTo>
                    <a:pt x="1034" y="760"/>
                  </a:lnTo>
                  <a:lnTo>
                    <a:pt x="1032" y="760"/>
                  </a:lnTo>
                  <a:lnTo>
                    <a:pt x="1032" y="760"/>
                  </a:lnTo>
                  <a:lnTo>
                    <a:pt x="1030" y="764"/>
                  </a:lnTo>
                  <a:lnTo>
                    <a:pt x="1030" y="764"/>
                  </a:lnTo>
                  <a:lnTo>
                    <a:pt x="1026" y="768"/>
                  </a:lnTo>
                  <a:lnTo>
                    <a:pt x="1026" y="768"/>
                  </a:lnTo>
                  <a:lnTo>
                    <a:pt x="1024" y="766"/>
                  </a:lnTo>
                  <a:lnTo>
                    <a:pt x="1026" y="764"/>
                  </a:lnTo>
                  <a:lnTo>
                    <a:pt x="1024" y="764"/>
                  </a:lnTo>
                  <a:lnTo>
                    <a:pt x="1024" y="764"/>
                  </a:lnTo>
                  <a:lnTo>
                    <a:pt x="1022" y="768"/>
                  </a:lnTo>
                  <a:lnTo>
                    <a:pt x="1022" y="768"/>
                  </a:lnTo>
                  <a:lnTo>
                    <a:pt x="1020" y="766"/>
                  </a:lnTo>
                  <a:lnTo>
                    <a:pt x="1020" y="766"/>
                  </a:lnTo>
                  <a:lnTo>
                    <a:pt x="1018" y="764"/>
                  </a:lnTo>
                  <a:lnTo>
                    <a:pt x="1018" y="764"/>
                  </a:lnTo>
                  <a:lnTo>
                    <a:pt x="1014" y="762"/>
                  </a:lnTo>
                  <a:lnTo>
                    <a:pt x="1014" y="762"/>
                  </a:lnTo>
                  <a:lnTo>
                    <a:pt x="1010" y="762"/>
                  </a:lnTo>
                  <a:lnTo>
                    <a:pt x="1010" y="762"/>
                  </a:lnTo>
                  <a:lnTo>
                    <a:pt x="1008" y="754"/>
                  </a:lnTo>
                  <a:lnTo>
                    <a:pt x="1012" y="750"/>
                  </a:lnTo>
                  <a:lnTo>
                    <a:pt x="1012" y="750"/>
                  </a:lnTo>
                  <a:lnTo>
                    <a:pt x="1014" y="746"/>
                  </a:lnTo>
                  <a:lnTo>
                    <a:pt x="1014" y="746"/>
                  </a:lnTo>
                  <a:lnTo>
                    <a:pt x="1018" y="744"/>
                  </a:lnTo>
                  <a:lnTo>
                    <a:pt x="1020" y="744"/>
                  </a:lnTo>
                  <a:lnTo>
                    <a:pt x="1020" y="744"/>
                  </a:lnTo>
                  <a:lnTo>
                    <a:pt x="1020" y="742"/>
                  </a:lnTo>
                  <a:lnTo>
                    <a:pt x="1022" y="738"/>
                  </a:lnTo>
                  <a:lnTo>
                    <a:pt x="1022" y="738"/>
                  </a:lnTo>
                  <a:lnTo>
                    <a:pt x="1026" y="736"/>
                  </a:lnTo>
                  <a:lnTo>
                    <a:pt x="1032" y="734"/>
                  </a:lnTo>
                  <a:lnTo>
                    <a:pt x="1034" y="734"/>
                  </a:lnTo>
                  <a:lnTo>
                    <a:pt x="1034" y="734"/>
                  </a:lnTo>
                  <a:lnTo>
                    <a:pt x="1034" y="736"/>
                  </a:lnTo>
                  <a:lnTo>
                    <a:pt x="1034" y="736"/>
                  </a:lnTo>
                  <a:lnTo>
                    <a:pt x="1038" y="738"/>
                  </a:lnTo>
                  <a:lnTo>
                    <a:pt x="1038" y="738"/>
                  </a:lnTo>
                  <a:lnTo>
                    <a:pt x="1044" y="730"/>
                  </a:lnTo>
                  <a:lnTo>
                    <a:pt x="1044" y="730"/>
                  </a:lnTo>
                  <a:lnTo>
                    <a:pt x="1048" y="730"/>
                  </a:lnTo>
                  <a:lnTo>
                    <a:pt x="1048" y="730"/>
                  </a:lnTo>
                  <a:lnTo>
                    <a:pt x="1038" y="728"/>
                  </a:lnTo>
                  <a:lnTo>
                    <a:pt x="1034" y="728"/>
                  </a:lnTo>
                  <a:lnTo>
                    <a:pt x="1028" y="730"/>
                  </a:lnTo>
                  <a:lnTo>
                    <a:pt x="1028" y="730"/>
                  </a:lnTo>
                  <a:lnTo>
                    <a:pt x="1028" y="732"/>
                  </a:lnTo>
                  <a:lnTo>
                    <a:pt x="1028" y="732"/>
                  </a:lnTo>
                  <a:lnTo>
                    <a:pt x="1028" y="728"/>
                  </a:lnTo>
                  <a:lnTo>
                    <a:pt x="1028" y="728"/>
                  </a:lnTo>
                  <a:lnTo>
                    <a:pt x="1030" y="724"/>
                  </a:lnTo>
                  <a:lnTo>
                    <a:pt x="1030" y="724"/>
                  </a:lnTo>
                  <a:lnTo>
                    <a:pt x="1030" y="724"/>
                  </a:lnTo>
                  <a:lnTo>
                    <a:pt x="1030" y="722"/>
                  </a:lnTo>
                  <a:lnTo>
                    <a:pt x="1030" y="722"/>
                  </a:lnTo>
                  <a:lnTo>
                    <a:pt x="1032" y="720"/>
                  </a:lnTo>
                  <a:lnTo>
                    <a:pt x="1032" y="720"/>
                  </a:lnTo>
                  <a:lnTo>
                    <a:pt x="1032" y="718"/>
                  </a:lnTo>
                  <a:lnTo>
                    <a:pt x="1032" y="718"/>
                  </a:lnTo>
                  <a:lnTo>
                    <a:pt x="1030" y="718"/>
                  </a:lnTo>
                  <a:lnTo>
                    <a:pt x="1028" y="718"/>
                  </a:lnTo>
                  <a:lnTo>
                    <a:pt x="1028" y="718"/>
                  </a:lnTo>
                  <a:lnTo>
                    <a:pt x="1026" y="716"/>
                  </a:lnTo>
                  <a:lnTo>
                    <a:pt x="1026" y="716"/>
                  </a:lnTo>
                  <a:lnTo>
                    <a:pt x="1026" y="722"/>
                  </a:lnTo>
                  <a:lnTo>
                    <a:pt x="1026" y="722"/>
                  </a:lnTo>
                  <a:lnTo>
                    <a:pt x="1026" y="722"/>
                  </a:lnTo>
                  <a:lnTo>
                    <a:pt x="1026" y="726"/>
                  </a:lnTo>
                  <a:lnTo>
                    <a:pt x="1024" y="726"/>
                  </a:lnTo>
                  <a:lnTo>
                    <a:pt x="1024" y="726"/>
                  </a:lnTo>
                  <a:lnTo>
                    <a:pt x="1022" y="728"/>
                  </a:lnTo>
                  <a:lnTo>
                    <a:pt x="1020" y="730"/>
                  </a:lnTo>
                  <a:lnTo>
                    <a:pt x="1018" y="734"/>
                  </a:lnTo>
                  <a:lnTo>
                    <a:pt x="1014" y="734"/>
                  </a:lnTo>
                  <a:lnTo>
                    <a:pt x="1014" y="734"/>
                  </a:lnTo>
                  <a:lnTo>
                    <a:pt x="1014" y="730"/>
                  </a:lnTo>
                  <a:lnTo>
                    <a:pt x="1014" y="730"/>
                  </a:lnTo>
                  <a:lnTo>
                    <a:pt x="1014" y="728"/>
                  </a:lnTo>
                  <a:lnTo>
                    <a:pt x="1014" y="726"/>
                  </a:lnTo>
                  <a:lnTo>
                    <a:pt x="1014" y="726"/>
                  </a:lnTo>
                  <a:lnTo>
                    <a:pt x="1012" y="726"/>
                  </a:lnTo>
                  <a:lnTo>
                    <a:pt x="1012" y="726"/>
                  </a:lnTo>
                  <a:lnTo>
                    <a:pt x="1012" y="730"/>
                  </a:lnTo>
                  <a:lnTo>
                    <a:pt x="1012" y="730"/>
                  </a:lnTo>
                  <a:lnTo>
                    <a:pt x="1008" y="730"/>
                  </a:lnTo>
                  <a:lnTo>
                    <a:pt x="1008" y="732"/>
                  </a:lnTo>
                  <a:lnTo>
                    <a:pt x="1008" y="732"/>
                  </a:lnTo>
                  <a:lnTo>
                    <a:pt x="1012" y="734"/>
                  </a:lnTo>
                  <a:lnTo>
                    <a:pt x="1012" y="734"/>
                  </a:lnTo>
                  <a:lnTo>
                    <a:pt x="1012" y="734"/>
                  </a:lnTo>
                  <a:lnTo>
                    <a:pt x="1012" y="736"/>
                  </a:lnTo>
                  <a:lnTo>
                    <a:pt x="1008" y="736"/>
                  </a:lnTo>
                  <a:lnTo>
                    <a:pt x="1008" y="736"/>
                  </a:lnTo>
                  <a:lnTo>
                    <a:pt x="1008" y="738"/>
                  </a:lnTo>
                  <a:lnTo>
                    <a:pt x="1006" y="738"/>
                  </a:lnTo>
                  <a:lnTo>
                    <a:pt x="1006" y="738"/>
                  </a:lnTo>
                  <a:lnTo>
                    <a:pt x="1002" y="736"/>
                  </a:lnTo>
                  <a:lnTo>
                    <a:pt x="1000" y="734"/>
                  </a:lnTo>
                  <a:lnTo>
                    <a:pt x="1000" y="734"/>
                  </a:lnTo>
                  <a:lnTo>
                    <a:pt x="996" y="734"/>
                  </a:lnTo>
                  <a:lnTo>
                    <a:pt x="996" y="734"/>
                  </a:lnTo>
                  <a:lnTo>
                    <a:pt x="994" y="734"/>
                  </a:lnTo>
                  <a:lnTo>
                    <a:pt x="994" y="734"/>
                  </a:lnTo>
                  <a:lnTo>
                    <a:pt x="994" y="732"/>
                  </a:lnTo>
                  <a:lnTo>
                    <a:pt x="992" y="730"/>
                  </a:lnTo>
                  <a:lnTo>
                    <a:pt x="994" y="726"/>
                  </a:lnTo>
                  <a:lnTo>
                    <a:pt x="994" y="726"/>
                  </a:lnTo>
                  <a:lnTo>
                    <a:pt x="992" y="724"/>
                  </a:lnTo>
                  <a:lnTo>
                    <a:pt x="990" y="724"/>
                  </a:lnTo>
                  <a:lnTo>
                    <a:pt x="988" y="724"/>
                  </a:lnTo>
                  <a:lnTo>
                    <a:pt x="988" y="724"/>
                  </a:lnTo>
                  <a:lnTo>
                    <a:pt x="988" y="718"/>
                  </a:lnTo>
                  <a:lnTo>
                    <a:pt x="988" y="704"/>
                  </a:lnTo>
                  <a:lnTo>
                    <a:pt x="988" y="704"/>
                  </a:lnTo>
                  <a:lnTo>
                    <a:pt x="988" y="700"/>
                  </a:lnTo>
                  <a:lnTo>
                    <a:pt x="986" y="698"/>
                  </a:lnTo>
                  <a:lnTo>
                    <a:pt x="980" y="694"/>
                  </a:lnTo>
                  <a:lnTo>
                    <a:pt x="980" y="694"/>
                  </a:lnTo>
                  <a:lnTo>
                    <a:pt x="976" y="694"/>
                  </a:lnTo>
                  <a:lnTo>
                    <a:pt x="974" y="698"/>
                  </a:lnTo>
                  <a:lnTo>
                    <a:pt x="972" y="700"/>
                  </a:lnTo>
                  <a:lnTo>
                    <a:pt x="972" y="698"/>
                  </a:lnTo>
                  <a:lnTo>
                    <a:pt x="972" y="698"/>
                  </a:lnTo>
                  <a:lnTo>
                    <a:pt x="970" y="694"/>
                  </a:lnTo>
                  <a:lnTo>
                    <a:pt x="968" y="694"/>
                  </a:lnTo>
                  <a:lnTo>
                    <a:pt x="966" y="696"/>
                  </a:lnTo>
                  <a:lnTo>
                    <a:pt x="964" y="704"/>
                  </a:lnTo>
                  <a:lnTo>
                    <a:pt x="964" y="704"/>
                  </a:lnTo>
                  <a:lnTo>
                    <a:pt x="960" y="708"/>
                  </a:lnTo>
                  <a:lnTo>
                    <a:pt x="960" y="714"/>
                  </a:lnTo>
                  <a:lnTo>
                    <a:pt x="960" y="714"/>
                  </a:lnTo>
                  <a:lnTo>
                    <a:pt x="958" y="716"/>
                  </a:lnTo>
                  <a:lnTo>
                    <a:pt x="954" y="720"/>
                  </a:lnTo>
                  <a:lnTo>
                    <a:pt x="948" y="726"/>
                  </a:lnTo>
                  <a:lnTo>
                    <a:pt x="948" y="726"/>
                  </a:lnTo>
                  <a:lnTo>
                    <a:pt x="944" y="728"/>
                  </a:lnTo>
                  <a:lnTo>
                    <a:pt x="944" y="730"/>
                  </a:lnTo>
                  <a:lnTo>
                    <a:pt x="944" y="730"/>
                  </a:lnTo>
                  <a:lnTo>
                    <a:pt x="926" y="734"/>
                  </a:lnTo>
                  <a:lnTo>
                    <a:pt x="904" y="736"/>
                  </a:lnTo>
                  <a:lnTo>
                    <a:pt x="904" y="736"/>
                  </a:lnTo>
                  <a:lnTo>
                    <a:pt x="902" y="734"/>
                  </a:lnTo>
                  <a:lnTo>
                    <a:pt x="902" y="734"/>
                  </a:lnTo>
                  <a:lnTo>
                    <a:pt x="904" y="732"/>
                  </a:lnTo>
                  <a:lnTo>
                    <a:pt x="904" y="732"/>
                  </a:lnTo>
                  <a:lnTo>
                    <a:pt x="904" y="732"/>
                  </a:lnTo>
                  <a:lnTo>
                    <a:pt x="904" y="732"/>
                  </a:lnTo>
                  <a:lnTo>
                    <a:pt x="900" y="734"/>
                  </a:lnTo>
                  <a:lnTo>
                    <a:pt x="900" y="734"/>
                  </a:lnTo>
                  <a:lnTo>
                    <a:pt x="890" y="740"/>
                  </a:lnTo>
                  <a:lnTo>
                    <a:pt x="890" y="740"/>
                  </a:lnTo>
                  <a:lnTo>
                    <a:pt x="880" y="746"/>
                  </a:lnTo>
                  <a:lnTo>
                    <a:pt x="878" y="748"/>
                  </a:lnTo>
                  <a:lnTo>
                    <a:pt x="878" y="748"/>
                  </a:lnTo>
                  <a:lnTo>
                    <a:pt x="878" y="750"/>
                  </a:lnTo>
                  <a:lnTo>
                    <a:pt x="878" y="750"/>
                  </a:lnTo>
                  <a:lnTo>
                    <a:pt x="872" y="754"/>
                  </a:lnTo>
                  <a:lnTo>
                    <a:pt x="872" y="754"/>
                  </a:lnTo>
                  <a:lnTo>
                    <a:pt x="866" y="752"/>
                  </a:lnTo>
                  <a:lnTo>
                    <a:pt x="862" y="752"/>
                  </a:lnTo>
                  <a:lnTo>
                    <a:pt x="862" y="752"/>
                  </a:lnTo>
                  <a:lnTo>
                    <a:pt x="854" y="752"/>
                  </a:lnTo>
                  <a:lnTo>
                    <a:pt x="854" y="752"/>
                  </a:lnTo>
                  <a:lnTo>
                    <a:pt x="854" y="754"/>
                  </a:lnTo>
                  <a:lnTo>
                    <a:pt x="854" y="754"/>
                  </a:lnTo>
                  <a:lnTo>
                    <a:pt x="856" y="754"/>
                  </a:lnTo>
                  <a:lnTo>
                    <a:pt x="860" y="756"/>
                  </a:lnTo>
                  <a:lnTo>
                    <a:pt x="860" y="756"/>
                  </a:lnTo>
                  <a:lnTo>
                    <a:pt x="860" y="758"/>
                  </a:lnTo>
                  <a:lnTo>
                    <a:pt x="860" y="758"/>
                  </a:lnTo>
                  <a:lnTo>
                    <a:pt x="860" y="758"/>
                  </a:lnTo>
                  <a:lnTo>
                    <a:pt x="864" y="758"/>
                  </a:lnTo>
                  <a:lnTo>
                    <a:pt x="864" y="758"/>
                  </a:lnTo>
                  <a:lnTo>
                    <a:pt x="866" y="758"/>
                  </a:lnTo>
                  <a:lnTo>
                    <a:pt x="866" y="758"/>
                  </a:lnTo>
                  <a:lnTo>
                    <a:pt x="866" y="758"/>
                  </a:lnTo>
                  <a:lnTo>
                    <a:pt x="864" y="760"/>
                  </a:lnTo>
                  <a:lnTo>
                    <a:pt x="862" y="762"/>
                  </a:lnTo>
                  <a:lnTo>
                    <a:pt x="862" y="762"/>
                  </a:lnTo>
                  <a:lnTo>
                    <a:pt x="858" y="762"/>
                  </a:lnTo>
                  <a:lnTo>
                    <a:pt x="858" y="762"/>
                  </a:lnTo>
                  <a:lnTo>
                    <a:pt x="856" y="760"/>
                  </a:lnTo>
                  <a:lnTo>
                    <a:pt x="856" y="760"/>
                  </a:lnTo>
                  <a:lnTo>
                    <a:pt x="848" y="758"/>
                  </a:lnTo>
                  <a:lnTo>
                    <a:pt x="840" y="760"/>
                  </a:lnTo>
                  <a:lnTo>
                    <a:pt x="834" y="764"/>
                  </a:lnTo>
                  <a:lnTo>
                    <a:pt x="828" y="766"/>
                  </a:lnTo>
                  <a:lnTo>
                    <a:pt x="828" y="768"/>
                  </a:lnTo>
                  <a:lnTo>
                    <a:pt x="828" y="768"/>
                  </a:lnTo>
                  <a:lnTo>
                    <a:pt x="832" y="768"/>
                  </a:lnTo>
                  <a:lnTo>
                    <a:pt x="832" y="768"/>
                  </a:lnTo>
                  <a:lnTo>
                    <a:pt x="834" y="770"/>
                  </a:lnTo>
                  <a:lnTo>
                    <a:pt x="834" y="772"/>
                  </a:lnTo>
                  <a:lnTo>
                    <a:pt x="832" y="774"/>
                  </a:lnTo>
                  <a:lnTo>
                    <a:pt x="832" y="774"/>
                  </a:lnTo>
                  <a:lnTo>
                    <a:pt x="826" y="774"/>
                  </a:lnTo>
                  <a:lnTo>
                    <a:pt x="822" y="774"/>
                  </a:lnTo>
                  <a:lnTo>
                    <a:pt x="820" y="776"/>
                  </a:lnTo>
                  <a:lnTo>
                    <a:pt x="820" y="776"/>
                  </a:lnTo>
                  <a:lnTo>
                    <a:pt x="818" y="780"/>
                  </a:lnTo>
                  <a:lnTo>
                    <a:pt x="818" y="780"/>
                  </a:lnTo>
                  <a:lnTo>
                    <a:pt x="812" y="780"/>
                  </a:lnTo>
                  <a:lnTo>
                    <a:pt x="808" y="780"/>
                  </a:lnTo>
                  <a:lnTo>
                    <a:pt x="808" y="780"/>
                  </a:lnTo>
                  <a:lnTo>
                    <a:pt x="804" y="784"/>
                  </a:lnTo>
                  <a:lnTo>
                    <a:pt x="804" y="784"/>
                  </a:lnTo>
                  <a:lnTo>
                    <a:pt x="800" y="786"/>
                  </a:lnTo>
                  <a:lnTo>
                    <a:pt x="800" y="786"/>
                  </a:lnTo>
                  <a:lnTo>
                    <a:pt x="796" y="790"/>
                  </a:lnTo>
                  <a:lnTo>
                    <a:pt x="796" y="790"/>
                  </a:lnTo>
                  <a:lnTo>
                    <a:pt x="792" y="792"/>
                  </a:lnTo>
                  <a:lnTo>
                    <a:pt x="786" y="792"/>
                  </a:lnTo>
                  <a:lnTo>
                    <a:pt x="786" y="792"/>
                  </a:lnTo>
                  <a:lnTo>
                    <a:pt x="786" y="788"/>
                  </a:lnTo>
                  <a:lnTo>
                    <a:pt x="786" y="788"/>
                  </a:lnTo>
                  <a:lnTo>
                    <a:pt x="788" y="786"/>
                  </a:lnTo>
                  <a:lnTo>
                    <a:pt x="790" y="782"/>
                  </a:lnTo>
                  <a:lnTo>
                    <a:pt x="790" y="782"/>
                  </a:lnTo>
                  <a:lnTo>
                    <a:pt x="792" y="772"/>
                  </a:lnTo>
                  <a:lnTo>
                    <a:pt x="792" y="772"/>
                  </a:lnTo>
                  <a:lnTo>
                    <a:pt x="798" y="770"/>
                  </a:lnTo>
                  <a:lnTo>
                    <a:pt x="798" y="770"/>
                  </a:lnTo>
                  <a:lnTo>
                    <a:pt x="800" y="766"/>
                  </a:lnTo>
                  <a:lnTo>
                    <a:pt x="800" y="766"/>
                  </a:lnTo>
                  <a:lnTo>
                    <a:pt x="800" y="758"/>
                  </a:lnTo>
                  <a:lnTo>
                    <a:pt x="800" y="754"/>
                  </a:lnTo>
                  <a:lnTo>
                    <a:pt x="800" y="750"/>
                  </a:lnTo>
                  <a:lnTo>
                    <a:pt x="800" y="750"/>
                  </a:lnTo>
                  <a:lnTo>
                    <a:pt x="808" y="740"/>
                  </a:lnTo>
                  <a:lnTo>
                    <a:pt x="808" y="740"/>
                  </a:lnTo>
                  <a:lnTo>
                    <a:pt x="812" y="742"/>
                  </a:lnTo>
                  <a:lnTo>
                    <a:pt x="812" y="742"/>
                  </a:lnTo>
                  <a:lnTo>
                    <a:pt x="812" y="746"/>
                  </a:lnTo>
                  <a:lnTo>
                    <a:pt x="812" y="746"/>
                  </a:lnTo>
                  <a:lnTo>
                    <a:pt x="816" y="746"/>
                  </a:lnTo>
                  <a:lnTo>
                    <a:pt x="820" y="746"/>
                  </a:lnTo>
                  <a:lnTo>
                    <a:pt x="820" y="746"/>
                  </a:lnTo>
                  <a:lnTo>
                    <a:pt x="820" y="748"/>
                  </a:lnTo>
                  <a:lnTo>
                    <a:pt x="822" y="750"/>
                  </a:lnTo>
                  <a:lnTo>
                    <a:pt x="822" y="750"/>
                  </a:lnTo>
                  <a:lnTo>
                    <a:pt x="826" y="750"/>
                  </a:lnTo>
                  <a:lnTo>
                    <a:pt x="826" y="750"/>
                  </a:lnTo>
                  <a:lnTo>
                    <a:pt x="826" y="748"/>
                  </a:lnTo>
                  <a:lnTo>
                    <a:pt x="826" y="746"/>
                  </a:lnTo>
                  <a:lnTo>
                    <a:pt x="826" y="746"/>
                  </a:lnTo>
                  <a:lnTo>
                    <a:pt x="826" y="746"/>
                  </a:lnTo>
                  <a:lnTo>
                    <a:pt x="826" y="744"/>
                  </a:lnTo>
                  <a:lnTo>
                    <a:pt x="826" y="744"/>
                  </a:lnTo>
                  <a:lnTo>
                    <a:pt x="824" y="744"/>
                  </a:lnTo>
                  <a:lnTo>
                    <a:pt x="824" y="744"/>
                  </a:lnTo>
                  <a:lnTo>
                    <a:pt x="830" y="744"/>
                  </a:lnTo>
                  <a:lnTo>
                    <a:pt x="830" y="744"/>
                  </a:lnTo>
                  <a:lnTo>
                    <a:pt x="832" y="740"/>
                  </a:lnTo>
                  <a:lnTo>
                    <a:pt x="832" y="740"/>
                  </a:lnTo>
                  <a:lnTo>
                    <a:pt x="830" y="738"/>
                  </a:lnTo>
                  <a:lnTo>
                    <a:pt x="830" y="738"/>
                  </a:lnTo>
                  <a:lnTo>
                    <a:pt x="826" y="734"/>
                  </a:lnTo>
                  <a:lnTo>
                    <a:pt x="826" y="724"/>
                  </a:lnTo>
                  <a:lnTo>
                    <a:pt x="826" y="724"/>
                  </a:lnTo>
                  <a:lnTo>
                    <a:pt x="820" y="724"/>
                  </a:lnTo>
                  <a:lnTo>
                    <a:pt x="820" y="722"/>
                  </a:lnTo>
                  <a:lnTo>
                    <a:pt x="820" y="722"/>
                  </a:lnTo>
                  <a:lnTo>
                    <a:pt x="818" y="720"/>
                  </a:lnTo>
                  <a:lnTo>
                    <a:pt x="814" y="718"/>
                  </a:lnTo>
                  <a:lnTo>
                    <a:pt x="814" y="716"/>
                  </a:lnTo>
                  <a:lnTo>
                    <a:pt x="814" y="716"/>
                  </a:lnTo>
                  <a:lnTo>
                    <a:pt x="812" y="716"/>
                  </a:lnTo>
                  <a:lnTo>
                    <a:pt x="808" y="718"/>
                  </a:lnTo>
                  <a:lnTo>
                    <a:pt x="806" y="718"/>
                  </a:lnTo>
                  <a:lnTo>
                    <a:pt x="802" y="718"/>
                  </a:lnTo>
                  <a:lnTo>
                    <a:pt x="802" y="718"/>
                  </a:lnTo>
                  <a:lnTo>
                    <a:pt x="800" y="716"/>
                  </a:lnTo>
                  <a:lnTo>
                    <a:pt x="800" y="716"/>
                  </a:lnTo>
                  <a:lnTo>
                    <a:pt x="796" y="716"/>
                  </a:lnTo>
                  <a:lnTo>
                    <a:pt x="792" y="716"/>
                  </a:lnTo>
                  <a:lnTo>
                    <a:pt x="790" y="714"/>
                  </a:lnTo>
                  <a:lnTo>
                    <a:pt x="790" y="714"/>
                  </a:lnTo>
                  <a:lnTo>
                    <a:pt x="780" y="712"/>
                  </a:lnTo>
                  <a:lnTo>
                    <a:pt x="780" y="712"/>
                  </a:lnTo>
                  <a:lnTo>
                    <a:pt x="780" y="712"/>
                  </a:lnTo>
                  <a:lnTo>
                    <a:pt x="778" y="714"/>
                  </a:lnTo>
                  <a:lnTo>
                    <a:pt x="778" y="714"/>
                  </a:lnTo>
                  <a:lnTo>
                    <a:pt x="774" y="710"/>
                  </a:lnTo>
                  <a:lnTo>
                    <a:pt x="770" y="706"/>
                  </a:lnTo>
                  <a:lnTo>
                    <a:pt x="770" y="706"/>
                  </a:lnTo>
                  <a:lnTo>
                    <a:pt x="764" y="706"/>
                  </a:lnTo>
                  <a:lnTo>
                    <a:pt x="764" y="706"/>
                  </a:lnTo>
                  <a:lnTo>
                    <a:pt x="762" y="692"/>
                  </a:lnTo>
                  <a:lnTo>
                    <a:pt x="762" y="692"/>
                  </a:lnTo>
                  <a:lnTo>
                    <a:pt x="764" y="690"/>
                  </a:lnTo>
                  <a:lnTo>
                    <a:pt x="764" y="690"/>
                  </a:lnTo>
                  <a:lnTo>
                    <a:pt x="758" y="686"/>
                  </a:lnTo>
                  <a:lnTo>
                    <a:pt x="758" y="680"/>
                  </a:lnTo>
                  <a:lnTo>
                    <a:pt x="758" y="680"/>
                  </a:lnTo>
                  <a:lnTo>
                    <a:pt x="756" y="678"/>
                  </a:lnTo>
                  <a:lnTo>
                    <a:pt x="756" y="678"/>
                  </a:lnTo>
                  <a:lnTo>
                    <a:pt x="754" y="678"/>
                  </a:lnTo>
                  <a:lnTo>
                    <a:pt x="750" y="678"/>
                  </a:lnTo>
                  <a:lnTo>
                    <a:pt x="750" y="678"/>
                  </a:lnTo>
                  <a:lnTo>
                    <a:pt x="744" y="676"/>
                  </a:lnTo>
                  <a:lnTo>
                    <a:pt x="740" y="670"/>
                  </a:lnTo>
                  <a:lnTo>
                    <a:pt x="736" y="658"/>
                  </a:lnTo>
                  <a:lnTo>
                    <a:pt x="736" y="658"/>
                  </a:lnTo>
                  <a:lnTo>
                    <a:pt x="734" y="658"/>
                  </a:lnTo>
                  <a:lnTo>
                    <a:pt x="732" y="660"/>
                  </a:lnTo>
                  <a:lnTo>
                    <a:pt x="732" y="660"/>
                  </a:lnTo>
                  <a:lnTo>
                    <a:pt x="732" y="660"/>
                  </a:lnTo>
                  <a:lnTo>
                    <a:pt x="730" y="658"/>
                  </a:lnTo>
                  <a:lnTo>
                    <a:pt x="728" y="656"/>
                  </a:lnTo>
                  <a:lnTo>
                    <a:pt x="728" y="656"/>
                  </a:lnTo>
                  <a:lnTo>
                    <a:pt x="726" y="658"/>
                  </a:lnTo>
                  <a:lnTo>
                    <a:pt x="724" y="658"/>
                  </a:lnTo>
                  <a:lnTo>
                    <a:pt x="724" y="658"/>
                  </a:lnTo>
                  <a:lnTo>
                    <a:pt x="720" y="658"/>
                  </a:lnTo>
                  <a:lnTo>
                    <a:pt x="718" y="656"/>
                  </a:lnTo>
                  <a:lnTo>
                    <a:pt x="716" y="658"/>
                  </a:lnTo>
                  <a:lnTo>
                    <a:pt x="716" y="658"/>
                  </a:lnTo>
                  <a:lnTo>
                    <a:pt x="716" y="662"/>
                  </a:lnTo>
                  <a:lnTo>
                    <a:pt x="716" y="664"/>
                  </a:lnTo>
                  <a:lnTo>
                    <a:pt x="716" y="664"/>
                  </a:lnTo>
                  <a:lnTo>
                    <a:pt x="714" y="664"/>
                  </a:lnTo>
                  <a:lnTo>
                    <a:pt x="714" y="664"/>
                  </a:lnTo>
                  <a:lnTo>
                    <a:pt x="714" y="662"/>
                  </a:lnTo>
                  <a:lnTo>
                    <a:pt x="714" y="660"/>
                  </a:lnTo>
                  <a:lnTo>
                    <a:pt x="712" y="660"/>
                  </a:lnTo>
                  <a:lnTo>
                    <a:pt x="712" y="660"/>
                  </a:lnTo>
                  <a:lnTo>
                    <a:pt x="712" y="662"/>
                  </a:lnTo>
                  <a:lnTo>
                    <a:pt x="712" y="664"/>
                  </a:lnTo>
                  <a:lnTo>
                    <a:pt x="710" y="664"/>
                  </a:lnTo>
                  <a:lnTo>
                    <a:pt x="710" y="664"/>
                  </a:lnTo>
                  <a:lnTo>
                    <a:pt x="708" y="668"/>
                  </a:lnTo>
                  <a:lnTo>
                    <a:pt x="708" y="668"/>
                  </a:lnTo>
                  <a:lnTo>
                    <a:pt x="702" y="666"/>
                  </a:lnTo>
                  <a:lnTo>
                    <a:pt x="702" y="666"/>
                  </a:lnTo>
                  <a:lnTo>
                    <a:pt x="700" y="674"/>
                  </a:lnTo>
                  <a:lnTo>
                    <a:pt x="696" y="676"/>
                  </a:lnTo>
                  <a:lnTo>
                    <a:pt x="696" y="676"/>
                  </a:lnTo>
                  <a:lnTo>
                    <a:pt x="694" y="676"/>
                  </a:lnTo>
                  <a:lnTo>
                    <a:pt x="690" y="674"/>
                  </a:lnTo>
                  <a:lnTo>
                    <a:pt x="690" y="674"/>
                  </a:lnTo>
                  <a:lnTo>
                    <a:pt x="688" y="672"/>
                  </a:lnTo>
                  <a:lnTo>
                    <a:pt x="686" y="672"/>
                  </a:lnTo>
                  <a:lnTo>
                    <a:pt x="682" y="672"/>
                  </a:lnTo>
                  <a:lnTo>
                    <a:pt x="682" y="672"/>
                  </a:lnTo>
                  <a:lnTo>
                    <a:pt x="674" y="672"/>
                  </a:lnTo>
                  <a:lnTo>
                    <a:pt x="674" y="672"/>
                  </a:lnTo>
                  <a:lnTo>
                    <a:pt x="670" y="672"/>
                  </a:lnTo>
                  <a:lnTo>
                    <a:pt x="666" y="672"/>
                  </a:lnTo>
                  <a:lnTo>
                    <a:pt x="666" y="672"/>
                  </a:lnTo>
                  <a:lnTo>
                    <a:pt x="662" y="668"/>
                  </a:lnTo>
                  <a:lnTo>
                    <a:pt x="656" y="666"/>
                  </a:lnTo>
                  <a:lnTo>
                    <a:pt x="656" y="666"/>
                  </a:lnTo>
                  <a:lnTo>
                    <a:pt x="652" y="666"/>
                  </a:lnTo>
                  <a:lnTo>
                    <a:pt x="650" y="666"/>
                  </a:lnTo>
                  <a:lnTo>
                    <a:pt x="650" y="668"/>
                  </a:lnTo>
                  <a:lnTo>
                    <a:pt x="650" y="668"/>
                  </a:lnTo>
                  <a:lnTo>
                    <a:pt x="648" y="670"/>
                  </a:lnTo>
                  <a:lnTo>
                    <a:pt x="646" y="670"/>
                  </a:lnTo>
                  <a:lnTo>
                    <a:pt x="640" y="666"/>
                  </a:lnTo>
                  <a:lnTo>
                    <a:pt x="640" y="666"/>
                  </a:lnTo>
                  <a:lnTo>
                    <a:pt x="636" y="666"/>
                  </a:lnTo>
                  <a:lnTo>
                    <a:pt x="634" y="666"/>
                  </a:lnTo>
                  <a:lnTo>
                    <a:pt x="634" y="666"/>
                  </a:lnTo>
                  <a:lnTo>
                    <a:pt x="632" y="660"/>
                  </a:lnTo>
                  <a:lnTo>
                    <a:pt x="630" y="654"/>
                  </a:lnTo>
                  <a:lnTo>
                    <a:pt x="628" y="652"/>
                  </a:lnTo>
                  <a:lnTo>
                    <a:pt x="628" y="652"/>
                  </a:lnTo>
                  <a:lnTo>
                    <a:pt x="626" y="654"/>
                  </a:lnTo>
                  <a:lnTo>
                    <a:pt x="626" y="656"/>
                  </a:lnTo>
                  <a:lnTo>
                    <a:pt x="624" y="660"/>
                  </a:lnTo>
                  <a:lnTo>
                    <a:pt x="256" y="654"/>
                  </a:lnTo>
                  <a:lnTo>
                    <a:pt x="256" y="654"/>
                  </a:lnTo>
                  <a:lnTo>
                    <a:pt x="254" y="652"/>
                  </a:lnTo>
                  <a:lnTo>
                    <a:pt x="252" y="650"/>
                  </a:lnTo>
                  <a:lnTo>
                    <a:pt x="252" y="650"/>
                  </a:lnTo>
                  <a:lnTo>
                    <a:pt x="252" y="646"/>
                  </a:lnTo>
                  <a:lnTo>
                    <a:pt x="252" y="646"/>
                  </a:lnTo>
                  <a:lnTo>
                    <a:pt x="248" y="646"/>
                  </a:lnTo>
                  <a:lnTo>
                    <a:pt x="248" y="644"/>
                  </a:lnTo>
                  <a:lnTo>
                    <a:pt x="248" y="644"/>
                  </a:lnTo>
                  <a:lnTo>
                    <a:pt x="244" y="642"/>
                  </a:lnTo>
                  <a:lnTo>
                    <a:pt x="244" y="642"/>
                  </a:lnTo>
                  <a:lnTo>
                    <a:pt x="244" y="640"/>
                  </a:lnTo>
                  <a:lnTo>
                    <a:pt x="244" y="638"/>
                  </a:lnTo>
                  <a:lnTo>
                    <a:pt x="246" y="638"/>
                  </a:lnTo>
                  <a:lnTo>
                    <a:pt x="246" y="638"/>
                  </a:lnTo>
                  <a:lnTo>
                    <a:pt x="244" y="636"/>
                  </a:lnTo>
                  <a:lnTo>
                    <a:pt x="244" y="636"/>
                  </a:lnTo>
                  <a:lnTo>
                    <a:pt x="242" y="636"/>
                  </a:lnTo>
                  <a:lnTo>
                    <a:pt x="242" y="636"/>
                  </a:lnTo>
                  <a:lnTo>
                    <a:pt x="240" y="638"/>
                  </a:lnTo>
                  <a:lnTo>
                    <a:pt x="238" y="640"/>
                  </a:lnTo>
                  <a:lnTo>
                    <a:pt x="238" y="640"/>
                  </a:lnTo>
                  <a:lnTo>
                    <a:pt x="236" y="640"/>
                  </a:lnTo>
                  <a:lnTo>
                    <a:pt x="236" y="638"/>
                  </a:lnTo>
                  <a:lnTo>
                    <a:pt x="236" y="636"/>
                  </a:lnTo>
                  <a:lnTo>
                    <a:pt x="236" y="632"/>
                  </a:lnTo>
                  <a:lnTo>
                    <a:pt x="236" y="630"/>
                  </a:lnTo>
                  <a:lnTo>
                    <a:pt x="236" y="630"/>
                  </a:lnTo>
                  <a:lnTo>
                    <a:pt x="230" y="630"/>
                  </a:lnTo>
                  <a:lnTo>
                    <a:pt x="224" y="628"/>
                  </a:lnTo>
                  <a:lnTo>
                    <a:pt x="224" y="628"/>
                  </a:lnTo>
                  <a:lnTo>
                    <a:pt x="224" y="628"/>
                  </a:lnTo>
                  <a:lnTo>
                    <a:pt x="224" y="626"/>
                  </a:lnTo>
                  <a:lnTo>
                    <a:pt x="224" y="626"/>
                  </a:lnTo>
                  <a:lnTo>
                    <a:pt x="220" y="624"/>
                  </a:lnTo>
                  <a:lnTo>
                    <a:pt x="220" y="624"/>
                  </a:lnTo>
                  <a:lnTo>
                    <a:pt x="220" y="620"/>
                  </a:lnTo>
                  <a:lnTo>
                    <a:pt x="220" y="620"/>
                  </a:lnTo>
                  <a:lnTo>
                    <a:pt x="216" y="622"/>
                  </a:lnTo>
                  <a:lnTo>
                    <a:pt x="216" y="622"/>
                  </a:lnTo>
                  <a:lnTo>
                    <a:pt x="210" y="624"/>
                  </a:lnTo>
                  <a:lnTo>
                    <a:pt x="202" y="624"/>
                  </a:lnTo>
                  <a:lnTo>
                    <a:pt x="202" y="624"/>
                  </a:lnTo>
                  <a:lnTo>
                    <a:pt x="200" y="624"/>
                  </a:lnTo>
                  <a:lnTo>
                    <a:pt x="200" y="622"/>
                  </a:lnTo>
                  <a:lnTo>
                    <a:pt x="200" y="622"/>
                  </a:lnTo>
                  <a:lnTo>
                    <a:pt x="202" y="618"/>
                  </a:lnTo>
                  <a:lnTo>
                    <a:pt x="200" y="618"/>
                  </a:lnTo>
                  <a:lnTo>
                    <a:pt x="198" y="616"/>
                  </a:lnTo>
                  <a:lnTo>
                    <a:pt x="198" y="616"/>
                  </a:lnTo>
                  <a:lnTo>
                    <a:pt x="190" y="618"/>
                  </a:lnTo>
                  <a:lnTo>
                    <a:pt x="184" y="620"/>
                  </a:lnTo>
                  <a:lnTo>
                    <a:pt x="184" y="620"/>
                  </a:lnTo>
                  <a:lnTo>
                    <a:pt x="198" y="626"/>
                  </a:lnTo>
                  <a:lnTo>
                    <a:pt x="198" y="626"/>
                  </a:lnTo>
                  <a:lnTo>
                    <a:pt x="204" y="626"/>
                  </a:lnTo>
                  <a:lnTo>
                    <a:pt x="210" y="626"/>
                  </a:lnTo>
                  <a:lnTo>
                    <a:pt x="210" y="626"/>
                  </a:lnTo>
                  <a:lnTo>
                    <a:pt x="214" y="628"/>
                  </a:lnTo>
                  <a:lnTo>
                    <a:pt x="214" y="628"/>
                  </a:lnTo>
                  <a:lnTo>
                    <a:pt x="216" y="628"/>
                  </a:lnTo>
                  <a:lnTo>
                    <a:pt x="218" y="628"/>
                  </a:lnTo>
                  <a:lnTo>
                    <a:pt x="216" y="630"/>
                  </a:lnTo>
                  <a:lnTo>
                    <a:pt x="216" y="630"/>
                  </a:lnTo>
                  <a:lnTo>
                    <a:pt x="216" y="630"/>
                  </a:lnTo>
                  <a:lnTo>
                    <a:pt x="216" y="630"/>
                  </a:lnTo>
                  <a:lnTo>
                    <a:pt x="218" y="634"/>
                  </a:lnTo>
                  <a:lnTo>
                    <a:pt x="218" y="634"/>
                  </a:lnTo>
                  <a:lnTo>
                    <a:pt x="222" y="634"/>
                  </a:lnTo>
                  <a:lnTo>
                    <a:pt x="222" y="634"/>
                  </a:lnTo>
                  <a:lnTo>
                    <a:pt x="222" y="640"/>
                  </a:lnTo>
                  <a:lnTo>
                    <a:pt x="222" y="640"/>
                  </a:lnTo>
                  <a:lnTo>
                    <a:pt x="226" y="642"/>
                  </a:lnTo>
                  <a:lnTo>
                    <a:pt x="232" y="644"/>
                  </a:lnTo>
                  <a:lnTo>
                    <a:pt x="232" y="644"/>
                  </a:lnTo>
                  <a:lnTo>
                    <a:pt x="238" y="646"/>
                  </a:lnTo>
                  <a:lnTo>
                    <a:pt x="244" y="652"/>
                  </a:lnTo>
                  <a:lnTo>
                    <a:pt x="244" y="652"/>
                  </a:lnTo>
                  <a:lnTo>
                    <a:pt x="244" y="654"/>
                  </a:lnTo>
                  <a:lnTo>
                    <a:pt x="244" y="654"/>
                  </a:lnTo>
                  <a:lnTo>
                    <a:pt x="248" y="658"/>
                  </a:lnTo>
                  <a:lnTo>
                    <a:pt x="248" y="658"/>
                  </a:lnTo>
                  <a:lnTo>
                    <a:pt x="252" y="660"/>
                  </a:lnTo>
                  <a:lnTo>
                    <a:pt x="252" y="660"/>
                  </a:lnTo>
                  <a:lnTo>
                    <a:pt x="252" y="666"/>
                  </a:lnTo>
                  <a:lnTo>
                    <a:pt x="252" y="666"/>
                  </a:lnTo>
                  <a:lnTo>
                    <a:pt x="244" y="664"/>
                  </a:lnTo>
                  <a:lnTo>
                    <a:pt x="232" y="664"/>
                  </a:lnTo>
                  <a:lnTo>
                    <a:pt x="232" y="664"/>
                  </a:lnTo>
                  <a:lnTo>
                    <a:pt x="232" y="662"/>
                  </a:lnTo>
                  <a:lnTo>
                    <a:pt x="232" y="662"/>
                  </a:lnTo>
                  <a:lnTo>
                    <a:pt x="228" y="662"/>
                  </a:lnTo>
                  <a:lnTo>
                    <a:pt x="228" y="662"/>
                  </a:lnTo>
                  <a:lnTo>
                    <a:pt x="224" y="660"/>
                  </a:lnTo>
                  <a:lnTo>
                    <a:pt x="222" y="658"/>
                  </a:lnTo>
                  <a:lnTo>
                    <a:pt x="222" y="652"/>
                  </a:lnTo>
                  <a:lnTo>
                    <a:pt x="222" y="652"/>
                  </a:lnTo>
                  <a:lnTo>
                    <a:pt x="212" y="650"/>
                  </a:lnTo>
                  <a:lnTo>
                    <a:pt x="212" y="650"/>
                  </a:lnTo>
                  <a:lnTo>
                    <a:pt x="214" y="646"/>
                  </a:lnTo>
                  <a:lnTo>
                    <a:pt x="214" y="646"/>
                  </a:lnTo>
                  <a:lnTo>
                    <a:pt x="210" y="646"/>
                  </a:lnTo>
                  <a:lnTo>
                    <a:pt x="210" y="646"/>
                  </a:lnTo>
                  <a:lnTo>
                    <a:pt x="210" y="644"/>
                  </a:lnTo>
                  <a:lnTo>
                    <a:pt x="210" y="644"/>
                  </a:lnTo>
                  <a:lnTo>
                    <a:pt x="200" y="644"/>
                  </a:lnTo>
                  <a:lnTo>
                    <a:pt x="200" y="644"/>
                  </a:lnTo>
                  <a:lnTo>
                    <a:pt x="202" y="636"/>
                  </a:lnTo>
                  <a:lnTo>
                    <a:pt x="202" y="636"/>
                  </a:lnTo>
                  <a:lnTo>
                    <a:pt x="188" y="636"/>
                  </a:lnTo>
                  <a:lnTo>
                    <a:pt x="188" y="632"/>
                  </a:lnTo>
                  <a:lnTo>
                    <a:pt x="188" y="632"/>
                  </a:lnTo>
                  <a:lnTo>
                    <a:pt x="184" y="636"/>
                  </a:lnTo>
                  <a:lnTo>
                    <a:pt x="184" y="636"/>
                  </a:lnTo>
                  <a:lnTo>
                    <a:pt x="182" y="636"/>
                  </a:lnTo>
                  <a:lnTo>
                    <a:pt x="180" y="634"/>
                  </a:lnTo>
                  <a:lnTo>
                    <a:pt x="180" y="634"/>
                  </a:lnTo>
                  <a:lnTo>
                    <a:pt x="180" y="626"/>
                  </a:lnTo>
                  <a:lnTo>
                    <a:pt x="176" y="624"/>
                  </a:lnTo>
                  <a:lnTo>
                    <a:pt x="176" y="624"/>
                  </a:lnTo>
                  <a:lnTo>
                    <a:pt x="178" y="618"/>
                  </a:lnTo>
                  <a:lnTo>
                    <a:pt x="178" y="618"/>
                  </a:lnTo>
                  <a:lnTo>
                    <a:pt x="184" y="620"/>
                  </a:lnTo>
                  <a:lnTo>
                    <a:pt x="184" y="620"/>
                  </a:lnTo>
                  <a:lnTo>
                    <a:pt x="184" y="614"/>
                  </a:lnTo>
                  <a:lnTo>
                    <a:pt x="184" y="612"/>
                  </a:lnTo>
                  <a:lnTo>
                    <a:pt x="184" y="610"/>
                  </a:lnTo>
                  <a:lnTo>
                    <a:pt x="184" y="610"/>
                  </a:lnTo>
                  <a:lnTo>
                    <a:pt x="188" y="610"/>
                  </a:lnTo>
                  <a:lnTo>
                    <a:pt x="188" y="610"/>
                  </a:lnTo>
                  <a:lnTo>
                    <a:pt x="188" y="608"/>
                  </a:lnTo>
                  <a:lnTo>
                    <a:pt x="186" y="608"/>
                  </a:lnTo>
                  <a:lnTo>
                    <a:pt x="186" y="608"/>
                  </a:lnTo>
                  <a:lnTo>
                    <a:pt x="186" y="608"/>
                  </a:lnTo>
                  <a:lnTo>
                    <a:pt x="186" y="608"/>
                  </a:lnTo>
                  <a:lnTo>
                    <a:pt x="190" y="606"/>
                  </a:lnTo>
                  <a:lnTo>
                    <a:pt x="190" y="606"/>
                  </a:lnTo>
                  <a:lnTo>
                    <a:pt x="186" y="604"/>
                  </a:lnTo>
                  <a:lnTo>
                    <a:pt x="186" y="604"/>
                  </a:lnTo>
                  <a:lnTo>
                    <a:pt x="186" y="598"/>
                  </a:lnTo>
                  <a:lnTo>
                    <a:pt x="186" y="598"/>
                  </a:lnTo>
                  <a:lnTo>
                    <a:pt x="188" y="598"/>
                  </a:lnTo>
                  <a:lnTo>
                    <a:pt x="188" y="596"/>
                  </a:lnTo>
                  <a:lnTo>
                    <a:pt x="188" y="596"/>
                  </a:lnTo>
                  <a:lnTo>
                    <a:pt x="184" y="596"/>
                  </a:lnTo>
                  <a:lnTo>
                    <a:pt x="186" y="592"/>
                  </a:lnTo>
                  <a:lnTo>
                    <a:pt x="186" y="592"/>
                  </a:lnTo>
                  <a:lnTo>
                    <a:pt x="182" y="592"/>
                  </a:lnTo>
                  <a:lnTo>
                    <a:pt x="180" y="590"/>
                  </a:lnTo>
                  <a:lnTo>
                    <a:pt x="180" y="590"/>
                  </a:lnTo>
                  <a:lnTo>
                    <a:pt x="178" y="586"/>
                  </a:lnTo>
                  <a:lnTo>
                    <a:pt x="178" y="582"/>
                  </a:lnTo>
                  <a:lnTo>
                    <a:pt x="178" y="582"/>
                  </a:lnTo>
                  <a:lnTo>
                    <a:pt x="176" y="584"/>
                  </a:lnTo>
                  <a:lnTo>
                    <a:pt x="176" y="584"/>
                  </a:lnTo>
                  <a:lnTo>
                    <a:pt x="176" y="584"/>
                  </a:lnTo>
                  <a:lnTo>
                    <a:pt x="172" y="584"/>
                  </a:lnTo>
                  <a:lnTo>
                    <a:pt x="172" y="584"/>
                  </a:lnTo>
                  <a:lnTo>
                    <a:pt x="172" y="584"/>
                  </a:lnTo>
                  <a:lnTo>
                    <a:pt x="172" y="586"/>
                  </a:lnTo>
                  <a:lnTo>
                    <a:pt x="170" y="588"/>
                  </a:lnTo>
                  <a:lnTo>
                    <a:pt x="170" y="582"/>
                  </a:lnTo>
                  <a:lnTo>
                    <a:pt x="170" y="582"/>
                  </a:lnTo>
                  <a:lnTo>
                    <a:pt x="166" y="580"/>
                  </a:lnTo>
                  <a:lnTo>
                    <a:pt x="166" y="580"/>
                  </a:lnTo>
                  <a:lnTo>
                    <a:pt x="168" y="576"/>
                  </a:lnTo>
                  <a:lnTo>
                    <a:pt x="168" y="576"/>
                  </a:lnTo>
                  <a:lnTo>
                    <a:pt x="170" y="576"/>
                  </a:lnTo>
                  <a:lnTo>
                    <a:pt x="170" y="576"/>
                  </a:lnTo>
                  <a:lnTo>
                    <a:pt x="170" y="568"/>
                  </a:lnTo>
                  <a:lnTo>
                    <a:pt x="170" y="568"/>
                  </a:lnTo>
                  <a:lnTo>
                    <a:pt x="172" y="566"/>
                  </a:lnTo>
                  <a:lnTo>
                    <a:pt x="172" y="566"/>
                  </a:lnTo>
                  <a:lnTo>
                    <a:pt x="170" y="566"/>
                  </a:lnTo>
                  <a:lnTo>
                    <a:pt x="168" y="566"/>
                  </a:lnTo>
                  <a:lnTo>
                    <a:pt x="164" y="570"/>
                  </a:lnTo>
                  <a:lnTo>
                    <a:pt x="164" y="570"/>
                  </a:lnTo>
                  <a:lnTo>
                    <a:pt x="166" y="570"/>
                  </a:lnTo>
                  <a:lnTo>
                    <a:pt x="166" y="572"/>
                  </a:lnTo>
                  <a:lnTo>
                    <a:pt x="166" y="572"/>
                  </a:lnTo>
                  <a:lnTo>
                    <a:pt x="164" y="572"/>
                  </a:lnTo>
                  <a:lnTo>
                    <a:pt x="162" y="574"/>
                  </a:lnTo>
                  <a:lnTo>
                    <a:pt x="158" y="568"/>
                  </a:lnTo>
                  <a:lnTo>
                    <a:pt x="158" y="568"/>
                  </a:lnTo>
                  <a:lnTo>
                    <a:pt x="154" y="562"/>
                  </a:lnTo>
                  <a:lnTo>
                    <a:pt x="154" y="560"/>
                  </a:lnTo>
                  <a:lnTo>
                    <a:pt x="158" y="560"/>
                  </a:lnTo>
                  <a:lnTo>
                    <a:pt x="158" y="558"/>
                  </a:lnTo>
                  <a:lnTo>
                    <a:pt x="158" y="558"/>
                  </a:lnTo>
                  <a:lnTo>
                    <a:pt x="154" y="556"/>
                  </a:lnTo>
                  <a:lnTo>
                    <a:pt x="154" y="556"/>
                  </a:lnTo>
                  <a:lnTo>
                    <a:pt x="154" y="554"/>
                  </a:lnTo>
                  <a:lnTo>
                    <a:pt x="154" y="554"/>
                  </a:lnTo>
                  <a:lnTo>
                    <a:pt x="154" y="552"/>
                  </a:lnTo>
                  <a:lnTo>
                    <a:pt x="154" y="552"/>
                  </a:lnTo>
                  <a:lnTo>
                    <a:pt x="154" y="552"/>
                  </a:lnTo>
                  <a:lnTo>
                    <a:pt x="152" y="550"/>
                  </a:lnTo>
                  <a:lnTo>
                    <a:pt x="150" y="548"/>
                  </a:lnTo>
                  <a:lnTo>
                    <a:pt x="150" y="548"/>
                  </a:lnTo>
                  <a:lnTo>
                    <a:pt x="154" y="540"/>
                  </a:lnTo>
                  <a:lnTo>
                    <a:pt x="156" y="538"/>
                  </a:lnTo>
                  <a:lnTo>
                    <a:pt x="158" y="534"/>
                  </a:lnTo>
                  <a:lnTo>
                    <a:pt x="158" y="534"/>
                  </a:lnTo>
                  <a:lnTo>
                    <a:pt x="162" y="534"/>
                  </a:lnTo>
                  <a:lnTo>
                    <a:pt x="162" y="534"/>
                  </a:lnTo>
                  <a:lnTo>
                    <a:pt x="162" y="530"/>
                  </a:lnTo>
                  <a:lnTo>
                    <a:pt x="162" y="530"/>
                  </a:lnTo>
                  <a:lnTo>
                    <a:pt x="160" y="530"/>
                  </a:lnTo>
                  <a:lnTo>
                    <a:pt x="158" y="530"/>
                  </a:lnTo>
                  <a:lnTo>
                    <a:pt x="158" y="530"/>
                  </a:lnTo>
                  <a:lnTo>
                    <a:pt x="162" y="526"/>
                  </a:lnTo>
                  <a:lnTo>
                    <a:pt x="162" y="526"/>
                  </a:lnTo>
                  <a:lnTo>
                    <a:pt x="162" y="522"/>
                  </a:lnTo>
                  <a:lnTo>
                    <a:pt x="162" y="520"/>
                  </a:lnTo>
                  <a:lnTo>
                    <a:pt x="162" y="520"/>
                  </a:lnTo>
                  <a:lnTo>
                    <a:pt x="162" y="518"/>
                  </a:lnTo>
                  <a:lnTo>
                    <a:pt x="162" y="516"/>
                  </a:lnTo>
                  <a:lnTo>
                    <a:pt x="164" y="514"/>
                  </a:lnTo>
                  <a:lnTo>
                    <a:pt x="164" y="512"/>
                  </a:lnTo>
                  <a:lnTo>
                    <a:pt x="164" y="512"/>
                  </a:lnTo>
                  <a:lnTo>
                    <a:pt x="162" y="512"/>
                  </a:lnTo>
                  <a:lnTo>
                    <a:pt x="162" y="510"/>
                  </a:lnTo>
                  <a:lnTo>
                    <a:pt x="160" y="506"/>
                  </a:lnTo>
                  <a:lnTo>
                    <a:pt x="160" y="504"/>
                  </a:lnTo>
                  <a:lnTo>
                    <a:pt x="160" y="504"/>
                  </a:lnTo>
                  <a:lnTo>
                    <a:pt x="156" y="504"/>
                  </a:lnTo>
                  <a:lnTo>
                    <a:pt x="154" y="500"/>
                  </a:lnTo>
                  <a:lnTo>
                    <a:pt x="154" y="500"/>
                  </a:lnTo>
                  <a:lnTo>
                    <a:pt x="152" y="494"/>
                  </a:lnTo>
                  <a:lnTo>
                    <a:pt x="150" y="488"/>
                  </a:lnTo>
                  <a:lnTo>
                    <a:pt x="150" y="488"/>
                  </a:lnTo>
                  <a:lnTo>
                    <a:pt x="150" y="486"/>
                  </a:lnTo>
                  <a:lnTo>
                    <a:pt x="148" y="488"/>
                  </a:lnTo>
                  <a:lnTo>
                    <a:pt x="146" y="488"/>
                  </a:lnTo>
                  <a:lnTo>
                    <a:pt x="142" y="488"/>
                  </a:lnTo>
                  <a:lnTo>
                    <a:pt x="142" y="488"/>
                  </a:lnTo>
                  <a:lnTo>
                    <a:pt x="138" y="486"/>
                  </a:lnTo>
                  <a:lnTo>
                    <a:pt x="136" y="482"/>
                  </a:lnTo>
                  <a:lnTo>
                    <a:pt x="134" y="480"/>
                  </a:lnTo>
                  <a:lnTo>
                    <a:pt x="132" y="478"/>
                  </a:lnTo>
                  <a:lnTo>
                    <a:pt x="132" y="478"/>
                  </a:lnTo>
                  <a:lnTo>
                    <a:pt x="128" y="474"/>
                  </a:lnTo>
                  <a:lnTo>
                    <a:pt x="126" y="472"/>
                  </a:lnTo>
                  <a:lnTo>
                    <a:pt x="124" y="464"/>
                  </a:lnTo>
                  <a:lnTo>
                    <a:pt x="124" y="464"/>
                  </a:lnTo>
                  <a:lnTo>
                    <a:pt x="108" y="446"/>
                  </a:lnTo>
                  <a:lnTo>
                    <a:pt x="108" y="446"/>
                  </a:lnTo>
                  <a:lnTo>
                    <a:pt x="102" y="438"/>
                  </a:lnTo>
                  <a:lnTo>
                    <a:pt x="100" y="436"/>
                  </a:lnTo>
                  <a:lnTo>
                    <a:pt x="96" y="434"/>
                  </a:lnTo>
                  <a:lnTo>
                    <a:pt x="96" y="434"/>
                  </a:lnTo>
                  <a:lnTo>
                    <a:pt x="92" y="434"/>
                  </a:lnTo>
                  <a:lnTo>
                    <a:pt x="90" y="432"/>
                  </a:lnTo>
                  <a:lnTo>
                    <a:pt x="90" y="426"/>
                  </a:lnTo>
                  <a:lnTo>
                    <a:pt x="90" y="426"/>
                  </a:lnTo>
                  <a:lnTo>
                    <a:pt x="88" y="424"/>
                  </a:lnTo>
                  <a:lnTo>
                    <a:pt x="86" y="424"/>
                  </a:lnTo>
                  <a:lnTo>
                    <a:pt x="84" y="422"/>
                  </a:lnTo>
                  <a:lnTo>
                    <a:pt x="80" y="420"/>
                  </a:lnTo>
                  <a:lnTo>
                    <a:pt x="80" y="420"/>
                  </a:lnTo>
                  <a:lnTo>
                    <a:pt x="78" y="418"/>
                  </a:lnTo>
                  <a:lnTo>
                    <a:pt x="76" y="418"/>
                  </a:lnTo>
                  <a:lnTo>
                    <a:pt x="70" y="420"/>
                  </a:lnTo>
                  <a:lnTo>
                    <a:pt x="70" y="420"/>
                  </a:lnTo>
                  <a:lnTo>
                    <a:pt x="68" y="420"/>
                  </a:lnTo>
                  <a:lnTo>
                    <a:pt x="68" y="422"/>
                  </a:lnTo>
                  <a:lnTo>
                    <a:pt x="70" y="424"/>
                  </a:lnTo>
                  <a:lnTo>
                    <a:pt x="70" y="428"/>
                  </a:lnTo>
                  <a:lnTo>
                    <a:pt x="70" y="428"/>
                  </a:lnTo>
                  <a:lnTo>
                    <a:pt x="68" y="430"/>
                  </a:lnTo>
                  <a:lnTo>
                    <a:pt x="64" y="430"/>
                  </a:lnTo>
                  <a:lnTo>
                    <a:pt x="58" y="434"/>
                  </a:lnTo>
                  <a:lnTo>
                    <a:pt x="58" y="434"/>
                  </a:lnTo>
                  <a:lnTo>
                    <a:pt x="54" y="438"/>
                  </a:lnTo>
                  <a:lnTo>
                    <a:pt x="52" y="436"/>
                  </a:lnTo>
                  <a:lnTo>
                    <a:pt x="52" y="434"/>
                  </a:lnTo>
                  <a:lnTo>
                    <a:pt x="52" y="430"/>
                  </a:lnTo>
                  <a:lnTo>
                    <a:pt x="52" y="430"/>
                  </a:lnTo>
                  <a:lnTo>
                    <a:pt x="48" y="426"/>
                  </a:lnTo>
                  <a:lnTo>
                    <a:pt x="44" y="424"/>
                  </a:lnTo>
                  <a:lnTo>
                    <a:pt x="40" y="420"/>
                  </a:lnTo>
                  <a:lnTo>
                    <a:pt x="36" y="416"/>
                  </a:lnTo>
                  <a:lnTo>
                    <a:pt x="36" y="416"/>
                  </a:lnTo>
                  <a:lnTo>
                    <a:pt x="32" y="408"/>
                  </a:lnTo>
                  <a:lnTo>
                    <a:pt x="32" y="408"/>
                  </a:lnTo>
                  <a:lnTo>
                    <a:pt x="32" y="400"/>
                  </a:lnTo>
                  <a:lnTo>
                    <a:pt x="32" y="398"/>
                  </a:lnTo>
                  <a:lnTo>
                    <a:pt x="30" y="398"/>
                  </a:lnTo>
                  <a:lnTo>
                    <a:pt x="26" y="402"/>
                  </a:lnTo>
                  <a:lnTo>
                    <a:pt x="26" y="402"/>
                  </a:lnTo>
                  <a:lnTo>
                    <a:pt x="24" y="404"/>
                  </a:lnTo>
                  <a:lnTo>
                    <a:pt x="22" y="402"/>
                  </a:lnTo>
                  <a:lnTo>
                    <a:pt x="18" y="400"/>
                  </a:lnTo>
                  <a:lnTo>
                    <a:pt x="18" y="400"/>
                  </a:lnTo>
                  <a:lnTo>
                    <a:pt x="14" y="400"/>
                  </a:lnTo>
                  <a:lnTo>
                    <a:pt x="10" y="400"/>
                  </a:lnTo>
                  <a:lnTo>
                    <a:pt x="6" y="402"/>
                  </a:lnTo>
                  <a:lnTo>
                    <a:pt x="0" y="186"/>
                  </a:lnTo>
                  <a:lnTo>
                    <a:pt x="0" y="186"/>
                  </a:lnTo>
                  <a:lnTo>
                    <a:pt x="10" y="188"/>
                  </a:lnTo>
                  <a:lnTo>
                    <a:pt x="12" y="190"/>
                  </a:lnTo>
                  <a:lnTo>
                    <a:pt x="12" y="190"/>
                  </a:lnTo>
                  <a:lnTo>
                    <a:pt x="20" y="190"/>
                  </a:lnTo>
                  <a:lnTo>
                    <a:pt x="28" y="188"/>
                  </a:lnTo>
                  <a:lnTo>
                    <a:pt x="28" y="188"/>
                  </a:lnTo>
                  <a:lnTo>
                    <a:pt x="32" y="192"/>
                  </a:lnTo>
                  <a:lnTo>
                    <a:pt x="36" y="196"/>
                  </a:lnTo>
                  <a:lnTo>
                    <a:pt x="36" y="196"/>
                  </a:lnTo>
                  <a:lnTo>
                    <a:pt x="40" y="196"/>
                  </a:lnTo>
                  <a:lnTo>
                    <a:pt x="40" y="196"/>
                  </a:lnTo>
                  <a:lnTo>
                    <a:pt x="44" y="200"/>
                  </a:lnTo>
                  <a:lnTo>
                    <a:pt x="44" y="200"/>
                  </a:lnTo>
                  <a:lnTo>
                    <a:pt x="50" y="200"/>
                  </a:lnTo>
                  <a:lnTo>
                    <a:pt x="50" y="200"/>
                  </a:lnTo>
                  <a:lnTo>
                    <a:pt x="52" y="202"/>
                  </a:lnTo>
                  <a:lnTo>
                    <a:pt x="56" y="206"/>
                  </a:lnTo>
                  <a:lnTo>
                    <a:pt x="56" y="206"/>
                  </a:lnTo>
                  <a:lnTo>
                    <a:pt x="60" y="206"/>
                  </a:lnTo>
                  <a:lnTo>
                    <a:pt x="60" y="206"/>
                  </a:lnTo>
                  <a:lnTo>
                    <a:pt x="74" y="212"/>
                  </a:lnTo>
                  <a:lnTo>
                    <a:pt x="74" y="212"/>
                  </a:lnTo>
                  <a:lnTo>
                    <a:pt x="78" y="216"/>
                  </a:lnTo>
                  <a:lnTo>
                    <a:pt x="80" y="222"/>
                  </a:lnTo>
                  <a:lnTo>
                    <a:pt x="82" y="222"/>
                  </a:lnTo>
                  <a:lnTo>
                    <a:pt x="82" y="222"/>
                  </a:lnTo>
                  <a:lnTo>
                    <a:pt x="82" y="216"/>
                  </a:lnTo>
                  <a:lnTo>
                    <a:pt x="82" y="214"/>
                  </a:lnTo>
                  <a:lnTo>
                    <a:pt x="78" y="212"/>
                  </a:lnTo>
                  <a:lnTo>
                    <a:pt x="74" y="210"/>
                  </a:lnTo>
                  <a:lnTo>
                    <a:pt x="74" y="210"/>
                  </a:lnTo>
                  <a:lnTo>
                    <a:pt x="74" y="204"/>
                  </a:lnTo>
                  <a:lnTo>
                    <a:pt x="82" y="204"/>
                  </a:lnTo>
                  <a:lnTo>
                    <a:pt x="82" y="204"/>
                  </a:lnTo>
                  <a:lnTo>
                    <a:pt x="82" y="206"/>
                  </a:lnTo>
                  <a:lnTo>
                    <a:pt x="82" y="208"/>
                  </a:lnTo>
                  <a:lnTo>
                    <a:pt x="82" y="208"/>
                  </a:lnTo>
                  <a:lnTo>
                    <a:pt x="86" y="208"/>
                  </a:lnTo>
                  <a:lnTo>
                    <a:pt x="86" y="208"/>
                  </a:lnTo>
                  <a:lnTo>
                    <a:pt x="86" y="202"/>
                  </a:lnTo>
                  <a:lnTo>
                    <a:pt x="86" y="202"/>
                  </a:lnTo>
                  <a:lnTo>
                    <a:pt x="88" y="202"/>
                  </a:lnTo>
                  <a:lnTo>
                    <a:pt x="92" y="202"/>
                  </a:lnTo>
                  <a:lnTo>
                    <a:pt x="92" y="202"/>
                  </a:lnTo>
                  <a:lnTo>
                    <a:pt x="92" y="200"/>
                  </a:lnTo>
                  <a:lnTo>
                    <a:pt x="92" y="200"/>
                  </a:lnTo>
                  <a:lnTo>
                    <a:pt x="94" y="198"/>
                  </a:lnTo>
                  <a:lnTo>
                    <a:pt x="94" y="198"/>
                  </a:lnTo>
                  <a:lnTo>
                    <a:pt x="94" y="190"/>
                  </a:lnTo>
                  <a:lnTo>
                    <a:pt x="94" y="190"/>
                  </a:lnTo>
                  <a:lnTo>
                    <a:pt x="94" y="192"/>
                  </a:lnTo>
                  <a:lnTo>
                    <a:pt x="96" y="192"/>
                  </a:lnTo>
                  <a:lnTo>
                    <a:pt x="96" y="192"/>
                  </a:lnTo>
                  <a:lnTo>
                    <a:pt x="102" y="196"/>
                  </a:lnTo>
                  <a:lnTo>
                    <a:pt x="102" y="196"/>
                  </a:lnTo>
                  <a:lnTo>
                    <a:pt x="102" y="200"/>
                  </a:lnTo>
                  <a:lnTo>
                    <a:pt x="102" y="200"/>
                  </a:lnTo>
                  <a:lnTo>
                    <a:pt x="112" y="198"/>
                  </a:lnTo>
                  <a:lnTo>
                    <a:pt x="112" y="198"/>
                  </a:lnTo>
                  <a:lnTo>
                    <a:pt x="112" y="194"/>
                  </a:lnTo>
                  <a:lnTo>
                    <a:pt x="114" y="190"/>
                  </a:lnTo>
                  <a:lnTo>
                    <a:pt x="114" y="190"/>
                  </a:lnTo>
                  <a:lnTo>
                    <a:pt x="116" y="190"/>
                  </a:lnTo>
                  <a:lnTo>
                    <a:pt x="118" y="190"/>
                  </a:lnTo>
                  <a:lnTo>
                    <a:pt x="120" y="188"/>
                  </a:lnTo>
                  <a:lnTo>
                    <a:pt x="120" y="188"/>
                  </a:lnTo>
                  <a:lnTo>
                    <a:pt x="126" y="188"/>
                  </a:lnTo>
                  <a:lnTo>
                    <a:pt x="126" y="188"/>
                  </a:lnTo>
                  <a:lnTo>
                    <a:pt x="128" y="186"/>
                  </a:lnTo>
                  <a:lnTo>
                    <a:pt x="128" y="186"/>
                  </a:lnTo>
                  <a:lnTo>
                    <a:pt x="132" y="186"/>
                  </a:lnTo>
                  <a:lnTo>
                    <a:pt x="138" y="188"/>
                  </a:lnTo>
                  <a:lnTo>
                    <a:pt x="138" y="188"/>
                  </a:lnTo>
                  <a:lnTo>
                    <a:pt x="142" y="176"/>
                  </a:lnTo>
                  <a:lnTo>
                    <a:pt x="142" y="176"/>
                  </a:lnTo>
                  <a:lnTo>
                    <a:pt x="158" y="176"/>
                  </a:lnTo>
                  <a:lnTo>
                    <a:pt x="158" y="176"/>
                  </a:lnTo>
                  <a:lnTo>
                    <a:pt x="158" y="182"/>
                  </a:lnTo>
                  <a:lnTo>
                    <a:pt x="152" y="184"/>
                  </a:lnTo>
                  <a:lnTo>
                    <a:pt x="152" y="184"/>
                  </a:lnTo>
                  <a:lnTo>
                    <a:pt x="148" y="192"/>
                  </a:lnTo>
                  <a:lnTo>
                    <a:pt x="148" y="192"/>
                  </a:lnTo>
                  <a:lnTo>
                    <a:pt x="144" y="192"/>
                  </a:lnTo>
                  <a:lnTo>
                    <a:pt x="142" y="192"/>
                  </a:lnTo>
                  <a:lnTo>
                    <a:pt x="142" y="192"/>
                  </a:lnTo>
                  <a:lnTo>
                    <a:pt x="124" y="196"/>
                  </a:lnTo>
                  <a:lnTo>
                    <a:pt x="124" y="196"/>
                  </a:lnTo>
                  <a:lnTo>
                    <a:pt x="124" y="204"/>
                  </a:lnTo>
                  <a:lnTo>
                    <a:pt x="124" y="204"/>
                  </a:lnTo>
                  <a:lnTo>
                    <a:pt x="120" y="204"/>
                  </a:lnTo>
                  <a:lnTo>
                    <a:pt x="116" y="206"/>
                  </a:lnTo>
                  <a:lnTo>
                    <a:pt x="116" y="206"/>
                  </a:lnTo>
                  <a:lnTo>
                    <a:pt x="118" y="212"/>
                  </a:lnTo>
                  <a:lnTo>
                    <a:pt x="118" y="212"/>
                  </a:lnTo>
                  <a:lnTo>
                    <a:pt x="114" y="216"/>
                  </a:lnTo>
                  <a:lnTo>
                    <a:pt x="112" y="222"/>
                  </a:lnTo>
                  <a:lnTo>
                    <a:pt x="112" y="222"/>
                  </a:lnTo>
                  <a:lnTo>
                    <a:pt x="120" y="220"/>
                  </a:lnTo>
                  <a:lnTo>
                    <a:pt x="120" y="220"/>
                  </a:lnTo>
                  <a:lnTo>
                    <a:pt x="120" y="218"/>
                  </a:lnTo>
                  <a:lnTo>
                    <a:pt x="120" y="214"/>
                  </a:lnTo>
                  <a:lnTo>
                    <a:pt x="120" y="214"/>
                  </a:lnTo>
                  <a:lnTo>
                    <a:pt x="124" y="212"/>
                  </a:lnTo>
                  <a:lnTo>
                    <a:pt x="124" y="212"/>
                  </a:lnTo>
                  <a:lnTo>
                    <a:pt x="124" y="208"/>
                  </a:lnTo>
                  <a:lnTo>
                    <a:pt x="126" y="208"/>
                  </a:lnTo>
                  <a:lnTo>
                    <a:pt x="126" y="208"/>
                  </a:lnTo>
                  <a:lnTo>
                    <a:pt x="126" y="208"/>
                  </a:lnTo>
                  <a:lnTo>
                    <a:pt x="126" y="208"/>
                  </a:lnTo>
                  <a:lnTo>
                    <a:pt x="128" y="208"/>
                  </a:lnTo>
                  <a:lnTo>
                    <a:pt x="128" y="208"/>
                  </a:lnTo>
                  <a:lnTo>
                    <a:pt x="128" y="206"/>
                  </a:lnTo>
                  <a:lnTo>
                    <a:pt x="128" y="206"/>
                  </a:lnTo>
                  <a:lnTo>
                    <a:pt x="132" y="206"/>
                  </a:lnTo>
                  <a:lnTo>
                    <a:pt x="132" y="206"/>
                  </a:lnTo>
                  <a:lnTo>
                    <a:pt x="132" y="204"/>
                  </a:lnTo>
                  <a:lnTo>
                    <a:pt x="132" y="204"/>
                  </a:lnTo>
                  <a:lnTo>
                    <a:pt x="132" y="204"/>
                  </a:lnTo>
                  <a:lnTo>
                    <a:pt x="132" y="202"/>
                  </a:lnTo>
                  <a:lnTo>
                    <a:pt x="132" y="202"/>
                  </a:lnTo>
                  <a:lnTo>
                    <a:pt x="132" y="202"/>
                  </a:lnTo>
                  <a:lnTo>
                    <a:pt x="134" y="200"/>
                  </a:lnTo>
                  <a:lnTo>
                    <a:pt x="134" y="200"/>
                  </a:lnTo>
                  <a:lnTo>
                    <a:pt x="136" y="200"/>
                  </a:lnTo>
                  <a:lnTo>
                    <a:pt x="136" y="200"/>
                  </a:lnTo>
                  <a:lnTo>
                    <a:pt x="138" y="204"/>
                  </a:lnTo>
                  <a:lnTo>
                    <a:pt x="138" y="204"/>
                  </a:lnTo>
                  <a:lnTo>
                    <a:pt x="148" y="200"/>
                  </a:lnTo>
                  <a:lnTo>
                    <a:pt x="148" y="200"/>
                  </a:lnTo>
                  <a:lnTo>
                    <a:pt x="148" y="198"/>
                  </a:lnTo>
                  <a:lnTo>
                    <a:pt x="148" y="196"/>
                  </a:lnTo>
                  <a:lnTo>
                    <a:pt x="150" y="192"/>
                  </a:lnTo>
                  <a:lnTo>
                    <a:pt x="150" y="192"/>
                  </a:lnTo>
                  <a:lnTo>
                    <a:pt x="154" y="190"/>
                  </a:lnTo>
                  <a:lnTo>
                    <a:pt x="158" y="188"/>
                  </a:lnTo>
                  <a:lnTo>
                    <a:pt x="168" y="186"/>
                  </a:lnTo>
                  <a:lnTo>
                    <a:pt x="168" y="186"/>
                  </a:lnTo>
                  <a:lnTo>
                    <a:pt x="174" y="180"/>
                  </a:lnTo>
                  <a:lnTo>
                    <a:pt x="176" y="172"/>
                  </a:lnTo>
                  <a:lnTo>
                    <a:pt x="176" y="172"/>
                  </a:lnTo>
                  <a:lnTo>
                    <a:pt x="176" y="170"/>
                  </a:lnTo>
                  <a:lnTo>
                    <a:pt x="174" y="170"/>
                  </a:lnTo>
                  <a:lnTo>
                    <a:pt x="174" y="170"/>
                  </a:lnTo>
                  <a:lnTo>
                    <a:pt x="174" y="166"/>
                  </a:lnTo>
                  <a:lnTo>
                    <a:pt x="174" y="162"/>
                  </a:lnTo>
                  <a:lnTo>
                    <a:pt x="178" y="158"/>
                  </a:lnTo>
                  <a:lnTo>
                    <a:pt x="178" y="158"/>
                  </a:lnTo>
                  <a:lnTo>
                    <a:pt x="182" y="162"/>
                  </a:lnTo>
                  <a:lnTo>
                    <a:pt x="186" y="166"/>
                  </a:lnTo>
                  <a:lnTo>
                    <a:pt x="186" y="166"/>
                  </a:lnTo>
                  <a:lnTo>
                    <a:pt x="190" y="172"/>
                  </a:lnTo>
                  <a:lnTo>
                    <a:pt x="200" y="180"/>
                  </a:lnTo>
                  <a:lnTo>
                    <a:pt x="200" y="180"/>
                  </a:lnTo>
                  <a:lnTo>
                    <a:pt x="204" y="180"/>
                  </a:lnTo>
                  <a:lnTo>
                    <a:pt x="206" y="182"/>
                  </a:lnTo>
                  <a:lnTo>
                    <a:pt x="206" y="182"/>
                  </a:lnTo>
                  <a:lnTo>
                    <a:pt x="208" y="184"/>
                  </a:lnTo>
                  <a:lnTo>
                    <a:pt x="208" y="188"/>
                  </a:lnTo>
                  <a:lnTo>
                    <a:pt x="208" y="188"/>
                  </a:lnTo>
                  <a:lnTo>
                    <a:pt x="210" y="186"/>
                  </a:lnTo>
                  <a:lnTo>
                    <a:pt x="210" y="186"/>
                  </a:lnTo>
                  <a:lnTo>
                    <a:pt x="212" y="190"/>
                  </a:lnTo>
                  <a:lnTo>
                    <a:pt x="212" y="190"/>
                  </a:lnTo>
                  <a:lnTo>
                    <a:pt x="222" y="198"/>
                  </a:lnTo>
                  <a:lnTo>
                    <a:pt x="230" y="206"/>
                  </a:lnTo>
                  <a:lnTo>
                    <a:pt x="230" y="206"/>
                  </a:lnTo>
                  <a:lnTo>
                    <a:pt x="234" y="206"/>
                  </a:lnTo>
                  <a:lnTo>
                    <a:pt x="234" y="206"/>
                  </a:lnTo>
                  <a:lnTo>
                    <a:pt x="232" y="204"/>
                  </a:lnTo>
                  <a:lnTo>
                    <a:pt x="232" y="202"/>
                  </a:lnTo>
                  <a:lnTo>
                    <a:pt x="232" y="202"/>
                  </a:lnTo>
                  <a:lnTo>
                    <a:pt x="236" y="200"/>
                  </a:lnTo>
                  <a:lnTo>
                    <a:pt x="236" y="200"/>
                  </a:lnTo>
                  <a:lnTo>
                    <a:pt x="234" y="194"/>
                  </a:lnTo>
                  <a:lnTo>
                    <a:pt x="234" y="192"/>
                  </a:lnTo>
                  <a:lnTo>
                    <a:pt x="236" y="192"/>
                  </a:lnTo>
                  <a:lnTo>
                    <a:pt x="236" y="192"/>
                  </a:lnTo>
                  <a:lnTo>
                    <a:pt x="234" y="190"/>
                  </a:lnTo>
                  <a:lnTo>
                    <a:pt x="234" y="188"/>
                  </a:lnTo>
                  <a:lnTo>
                    <a:pt x="238" y="184"/>
                  </a:lnTo>
                  <a:lnTo>
                    <a:pt x="238" y="184"/>
                  </a:lnTo>
                  <a:lnTo>
                    <a:pt x="242" y="184"/>
                  </a:lnTo>
                  <a:lnTo>
                    <a:pt x="242" y="184"/>
                  </a:lnTo>
                  <a:lnTo>
                    <a:pt x="240" y="186"/>
                  </a:lnTo>
                  <a:lnTo>
                    <a:pt x="238" y="188"/>
                  </a:lnTo>
                  <a:lnTo>
                    <a:pt x="238" y="188"/>
                  </a:lnTo>
                  <a:lnTo>
                    <a:pt x="244" y="204"/>
                  </a:lnTo>
                  <a:lnTo>
                    <a:pt x="244" y="204"/>
                  </a:lnTo>
                  <a:lnTo>
                    <a:pt x="254" y="198"/>
                  </a:lnTo>
                  <a:lnTo>
                    <a:pt x="254" y="198"/>
                  </a:lnTo>
                  <a:lnTo>
                    <a:pt x="254" y="192"/>
                  </a:lnTo>
                  <a:lnTo>
                    <a:pt x="254" y="192"/>
                  </a:lnTo>
                  <a:lnTo>
                    <a:pt x="260" y="192"/>
                  </a:lnTo>
                  <a:lnTo>
                    <a:pt x="268" y="192"/>
                  </a:lnTo>
                  <a:lnTo>
                    <a:pt x="268" y="192"/>
                  </a:lnTo>
                  <a:lnTo>
                    <a:pt x="274" y="196"/>
                  </a:lnTo>
                  <a:lnTo>
                    <a:pt x="280" y="198"/>
                  </a:lnTo>
                  <a:lnTo>
                    <a:pt x="280" y="198"/>
                  </a:lnTo>
                  <a:lnTo>
                    <a:pt x="284" y="198"/>
                  </a:lnTo>
                  <a:lnTo>
                    <a:pt x="284" y="198"/>
                  </a:lnTo>
                  <a:lnTo>
                    <a:pt x="286" y="202"/>
                  </a:lnTo>
                  <a:lnTo>
                    <a:pt x="286" y="202"/>
                  </a:lnTo>
                  <a:lnTo>
                    <a:pt x="298" y="208"/>
                  </a:lnTo>
                  <a:lnTo>
                    <a:pt x="310" y="210"/>
                  </a:lnTo>
                  <a:lnTo>
                    <a:pt x="310" y="214"/>
                  </a:lnTo>
                  <a:lnTo>
                    <a:pt x="310" y="214"/>
                  </a:lnTo>
                  <a:lnTo>
                    <a:pt x="316" y="214"/>
                  </a:lnTo>
                  <a:lnTo>
                    <a:pt x="322" y="214"/>
                  </a:lnTo>
                  <a:lnTo>
                    <a:pt x="322" y="214"/>
                  </a:lnTo>
                  <a:lnTo>
                    <a:pt x="328" y="220"/>
                  </a:lnTo>
                  <a:lnTo>
                    <a:pt x="328" y="220"/>
                  </a:lnTo>
                  <a:lnTo>
                    <a:pt x="332" y="220"/>
                  </a:lnTo>
                  <a:lnTo>
                    <a:pt x="336" y="220"/>
                  </a:lnTo>
                  <a:lnTo>
                    <a:pt x="338" y="222"/>
                  </a:lnTo>
                  <a:lnTo>
                    <a:pt x="338" y="222"/>
                  </a:lnTo>
                  <a:lnTo>
                    <a:pt x="344" y="224"/>
                  </a:lnTo>
                  <a:lnTo>
                    <a:pt x="344" y="224"/>
                  </a:lnTo>
                  <a:lnTo>
                    <a:pt x="346" y="224"/>
                  </a:lnTo>
                  <a:lnTo>
                    <a:pt x="346" y="222"/>
                  </a:lnTo>
                  <a:lnTo>
                    <a:pt x="344" y="220"/>
                  </a:lnTo>
                  <a:lnTo>
                    <a:pt x="344" y="220"/>
                  </a:lnTo>
                  <a:lnTo>
                    <a:pt x="342" y="220"/>
                  </a:lnTo>
                  <a:lnTo>
                    <a:pt x="342" y="218"/>
                  </a:lnTo>
                  <a:lnTo>
                    <a:pt x="342" y="218"/>
                  </a:lnTo>
                  <a:lnTo>
                    <a:pt x="348" y="218"/>
                  </a:lnTo>
                  <a:lnTo>
                    <a:pt x="348" y="218"/>
                  </a:lnTo>
                  <a:lnTo>
                    <a:pt x="350" y="216"/>
                  </a:lnTo>
                  <a:lnTo>
                    <a:pt x="352" y="216"/>
                  </a:lnTo>
                  <a:lnTo>
                    <a:pt x="352" y="216"/>
                  </a:lnTo>
                  <a:lnTo>
                    <a:pt x="354" y="220"/>
                  </a:lnTo>
                  <a:lnTo>
                    <a:pt x="354" y="220"/>
                  </a:lnTo>
                  <a:lnTo>
                    <a:pt x="356" y="220"/>
                  </a:lnTo>
                  <a:lnTo>
                    <a:pt x="358" y="220"/>
                  </a:lnTo>
                  <a:lnTo>
                    <a:pt x="366" y="224"/>
                  </a:lnTo>
                  <a:lnTo>
                    <a:pt x="366" y="224"/>
                  </a:lnTo>
                  <a:lnTo>
                    <a:pt x="366" y="228"/>
                  </a:lnTo>
                  <a:lnTo>
                    <a:pt x="368" y="230"/>
                  </a:lnTo>
                  <a:lnTo>
                    <a:pt x="370" y="232"/>
                  </a:lnTo>
                  <a:lnTo>
                    <a:pt x="368" y="234"/>
                  </a:lnTo>
                  <a:lnTo>
                    <a:pt x="368" y="234"/>
                  </a:lnTo>
                  <a:lnTo>
                    <a:pt x="358" y="234"/>
                  </a:lnTo>
                  <a:lnTo>
                    <a:pt x="358" y="234"/>
                  </a:lnTo>
                  <a:lnTo>
                    <a:pt x="358" y="238"/>
                  </a:lnTo>
                  <a:lnTo>
                    <a:pt x="358" y="238"/>
                  </a:lnTo>
                  <a:lnTo>
                    <a:pt x="356" y="240"/>
                  </a:lnTo>
                  <a:lnTo>
                    <a:pt x="354" y="248"/>
                  </a:lnTo>
                  <a:lnTo>
                    <a:pt x="354" y="248"/>
                  </a:lnTo>
                  <a:lnTo>
                    <a:pt x="368" y="250"/>
                  </a:lnTo>
                  <a:lnTo>
                    <a:pt x="384" y="248"/>
                  </a:lnTo>
                  <a:lnTo>
                    <a:pt x="386" y="246"/>
                  </a:lnTo>
                  <a:lnTo>
                    <a:pt x="386" y="246"/>
                  </a:lnTo>
                  <a:lnTo>
                    <a:pt x="388" y="248"/>
                  </a:lnTo>
                  <a:lnTo>
                    <a:pt x="390" y="248"/>
                  </a:lnTo>
                  <a:lnTo>
                    <a:pt x="390" y="248"/>
                  </a:lnTo>
                  <a:lnTo>
                    <a:pt x="396" y="244"/>
                  </a:lnTo>
                  <a:lnTo>
                    <a:pt x="396" y="244"/>
                  </a:lnTo>
                  <a:lnTo>
                    <a:pt x="404" y="244"/>
                  </a:lnTo>
                  <a:lnTo>
                    <a:pt x="404" y="244"/>
                  </a:lnTo>
                  <a:lnTo>
                    <a:pt x="408" y="240"/>
                  </a:lnTo>
                  <a:lnTo>
                    <a:pt x="408" y="240"/>
                  </a:lnTo>
                  <a:lnTo>
                    <a:pt x="414" y="238"/>
                  </a:lnTo>
                  <a:lnTo>
                    <a:pt x="414" y="238"/>
                  </a:lnTo>
                  <a:lnTo>
                    <a:pt x="416" y="244"/>
                  </a:lnTo>
                  <a:lnTo>
                    <a:pt x="422" y="246"/>
                  </a:lnTo>
                  <a:lnTo>
                    <a:pt x="422" y="246"/>
                  </a:lnTo>
                  <a:lnTo>
                    <a:pt x="426" y="246"/>
                  </a:lnTo>
                  <a:lnTo>
                    <a:pt x="426" y="246"/>
                  </a:lnTo>
                  <a:lnTo>
                    <a:pt x="428" y="252"/>
                  </a:lnTo>
                  <a:lnTo>
                    <a:pt x="428" y="252"/>
                  </a:lnTo>
                  <a:lnTo>
                    <a:pt x="428" y="254"/>
                  </a:lnTo>
                  <a:lnTo>
                    <a:pt x="428" y="254"/>
                  </a:lnTo>
                  <a:lnTo>
                    <a:pt x="426" y="254"/>
                  </a:lnTo>
                  <a:lnTo>
                    <a:pt x="426" y="254"/>
                  </a:lnTo>
                  <a:lnTo>
                    <a:pt x="428" y="260"/>
                  </a:lnTo>
                  <a:lnTo>
                    <a:pt x="430" y="260"/>
                  </a:lnTo>
                  <a:lnTo>
                    <a:pt x="430" y="260"/>
                  </a:lnTo>
                  <a:lnTo>
                    <a:pt x="434" y="250"/>
                  </a:lnTo>
                  <a:lnTo>
                    <a:pt x="434" y="250"/>
                  </a:lnTo>
                  <a:lnTo>
                    <a:pt x="436" y="264"/>
                  </a:lnTo>
                  <a:lnTo>
                    <a:pt x="438" y="270"/>
                  </a:lnTo>
                  <a:lnTo>
                    <a:pt x="442" y="274"/>
                  </a:lnTo>
                  <a:lnTo>
                    <a:pt x="442" y="274"/>
                  </a:lnTo>
                  <a:lnTo>
                    <a:pt x="444" y="268"/>
                  </a:lnTo>
                  <a:lnTo>
                    <a:pt x="444" y="268"/>
                  </a:lnTo>
                  <a:lnTo>
                    <a:pt x="448" y="268"/>
                  </a:lnTo>
                  <a:lnTo>
                    <a:pt x="448" y="268"/>
                  </a:lnTo>
                  <a:lnTo>
                    <a:pt x="448" y="266"/>
                  </a:lnTo>
                  <a:lnTo>
                    <a:pt x="448" y="266"/>
                  </a:lnTo>
                  <a:lnTo>
                    <a:pt x="446" y="264"/>
                  </a:lnTo>
                  <a:lnTo>
                    <a:pt x="442" y="262"/>
                  </a:lnTo>
                  <a:lnTo>
                    <a:pt x="442" y="262"/>
                  </a:lnTo>
                  <a:lnTo>
                    <a:pt x="444" y="260"/>
                  </a:lnTo>
                  <a:lnTo>
                    <a:pt x="444" y="256"/>
                  </a:lnTo>
                  <a:lnTo>
                    <a:pt x="444" y="256"/>
                  </a:lnTo>
                  <a:lnTo>
                    <a:pt x="444" y="256"/>
                  </a:lnTo>
                  <a:lnTo>
                    <a:pt x="440" y="248"/>
                  </a:lnTo>
                  <a:lnTo>
                    <a:pt x="440" y="248"/>
                  </a:lnTo>
                  <a:lnTo>
                    <a:pt x="444" y="246"/>
                  </a:lnTo>
                  <a:lnTo>
                    <a:pt x="444" y="246"/>
                  </a:lnTo>
                  <a:lnTo>
                    <a:pt x="444" y="242"/>
                  </a:lnTo>
                  <a:lnTo>
                    <a:pt x="444" y="242"/>
                  </a:lnTo>
                  <a:lnTo>
                    <a:pt x="448" y="242"/>
                  </a:lnTo>
                  <a:lnTo>
                    <a:pt x="448" y="242"/>
                  </a:lnTo>
                  <a:lnTo>
                    <a:pt x="450" y="240"/>
                  </a:lnTo>
                  <a:lnTo>
                    <a:pt x="452" y="238"/>
                  </a:lnTo>
                  <a:lnTo>
                    <a:pt x="452" y="238"/>
                  </a:lnTo>
                  <a:lnTo>
                    <a:pt x="454" y="238"/>
                  </a:lnTo>
                  <a:lnTo>
                    <a:pt x="458" y="238"/>
                  </a:lnTo>
                  <a:lnTo>
                    <a:pt x="458" y="236"/>
                  </a:lnTo>
                  <a:lnTo>
                    <a:pt x="458" y="236"/>
                  </a:lnTo>
                  <a:lnTo>
                    <a:pt x="462" y="232"/>
                  </a:lnTo>
                  <a:lnTo>
                    <a:pt x="462" y="232"/>
                  </a:lnTo>
                  <a:lnTo>
                    <a:pt x="468" y="232"/>
                  </a:lnTo>
                  <a:lnTo>
                    <a:pt x="468" y="232"/>
                  </a:lnTo>
                  <a:lnTo>
                    <a:pt x="468" y="230"/>
                  </a:lnTo>
                  <a:lnTo>
                    <a:pt x="470" y="228"/>
                  </a:lnTo>
                  <a:lnTo>
                    <a:pt x="470" y="228"/>
                  </a:lnTo>
                  <a:lnTo>
                    <a:pt x="474" y="228"/>
                  </a:lnTo>
                  <a:lnTo>
                    <a:pt x="476" y="226"/>
                  </a:lnTo>
                  <a:lnTo>
                    <a:pt x="474" y="224"/>
                  </a:lnTo>
                  <a:lnTo>
                    <a:pt x="474" y="224"/>
                  </a:lnTo>
                  <a:lnTo>
                    <a:pt x="470" y="222"/>
                  </a:lnTo>
                  <a:lnTo>
                    <a:pt x="470" y="222"/>
                  </a:lnTo>
                  <a:lnTo>
                    <a:pt x="468" y="222"/>
                  </a:lnTo>
                  <a:lnTo>
                    <a:pt x="466" y="222"/>
                  </a:lnTo>
                  <a:lnTo>
                    <a:pt x="466" y="224"/>
                  </a:lnTo>
                  <a:lnTo>
                    <a:pt x="468" y="224"/>
                  </a:lnTo>
                  <a:lnTo>
                    <a:pt x="468" y="224"/>
                  </a:lnTo>
                  <a:lnTo>
                    <a:pt x="468" y="228"/>
                  </a:lnTo>
                  <a:lnTo>
                    <a:pt x="468" y="228"/>
                  </a:lnTo>
                  <a:lnTo>
                    <a:pt x="458" y="228"/>
                  </a:lnTo>
                  <a:lnTo>
                    <a:pt x="452" y="234"/>
                  </a:lnTo>
                  <a:lnTo>
                    <a:pt x="452" y="234"/>
                  </a:lnTo>
                  <a:lnTo>
                    <a:pt x="446" y="232"/>
                  </a:lnTo>
                  <a:lnTo>
                    <a:pt x="446" y="232"/>
                  </a:lnTo>
                  <a:lnTo>
                    <a:pt x="444" y="232"/>
                  </a:lnTo>
                  <a:lnTo>
                    <a:pt x="444" y="232"/>
                  </a:lnTo>
                  <a:lnTo>
                    <a:pt x="444" y="234"/>
                  </a:lnTo>
                  <a:lnTo>
                    <a:pt x="444" y="234"/>
                  </a:lnTo>
                  <a:lnTo>
                    <a:pt x="446" y="234"/>
                  </a:lnTo>
                  <a:lnTo>
                    <a:pt x="446" y="234"/>
                  </a:lnTo>
                  <a:lnTo>
                    <a:pt x="444" y="238"/>
                  </a:lnTo>
                  <a:lnTo>
                    <a:pt x="444" y="238"/>
                  </a:lnTo>
                  <a:lnTo>
                    <a:pt x="442" y="236"/>
                  </a:lnTo>
                  <a:lnTo>
                    <a:pt x="442" y="236"/>
                  </a:lnTo>
                  <a:lnTo>
                    <a:pt x="440" y="236"/>
                  </a:lnTo>
                  <a:lnTo>
                    <a:pt x="438" y="238"/>
                  </a:lnTo>
                  <a:lnTo>
                    <a:pt x="438" y="238"/>
                  </a:lnTo>
                  <a:lnTo>
                    <a:pt x="436" y="236"/>
                  </a:lnTo>
                  <a:lnTo>
                    <a:pt x="436" y="236"/>
                  </a:lnTo>
                  <a:lnTo>
                    <a:pt x="436" y="236"/>
                  </a:lnTo>
                  <a:lnTo>
                    <a:pt x="436" y="232"/>
                  </a:lnTo>
                  <a:lnTo>
                    <a:pt x="436" y="232"/>
                  </a:lnTo>
                  <a:lnTo>
                    <a:pt x="440" y="232"/>
                  </a:lnTo>
                  <a:lnTo>
                    <a:pt x="440" y="232"/>
                  </a:lnTo>
                  <a:lnTo>
                    <a:pt x="442" y="224"/>
                  </a:lnTo>
                  <a:lnTo>
                    <a:pt x="442" y="218"/>
                  </a:lnTo>
                  <a:lnTo>
                    <a:pt x="442" y="218"/>
                  </a:lnTo>
                  <a:lnTo>
                    <a:pt x="454" y="220"/>
                  </a:lnTo>
                  <a:lnTo>
                    <a:pt x="454" y="220"/>
                  </a:lnTo>
                  <a:lnTo>
                    <a:pt x="458" y="216"/>
                  </a:lnTo>
                  <a:lnTo>
                    <a:pt x="458" y="216"/>
                  </a:lnTo>
                  <a:lnTo>
                    <a:pt x="462" y="218"/>
                  </a:lnTo>
                  <a:lnTo>
                    <a:pt x="462" y="218"/>
                  </a:lnTo>
                  <a:lnTo>
                    <a:pt x="470" y="216"/>
                  </a:lnTo>
                  <a:lnTo>
                    <a:pt x="474" y="216"/>
                  </a:lnTo>
                  <a:lnTo>
                    <a:pt x="478" y="218"/>
                  </a:lnTo>
                  <a:lnTo>
                    <a:pt x="478" y="218"/>
                  </a:lnTo>
                  <a:lnTo>
                    <a:pt x="482" y="222"/>
                  </a:lnTo>
                  <a:lnTo>
                    <a:pt x="482" y="226"/>
                  </a:lnTo>
                  <a:lnTo>
                    <a:pt x="484" y="234"/>
                  </a:lnTo>
                  <a:lnTo>
                    <a:pt x="484" y="234"/>
                  </a:lnTo>
                  <a:lnTo>
                    <a:pt x="486" y="236"/>
                  </a:lnTo>
                  <a:lnTo>
                    <a:pt x="490" y="236"/>
                  </a:lnTo>
                  <a:lnTo>
                    <a:pt x="494" y="232"/>
                  </a:lnTo>
                  <a:lnTo>
                    <a:pt x="494" y="232"/>
                  </a:lnTo>
                  <a:lnTo>
                    <a:pt x="498" y="236"/>
                  </a:lnTo>
                  <a:lnTo>
                    <a:pt x="494" y="240"/>
                  </a:lnTo>
                  <a:lnTo>
                    <a:pt x="494" y="240"/>
                  </a:lnTo>
                  <a:lnTo>
                    <a:pt x="500" y="240"/>
                  </a:lnTo>
                  <a:lnTo>
                    <a:pt x="506" y="240"/>
                  </a:lnTo>
                  <a:lnTo>
                    <a:pt x="506" y="240"/>
                  </a:lnTo>
                  <a:lnTo>
                    <a:pt x="506" y="238"/>
                  </a:lnTo>
                  <a:lnTo>
                    <a:pt x="508" y="236"/>
                  </a:lnTo>
                  <a:lnTo>
                    <a:pt x="508" y="238"/>
                  </a:lnTo>
                  <a:lnTo>
                    <a:pt x="508" y="238"/>
                  </a:lnTo>
                  <a:lnTo>
                    <a:pt x="510" y="238"/>
                  </a:lnTo>
                  <a:lnTo>
                    <a:pt x="512" y="238"/>
                  </a:lnTo>
                  <a:lnTo>
                    <a:pt x="512" y="238"/>
                  </a:lnTo>
                  <a:lnTo>
                    <a:pt x="512" y="240"/>
                  </a:lnTo>
                  <a:lnTo>
                    <a:pt x="512" y="242"/>
                  </a:lnTo>
                  <a:lnTo>
                    <a:pt x="512" y="242"/>
                  </a:lnTo>
                  <a:lnTo>
                    <a:pt x="516" y="242"/>
                  </a:lnTo>
                  <a:lnTo>
                    <a:pt x="516" y="242"/>
                  </a:lnTo>
                  <a:lnTo>
                    <a:pt x="516" y="242"/>
                  </a:lnTo>
                  <a:lnTo>
                    <a:pt x="516" y="244"/>
                  </a:lnTo>
                  <a:lnTo>
                    <a:pt x="516" y="244"/>
                  </a:lnTo>
                  <a:lnTo>
                    <a:pt x="520" y="244"/>
                  </a:lnTo>
                  <a:lnTo>
                    <a:pt x="524" y="244"/>
                  </a:lnTo>
                  <a:lnTo>
                    <a:pt x="524" y="248"/>
                  </a:lnTo>
                  <a:lnTo>
                    <a:pt x="524" y="248"/>
                  </a:lnTo>
                  <a:lnTo>
                    <a:pt x="528" y="248"/>
                  </a:lnTo>
                  <a:lnTo>
                    <a:pt x="528" y="248"/>
                  </a:lnTo>
                  <a:lnTo>
                    <a:pt x="528" y="246"/>
                  </a:lnTo>
                  <a:lnTo>
                    <a:pt x="530" y="246"/>
                  </a:lnTo>
                  <a:lnTo>
                    <a:pt x="530" y="246"/>
                  </a:lnTo>
                  <a:lnTo>
                    <a:pt x="532" y="250"/>
                  </a:lnTo>
                  <a:lnTo>
                    <a:pt x="534" y="250"/>
                  </a:lnTo>
                  <a:lnTo>
                    <a:pt x="534" y="250"/>
                  </a:lnTo>
                  <a:lnTo>
                    <a:pt x="542" y="246"/>
                  </a:lnTo>
                  <a:lnTo>
                    <a:pt x="546" y="244"/>
                  </a:lnTo>
                  <a:lnTo>
                    <a:pt x="562" y="246"/>
                  </a:lnTo>
                  <a:lnTo>
                    <a:pt x="562" y="246"/>
                  </a:lnTo>
                  <a:lnTo>
                    <a:pt x="566" y="248"/>
                  </a:lnTo>
                  <a:lnTo>
                    <a:pt x="570" y="248"/>
                  </a:lnTo>
                  <a:lnTo>
                    <a:pt x="570" y="248"/>
                  </a:lnTo>
                  <a:lnTo>
                    <a:pt x="572" y="246"/>
                  </a:lnTo>
                  <a:lnTo>
                    <a:pt x="574" y="244"/>
                  </a:lnTo>
                  <a:lnTo>
                    <a:pt x="574" y="244"/>
                  </a:lnTo>
                  <a:lnTo>
                    <a:pt x="576" y="244"/>
                  </a:lnTo>
                  <a:lnTo>
                    <a:pt x="578" y="246"/>
                  </a:lnTo>
                  <a:lnTo>
                    <a:pt x="578" y="246"/>
                  </a:lnTo>
                  <a:lnTo>
                    <a:pt x="578" y="244"/>
                  </a:lnTo>
                  <a:lnTo>
                    <a:pt x="578" y="244"/>
                  </a:lnTo>
                  <a:lnTo>
                    <a:pt x="578" y="244"/>
                  </a:lnTo>
                  <a:lnTo>
                    <a:pt x="576" y="242"/>
                  </a:lnTo>
                  <a:lnTo>
                    <a:pt x="576" y="238"/>
                  </a:lnTo>
                  <a:lnTo>
                    <a:pt x="576" y="230"/>
                  </a:lnTo>
                  <a:lnTo>
                    <a:pt x="576" y="230"/>
                  </a:lnTo>
                  <a:lnTo>
                    <a:pt x="578" y="232"/>
                  </a:lnTo>
                  <a:lnTo>
                    <a:pt x="578" y="232"/>
                  </a:lnTo>
                  <a:lnTo>
                    <a:pt x="578" y="228"/>
                  </a:lnTo>
                  <a:lnTo>
                    <a:pt x="578" y="226"/>
                  </a:lnTo>
                  <a:lnTo>
                    <a:pt x="578" y="226"/>
                  </a:lnTo>
                  <a:lnTo>
                    <a:pt x="582" y="228"/>
                  </a:lnTo>
                  <a:lnTo>
                    <a:pt x="586" y="232"/>
                  </a:lnTo>
                  <a:lnTo>
                    <a:pt x="586" y="232"/>
                  </a:lnTo>
                  <a:lnTo>
                    <a:pt x="588" y="232"/>
                  </a:lnTo>
                  <a:lnTo>
                    <a:pt x="588" y="234"/>
                  </a:lnTo>
                  <a:lnTo>
                    <a:pt x="588" y="234"/>
                  </a:lnTo>
                  <a:lnTo>
                    <a:pt x="592" y="236"/>
                  </a:lnTo>
                  <a:lnTo>
                    <a:pt x="592" y="236"/>
                  </a:lnTo>
                  <a:lnTo>
                    <a:pt x="592" y="236"/>
                  </a:lnTo>
                  <a:lnTo>
                    <a:pt x="592" y="236"/>
                  </a:lnTo>
                  <a:lnTo>
                    <a:pt x="596" y="238"/>
                  </a:lnTo>
                  <a:lnTo>
                    <a:pt x="596" y="236"/>
                  </a:lnTo>
                  <a:lnTo>
                    <a:pt x="596" y="236"/>
                  </a:lnTo>
                  <a:lnTo>
                    <a:pt x="598" y="232"/>
                  </a:lnTo>
                  <a:lnTo>
                    <a:pt x="600" y="238"/>
                  </a:lnTo>
                  <a:lnTo>
                    <a:pt x="600" y="238"/>
                  </a:lnTo>
                  <a:lnTo>
                    <a:pt x="598" y="238"/>
                  </a:lnTo>
                  <a:lnTo>
                    <a:pt x="600" y="240"/>
                  </a:lnTo>
                  <a:lnTo>
                    <a:pt x="600" y="240"/>
                  </a:lnTo>
                  <a:lnTo>
                    <a:pt x="600" y="238"/>
                  </a:lnTo>
                  <a:lnTo>
                    <a:pt x="602" y="238"/>
                  </a:lnTo>
                  <a:lnTo>
                    <a:pt x="602" y="238"/>
                  </a:lnTo>
                  <a:lnTo>
                    <a:pt x="600" y="246"/>
                  </a:lnTo>
                  <a:lnTo>
                    <a:pt x="598" y="254"/>
                  </a:lnTo>
                  <a:lnTo>
                    <a:pt x="598" y="254"/>
                  </a:lnTo>
                  <a:lnTo>
                    <a:pt x="600" y="258"/>
                  </a:lnTo>
                  <a:lnTo>
                    <a:pt x="604" y="260"/>
                  </a:lnTo>
                  <a:lnTo>
                    <a:pt x="604" y="260"/>
                  </a:lnTo>
                  <a:lnTo>
                    <a:pt x="608" y="260"/>
                  </a:lnTo>
                  <a:lnTo>
                    <a:pt x="608" y="260"/>
                  </a:lnTo>
                  <a:lnTo>
                    <a:pt x="608" y="262"/>
                  </a:lnTo>
                  <a:lnTo>
                    <a:pt x="608" y="262"/>
                  </a:lnTo>
                  <a:lnTo>
                    <a:pt x="608" y="262"/>
                  </a:lnTo>
                  <a:lnTo>
                    <a:pt x="612" y="266"/>
                  </a:lnTo>
                  <a:lnTo>
                    <a:pt x="618" y="268"/>
                  </a:lnTo>
                  <a:lnTo>
                    <a:pt x="618" y="266"/>
                  </a:lnTo>
                  <a:lnTo>
                    <a:pt x="620" y="266"/>
                  </a:lnTo>
                  <a:lnTo>
                    <a:pt x="620" y="264"/>
                  </a:lnTo>
                  <a:lnTo>
                    <a:pt x="620" y="264"/>
                  </a:lnTo>
                  <a:lnTo>
                    <a:pt x="614" y="262"/>
                  </a:lnTo>
                  <a:lnTo>
                    <a:pt x="614" y="262"/>
                  </a:lnTo>
                  <a:lnTo>
                    <a:pt x="616" y="256"/>
                  </a:lnTo>
                  <a:lnTo>
                    <a:pt x="616" y="256"/>
                  </a:lnTo>
                  <a:lnTo>
                    <a:pt x="614" y="256"/>
                  </a:lnTo>
                  <a:lnTo>
                    <a:pt x="610" y="254"/>
                  </a:lnTo>
                  <a:lnTo>
                    <a:pt x="610" y="252"/>
                  </a:lnTo>
                  <a:lnTo>
                    <a:pt x="610" y="252"/>
                  </a:lnTo>
                  <a:lnTo>
                    <a:pt x="614" y="250"/>
                  </a:lnTo>
                  <a:lnTo>
                    <a:pt x="614" y="250"/>
                  </a:lnTo>
                  <a:lnTo>
                    <a:pt x="614" y="246"/>
                  </a:lnTo>
                  <a:lnTo>
                    <a:pt x="614" y="246"/>
                  </a:lnTo>
                  <a:lnTo>
                    <a:pt x="618" y="244"/>
                  </a:lnTo>
                  <a:lnTo>
                    <a:pt x="618" y="244"/>
                  </a:lnTo>
                  <a:lnTo>
                    <a:pt x="618" y="244"/>
                  </a:lnTo>
                  <a:lnTo>
                    <a:pt x="616" y="244"/>
                  </a:lnTo>
                  <a:lnTo>
                    <a:pt x="616" y="242"/>
                  </a:lnTo>
                  <a:lnTo>
                    <a:pt x="616" y="242"/>
                  </a:lnTo>
                  <a:lnTo>
                    <a:pt x="622" y="242"/>
                  </a:lnTo>
                  <a:lnTo>
                    <a:pt x="622" y="242"/>
                  </a:lnTo>
                  <a:lnTo>
                    <a:pt x="624" y="240"/>
                  </a:lnTo>
                  <a:lnTo>
                    <a:pt x="626" y="236"/>
                  </a:lnTo>
                  <a:lnTo>
                    <a:pt x="628" y="234"/>
                  </a:lnTo>
                  <a:lnTo>
                    <a:pt x="630" y="232"/>
                  </a:lnTo>
                  <a:lnTo>
                    <a:pt x="630" y="232"/>
                  </a:lnTo>
                  <a:lnTo>
                    <a:pt x="634" y="232"/>
                  </a:lnTo>
                  <a:lnTo>
                    <a:pt x="634" y="232"/>
                  </a:lnTo>
                  <a:lnTo>
                    <a:pt x="644" y="226"/>
                  </a:lnTo>
                  <a:lnTo>
                    <a:pt x="644" y="226"/>
                  </a:lnTo>
                  <a:lnTo>
                    <a:pt x="644" y="224"/>
                  </a:lnTo>
                  <a:lnTo>
                    <a:pt x="644" y="224"/>
                  </a:lnTo>
                  <a:lnTo>
                    <a:pt x="644" y="220"/>
                  </a:lnTo>
                  <a:lnTo>
                    <a:pt x="644" y="220"/>
                  </a:lnTo>
                  <a:lnTo>
                    <a:pt x="638" y="224"/>
                  </a:lnTo>
                  <a:lnTo>
                    <a:pt x="638" y="224"/>
                  </a:lnTo>
                  <a:lnTo>
                    <a:pt x="634" y="224"/>
                  </a:lnTo>
                  <a:lnTo>
                    <a:pt x="632" y="222"/>
                  </a:lnTo>
                  <a:lnTo>
                    <a:pt x="632" y="218"/>
                  </a:lnTo>
                  <a:lnTo>
                    <a:pt x="634" y="216"/>
                  </a:lnTo>
                  <a:lnTo>
                    <a:pt x="634" y="216"/>
                  </a:lnTo>
                  <a:lnTo>
                    <a:pt x="632" y="212"/>
                  </a:lnTo>
                  <a:lnTo>
                    <a:pt x="632" y="212"/>
                  </a:lnTo>
                  <a:lnTo>
                    <a:pt x="632" y="210"/>
                  </a:lnTo>
                  <a:lnTo>
                    <a:pt x="632" y="210"/>
                  </a:lnTo>
                  <a:lnTo>
                    <a:pt x="636" y="206"/>
                  </a:lnTo>
                  <a:lnTo>
                    <a:pt x="636" y="206"/>
                  </a:lnTo>
                  <a:lnTo>
                    <a:pt x="648" y="208"/>
                  </a:lnTo>
                  <a:lnTo>
                    <a:pt x="648" y="208"/>
                  </a:lnTo>
                  <a:lnTo>
                    <a:pt x="646" y="204"/>
                  </a:lnTo>
                  <a:lnTo>
                    <a:pt x="646" y="200"/>
                  </a:lnTo>
                  <a:lnTo>
                    <a:pt x="646" y="200"/>
                  </a:lnTo>
                  <a:lnTo>
                    <a:pt x="650" y="196"/>
                  </a:lnTo>
                  <a:lnTo>
                    <a:pt x="650" y="196"/>
                  </a:lnTo>
                  <a:lnTo>
                    <a:pt x="656" y="196"/>
                  </a:lnTo>
                  <a:lnTo>
                    <a:pt x="656" y="196"/>
                  </a:lnTo>
                  <a:lnTo>
                    <a:pt x="656" y="194"/>
                  </a:lnTo>
                  <a:lnTo>
                    <a:pt x="656" y="194"/>
                  </a:lnTo>
                  <a:lnTo>
                    <a:pt x="654" y="194"/>
                  </a:lnTo>
                  <a:lnTo>
                    <a:pt x="652" y="192"/>
                  </a:lnTo>
                  <a:lnTo>
                    <a:pt x="652" y="192"/>
                  </a:lnTo>
                  <a:lnTo>
                    <a:pt x="646" y="196"/>
                  </a:lnTo>
                  <a:lnTo>
                    <a:pt x="642" y="200"/>
                  </a:lnTo>
                  <a:lnTo>
                    <a:pt x="642" y="200"/>
                  </a:lnTo>
                  <a:lnTo>
                    <a:pt x="634" y="202"/>
                  </a:lnTo>
                  <a:lnTo>
                    <a:pt x="634" y="202"/>
                  </a:lnTo>
                  <a:lnTo>
                    <a:pt x="630" y="194"/>
                  </a:lnTo>
                  <a:lnTo>
                    <a:pt x="626" y="190"/>
                  </a:lnTo>
                  <a:lnTo>
                    <a:pt x="620" y="188"/>
                  </a:lnTo>
                  <a:lnTo>
                    <a:pt x="618" y="188"/>
                  </a:lnTo>
                  <a:lnTo>
                    <a:pt x="618" y="188"/>
                  </a:lnTo>
                  <a:lnTo>
                    <a:pt x="618" y="194"/>
                  </a:lnTo>
                  <a:lnTo>
                    <a:pt x="618" y="194"/>
                  </a:lnTo>
                  <a:lnTo>
                    <a:pt x="620" y="194"/>
                  </a:lnTo>
                  <a:lnTo>
                    <a:pt x="618" y="196"/>
                  </a:lnTo>
                  <a:lnTo>
                    <a:pt x="616" y="198"/>
                  </a:lnTo>
                  <a:lnTo>
                    <a:pt x="616" y="198"/>
                  </a:lnTo>
                  <a:lnTo>
                    <a:pt x="616" y="196"/>
                  </a:lnTo>
                  <a:lnTo>
                    <a:pt x="614" y="194"/>
                  </a:lnTo>
                  <a:lnTo>
                    <a:pt x="614" y="194"/>
                  </a:lnTo>
                  <a:lnTo>
                    <a:pt x="614" y="196"/>
                  </a:lnTo>
                  <a:lnTo>
                    <a:pt x="614" y="196"/>
                  </a:lnTo>
                  <a:lnTo>
                    <a:pt x="612" y="196"/>
                  </a:lnTo>
                  <a:lnTo>
                    <a:pt x="612" y="196"/>
                  </a:lnTo>
                  <a:lnTo>
                    <a:pt x="612" y="190"/>
                  </a:lnTo>
                  <a:lnTo>
                    <a:pt x="612" y="190"/>
                  </a:lnTo>
                  <a:lnTo>
                    <a:pt x="614" y="188"/>
                  </a:lnTo>
                  <a:lnTo>
                    <a:pt x="614" y="188"/>
                  </a:lnTo>
                  <a:lnTo>
                    <a:pt x="614" y="188"/>
                  </a:lnTo>
                  <a:lnTo>
                    <a:pt x="614" y="186"/>
                  </a:lnTo>
                  <a:lnTo>
                    <a:pt x="614" y="186"/>
                  </a:lnTo>
                  <a:lnTo>
                    <a:pt x="610" y="186"/>
                  </a:lnTo>
                  <a:lnTo>
                    <a:pt x="606" y="182"/>
                  </a:lnTo>
                  <a:lnTo>
                    <a:pt x="606" y="178"/>
                  </a:lnTo>
                  <a:lnTo>
                    <a:pt x="606" y="178"/>
                  </a:lnTo>
                  <a:lnTo>
                    <a:pt x="604" y="178"/>
                  </a:lnTo>
                  <a:lnTo>
                    <a:pt x="604" y="178"/>
                  </a:lnTo>
                  <a:lnTo>
                    <a:pt x="604" y="174"/>
                  </a:lnTo>
                  <a:lnTo>
                    <a:pt x="604" y="174"/>
                  </a:lnTo>
                  <a:lnTo>
                    <a:pt x="612" y="174"/>
                  </a:lnTo>
                  <a:lnTo>
                    <a:pt x="612" y="174"/>
                  </a:lnTo>
                  <a:lnTo>
                    <a:pt x="610" y="170"/>
                  </a:lnTo>
                  <a:lnTo>
                    <a:pt x="608" y="164"/>
                  </a:lnTo>
                  <a:lnTo>
                    <a:pt x="610" y="162"/>
                  </a:lnTo>
                  <a:lnTo>
                    <a:pt x="610" y="162"/>
                  </a:lnTo>
                  <a:lnTo>
                    <a:pt x="610" y="160"/>
                  </a:lnTo>
                  <a:lnTo>
                    <a:pt x="608" y="160"/>
                  </a:lnTo>
                  <a:lnTo>
                    <a:pt x="608" y="160"/>
                  </a:lnTo>
                  <a:lnTo>
                    <a:pt x="608" y="160"/>
                  </a:lnTo>
                  <a:lnTo>
                    <a:pt x="610" y="156"/>
                  </a:lnTo>
                  <a:lnTo>
                    <a:pt x="610" y="156"/>
                  </a:lnTo>
                  <a:lnTo>
                    <a:pt x="612" y="154"/>
                  </a:lnTo>
                  <a:lnTo>
                    <a:pt x="612" y="154"/>
                  </a:lnTo>
                  <a:lnTo>
                    <a:pt x="612" y="150"/>
                  </a:lnTo>
                  <a:lnTo>
                    <a:pt x="612" y="150"/>
                  </a:lnTo>
                  <a:lnTo>
                    <a:pt x="616" y="150"/>
                  </a:lnTo>
                  <a:lnTo>
                    <a:pt x="616" y="150"/>
                  </a:lnTo>
                  <a:lnTo>
                    <a:pt x="620" y="154"/>
                  </a:lnTo>
                  <a:lnTo>
                    <a:pt x="620" y="154"/>
                  </a:lnTo>
                  <a:lnTo>
                    <a:pt x="622" y="154"/>
                  </a:lnTo>
                  <a:lnTo>
                    <a:pt x="622" y="154"/>
                  </a:lnTo>
                  <a:lnTo>
                    <a:pt x="616" y="146"/>
                  </a:lnTo>
                  <a:lnTo>
                    <a:pt x="616" y="146"/>
                  </a:lnTo>
                  <a:lnTo>
                    <a:pt x="618" y="142"/>
                  </a:lnTo>
                  <a:lnTo>
                    <a:pt x="618" y="142"/>
                  </a:lnTo>
                  <a:lnTo>
                    <a:pt x="624" y="140"/>
                  </a:lnTo>
                  <a:lnTo>
                    <a:pt x="624" y="140"/>
                  </a:lnTo>
                  <a:lnTo>
                    <a:pt x="624" y="140"/>
                  </a:lnTo>
                  <a:lnTo>
                    <a:pt x="624" y="138"/>
                  </a:lnTo>
                  <a:lnTo>
                    <a:pt x="624" y="138"/>
                  </a:lnTo>
                  <a:lnTo>
                    <a:pt x="624" y="136"/>
                  </a:lnTo>
                  <a:lnTo>
                    <a:pt x="624" y="132"/>
                  </a:lnTo>
                  <a:lnTo>
                    <a:pt x="624" y="124"/>
                  </a:lnTo>
                  <a:lnTo>
                    <a:pt x="624" y="124"/>
                  </a:lnTo>
                  <a:lnTo>
                    <a:pt x="620" y="120"/>
                  </a:lnTo>
                  <a:lnTo>
                    <a:pt x="620" y="120"/>
                  </a:lnTo>
                  <a:lnTo>
                    <a:pt x="620" y="118"/>
                  </a:lnTo>
                  <a:lnTo>
                    <a:pt x="622" y="118"/>
                  </a:lnTo>
                  <a:lnTo>
                    <a:pt x="622" y="118"/>
                  </a:lnTo>
                  <a:lnTo>
                    <a:pt x="622" y="112"/>
                  </a:lnTo>
                  <a:lnTo>
                    <a:pt x="620" y="112"/>
                  </a:lnTo>
                  <a:lnTo>
                    <a:pt x="620" y="112"/>
                  </a:lnTo>
                  <a:lnTo>
                    <a:pt x="620" y="104"/>
                  </a:lnTo>
                  <a:lnTo>
                    <a:pt x="620" y="104"/>
                  </a:lnTo>
                  <a:lnTo>
                    <a:pt x="616" y="100"/>
                  </a:lnTo>
                  <a:lnTo>
                    <a:pt x="616" y="100"/>
                  </a:lnTo>
                  <a:lnTo>
                    <a:pt x="618" y="96"/>
                  </a:lnTo>
                  <a:lnTo>
                    <a:pt x="616" y="96"/>
                  </a:lnTo>
                  <a:lnTo>
                    <a:pt x="616" y="96"/>
                  </a:lnTo>
                  <a:lnTo>
                    <a:pt x="616" y="90"/>
                  </a:lnTo>
                  <a:lnTo>
                    <a:pt x="616" y="90"/>
                  </a:lnTo>
                  <a:lnTo>
                    <a:pt x="620" y="90"/>
                  </a:lnTo>
                  <a:lnTo>
                    <a:pt x="618" y="82"/>
                  </a:lnTo>
                  <a:lnTo>
                    <a:pt x="618" y="82"/>
                  </a:lnTo>
                  <a:lnTo>
                    <a:pt x="632" y="82"/>
                  </a:lnTo>
                  <a:lnTo>
                    <a:pt x="632" y="82"/>
                  </a:lnTo>
                  <a:lnTo>
                    <a:pt x="632" y="84"/>
                  </a:lnTo>
                  <a:lnTo>
                    <a:pt x="634" y="84"/>
                  </a:lnTo>
                  <a:lnTo>
                    <a:pt x="634" y="84"/>
                  </a:lnTo>
                  <a:lnTo>
                    <a:pt x="640" y="76"/>
                  </a:lnTo>
                  <a:lnTo>
                    <a:pt x="640" y="76"/>
                  </a:lnTo>
                  <a:lnTo>
                    <a:pt x="652" y="78"/>
                  </a:lnTo>
                  <a:lnTo>
                    <a:pt x="662" y="82"/>
                  </a:lnTo>
                  <a:lnTo>
                    <a:pt x="662" y="82"/>
                  </a:lnTo>
                  <a:lnTo>
                    <a:pt x="664" y="86"/>
                  </a:lnTo>
                  <a:lnTo>
                    <a:pt x="664" y="86"/>
                  </a:lnTo>
                  <a:lnTo>
                    <a:pt x="666" y="84"/>
                  </a:lnTo>
                  <a:lnTo>
                    <a:pt x="666" y="82"/>
                  </a:lnTo>
                  <a:lnTo>
                    <a:pt x="666" y="82"/>
                  </a:lnTo>
                  <a:lnTo>
                    <a:pt x="678" y="84"/>
                  </a:lnTo>
                  <a:lnTo>
                    <a:pt x="688" y="86"/>
                  </a:lnTo>
                  <a:lnTo>
                    <a:pt x="688" y="86"/>
                  </a:lnTo>
                  <a:lnTo>
                    <a:pt x="688" y="90"/>
                  </a:lnTo>
                  <a:lnTo>
                    <a:pt x="686" y="96"/>
                  </a:lnTo>
                  <a:lnTo>
                    <a:pt x="686" y="96"/>
                  </a:lnTo>
                  <a:lnTo>
                    <a:pt x="684" y="96"/>
                  </a:lnTo>
                  <a:lnTo>
                    <a:pt x="684" y="96"/>
                  </a:lnTo>
                  <a:lnTo>
                    <a:pt x="684" y="102"/>
                  </a:lnTo>
                  <a:lnTo>
                    <a:pt x="684" y="102"/>
                  </a:lnTo>
                  <a:lnTo>
                    <a:pt x="682" y="102"/>
                  </a:lnTo>
                  <a:lnTo>
                    <a:pt x="680" y="104"/>
                  </a:lnTo>
                  <a:lnTo>
                    <a:pt x="680" y="104"/>
                  </a:lnTo>
                  <a:lnTo>
                    <a:pt x="676" y="108"/>
                  </a:lnTo>
                  <a:lnTo>
                    <a:pt x="674" y="112"/>
                  </a:lnTo>
                  <a:lnTo>
                    <a:pt x="674" y="112"/>
                  </a:lnTo>
                  <a:lnTo>
                    <a:pt x="662" y="114"/>
                  </a:lnTo>
                  <a:lnTo>
                    <a:pt x="652" y="116"/>
                  </a:lnTo>
                  <a:lnTo>
                    <a:pt x="652" y="116"/>
                  </a:lnTo>
                  <a:lnTo>
                    <a:pt x="644" y="116"/>
                  </a:lnTo>
                  <a:lnTo>
                    <a:pt x="638" y="116"/>
                  </a:lnTo>
                  <a:lnTo>
                    <a:pt x="638" y="116"/>
                  </a:lnTo>
                  <a:lnTo>
                    <a:pt x="638" y="116"/>
                  </a:lnTo>
                  <a:lnTo>
                    <a:pt x="636" y="118"/>
                  </a:lnTo>
                  <a:lnTo>
                    <a:pt x="636" y="118"/>
                  </a:lnTo>
                  <a:lnTo>
                    <a:pt x="636" y="118"/>
                  </a:lnTo>
                  <a:lnTo>
                    <a:pt x="636" y="118"/>
                  </a:lnTo>
                  <a:lnTo>
                    <a:pt x="634" y="118"/>
                  </a:lnTo>
                  <a:lnTo>
                    <a:pt x="634" y="118"/>
                  </a:lnTo>
                  <a:lnTo>
                    <a:pt x="634" y="120"/>
                  </a:lnTo>
                  <a:lnTo>
                    <a:pt x="634" y="122"/>
                  </a:lnTo>
                  <a:lnTo>
                    <a:pt x="634" y="122"/>
                  </a:lnTo>
                  <a:lnTo>
                    <a:pt x="640" y="126"/>
                  </a:lnTo>
                  <a:lnTo>
                    <a:pt x="640" y="126"/>
                  </a:lnTo>
                  <a:lnTo>
                    <a:pt x="640" y="128"/>
                  </a:lnTo>
                  <a:lnTo>
                    <a:pt x="640" y="130"/>
                  </a:lnTo>
                  <a:lnTo>
                    <a:pt x="640" y="130"/>
                  </a:lnTo>
                  <a:lnTo>
                    <a:pt x="634" y="132"/>
                  </a:lnTo>
                  <a:lnTo>
                    <a:pt x="634" y="132"/>
                  </a:lnTo>
                  <a:lnTo>
                    <a:pt x="632" y="136"/>
                  </a:lnTo>
                  <a:lnTo>
                    <a:pt x="632" y="136"/>
                  </a:lnTo>
                  <a:lnTo>
                    <a:pt x="634" y="136"/>
                  </a:lnTo>
                  <a:lnTo>
                    <a:pt x="634" y="136"/>
                  </a:lnTo>
                  <a:lnTo>
                    <a:pt x="634" y="138"/>
                  </a:lnTo>
                  <a:lnTo>
                    <a:pt x="634" y="138"/>
                  </a:lnTo>
                  <a:lnTo>
                    <a:pt x="634" y="138"/>
                  </a:lnTo>
                  <a:lnTo>
                    <a:pt x="630" y="138"/>
                  </a:lnTo>
                  <a:lnTo>
                    <a:pt x="630" y="138"/>
                  </a:lnTo>
                  <a:lnTo>
                    <a:pt x="630" y="142"/>
                  </a:lnTo>
                  <a:lnTo>
                    <a:pt x="630" y="142"/>
                  </a:lnTo>
                  <a:lnTo>
                    <a:pt x="632" y="142"/>
                  </a:lnTo>
                  <a:lnTo>
                    <a:pt x="634" y="142"/>
                  </a:lnTo>
                  <a:lnTo>
                    <a:pt x="634" y="142"/>
                  </a:lnTo>
                  <a:lnTo>
                    <a:pt x="634" y="144"/>
                  </a:lnTo>
                  <a:lnTo>
                    <a:pt x="634" y="146"/>
                  </a:lnTo>
                  <a:lnTo>
                    <a:pt x="634" y="146"/>
                  </a:lnTo>
                  <a:lnTo>
                    <a:pt x="636" y="144"/>
                  </a:lnTo>
                  <a:lnTo>
                    <a:pt x="644" y="150"/>
                  </a:lnTo>
                  <a:lnTo>
                    <a:pt x="644" y="152"/>
                  </a:lnTo>
                  <a:lnTo>
                    <a:pt x="644" y="152"/>
                  </a:lnTo>
                  <a:lnTo>
                    <a:pt x="648" y="152"/>
                  </a:lnTo>
                  <a:lnTo>
                    <a:pt x="648" y="152"/>
                  </a:lnTo>
                  <a:lnTo>
                    <a:pt x="652" y="156"/>
                  </a:lnTo>
                  <a:lnTo>
                    <a:pt x="652" y="158"/>
                  </a:lnTo>
                  <a:lnTo>
                    <a:pt x="652" y="158"/>
                  </a:lnTo>
                  <a:lnTo>
                    <a:pt x="656" y="158"/>
                  </a:lnTo>
                  <a:lnTo>
                    <a:pt x="658" y="158"/>
                  </a:lnTo>
                  <a:lnTo>
                    <a:pt x="658" y="158"/>
                  </a:lnTo>
                  <a:lnTo>
                    <a:pt x="662" y="162"/>
                  </a:lnTo>
                  <a:lnTo>
                    <a:pt x="664" y="166"/>
                  </a:lnTo>
                  <a:lnTo>
                    <a:pt x="664" y="166"/>
                  </a:lnTo>
                  <a:lnTo>
                    <a:pt x="668" y="166"/>
                  </a:lnTo>
                  <a:lnTo>
                    <a:pt x="670" y="166"/>
                  </a:lnTo>
                  <a:lnTo>
                    <a:pt x="674" y="172"/>
                  </a:lnTo>
                  <a:lnTo>
                    <a:pt x="674" y="172"/>
                  </a:lnTo>
                  <a:lnTo>
                    <a:pt x="678" y="170"/>
                  </a:lnTo>
                  <a:lnTo>
                    <a:pt x="678" y="178"/>
                  </a:lnTo>
                  <a:lnTo>
                    <a:pt x="678" y="178"/>
                  </a:lnTo>
                  <a:lnTo>
                    <a:pt x="670" y="178"/>
                  </a:lnTo>
                  <a:lnTo>
                    <a:pt x="668" y="176"/>
                  </a:lnTo>
                  <a:lnTo>
                    <a:pt x="668" y="176"/>
                  </a:lnTo>
                  <a:lnTo>
                    <a:pt x="666" y="174"/>
                  </a:lnTo>
                  <a:lnTo>
                    <a:pt x="666" y="174"/>
                  </a:lnTo>
                  <a:lnTo>
                    <a:pt x="664" y="184"/>
                  </a:lnTo>
                  <a:lnTo>
                    <a:pt x="664" y="184"/>
                  </a:lnTo>
                  <a:lnTo>
                    <a:pt x="668" y="182"/>
                  </a:lnTo>
                  <a:lnTo>
                    <a:pt x="668" y="182"/>
                  </a:lnTo>
                  <a:lnTo>
                    <a:pt x="668" y="182"/>
                  </a:lnTo>
                  <a:lnTo>
                    <a:pt x="670" y="180"/>
                  </a:lnTo>
                  <a:lnTo>
                    <a:pt x="672" y="180"/>
                  </a:lnTo>
                  <a:lnTo>
                    <a:pt x="672" y="180"/>
                  </a:lnTo>
                  <a:lnTo>
                    <a:pt x="670" y="186"/>
                  </a:lnTo>
                  <a:lnTo>
                    <a:pt x="670" y="186"/>
                  </a:lnTo>
                  <a:lnTo>
                    <a:pt x="666" y="190"/>
                  </a:lnTo>
                  <a:lnTo>
                    <a:pt x="666" y="190"/>
                  </a:lnTo>
                  <a:lnTo>
                    <a:pt x="662" y="190"/>
                  </a:lnTo>
                  <a:lnTo>
                    <a:pt x="662" y="190"/>
                  </a:lnTo>
                  <a:lnTo>
                    <a:pt x="660" y="194"/>
                  </a:lnTo>
                  <a:lnTo>
                    <a:pt x="660" y="194"/>
                  </a:lnTo>
                  <a:lnTo>
                    <a:pt x="660" y="194"/>
                  </a:lnTo>
                  <a:lnTo>
                    <a:pt x="662" y="198"/>
                  </a:lnTo>
                  <a:lnTo>
                    <a:pt x="662" y="198"/>
                  </a:lnTo>
                  <a:lnTo>
                    <a:pt x="666" y="198"/>
                  </a:lnTo>
                  <a:lnTo>
                    <a:pt x="666" y="198"/>
                  </a:lnTo>
                  <a:lnTo>
                    <a:pt x="668" y="202"/>
                  </a:lnTo>
                  <a:lnTo>
                    <a:pt x="668" y="202"/>
                  </a:lnTo>
                  <a:lnTo>
                    <a:pt x="676" y="204"/>
                  </a:lnTo>
                  <a:lnTo>
                    <a:pt x="682" y="204"/>
                  </a:lnTo>
                  <a:lnTo>
                    <a:pt x="682" y="204"/>
                  </a:lnTo>
                  <a:lnTo>
                    <a:pt x="684" y="210"/>
                  </a:lnTo>
                  <a:lnTo>
                    <a:pt x="684" y="210"/>
                  </a:lnTo>
                  <a:lnTo>
                    <a:pt x="686" y="214"/>
                  </a:lnTo>
                  <a:lnTo>
                    <a:pt x="688" y="218"/>
                  </a:lnTo>
                  <a:lnTo>
                    <a:pt x="686" y="218"/>
                  </a:lnTo>
                  <a:lnTo>
                    <a:pt x="686" y="218"/>
                  </a:lnTo>
                  <a:lnTo>
                    <a:pt x="688" y="222"/>
                  </a:lnTo>
                  <a:lnTo>
                    <a:pt x="688" y="222"/>
                  </a:lnTo>
                  <a:lnTo>
                    <a:pt x="692" y="230"/>
                  </a:lnTo>
                  <a:lnTo>
                    <a:pt x="692" y="230"/>
                  </a:lnTo>
                  <a:lnTo>
                    <a:pt x="690" y="234"/>
                  </a:lnTo>
                  <a:lnTo>
                    <a:pt x="690" y="236"/>
                  </a:lnTo>
                  <a:lnTo>
                    <a:pt x="690" y="236"/>
                  </a:lnTo>
                  <a:lnTo>
                    <a:pt x="696" y="236"/>
                  </a:lnTo>
                  <a:lnTo>
                    <a:pt x="696" y="230"/>
                  </a:lnTo>
                  <a:lnTo>
                    <a:pt x="700" y="228"/>
                  </a:lnTo>
                  <a:lnTo>
                    <a:pt x="700" y="228"/>
                  </a:lnTo>
                  <a:lnTo>
                    <a:pt x="700" y="226"/>
                  </a:lnTo>
                  <a:lnTo>
                    <a:pt x="702" y="226"/>
                  </a:lnTo>
                  <a:lnTo>
                    <a:pt x="702" y="226"/>
                  </a:lnTo>
                  <a:lnTo>
                    <a:pt x="704" y="222"/>
                  </a:lnTo>
                  <a:lnTo>
                    <a:pt x="702" y="220"/>
                  </a:lnTo>
                  <a:lnTo>
                    <a:pt x="702" y="218"/>
                  </a:lnTo>
                  <a:lnTo>
                    <a:pt x="702" y="218"/>
                  </a:lnTo>
                  <a:lnTo>
                    <a:pt x="704" y="208"/>
                  </a:lnTo>
                  <a:lnTo>
                    <a:pt x="704" y="208"/>
                  </a:lnTo>
                  <a:lnTo>
                    <a:pt x="710" y="206"/>
                  </a:lnTo>
                  <a:lnTo>
                    <a:pt x="716" y="204"/>
                  </a:lnTo>
                  <a:lnTo>
                    <a:pt x="716" y="204"/>
                  </a:lnTo>
                  <a:lnTo>
                    <a:pt x="722" y="214"/>
                  </a:lnTo>
                  <a:lnTo>
                    <a:pt x="722" y="214"/>
                  </a:lnTo>
                  <a:lnTo>
                    <a:pt x="722" y="218"/>
                  </a:lnTo>
                  <a:lnTo>
                    <a:pt x="720" y="220"/>
                  </a:lnTo>
                  <a:lnTo>
                    <a:pt x="720" y="220"/>
                  </a:lnTo>
                  <a:lnTo>
                    <a:pt x="718" y="224"/>
                  </a:lnTo>
                  <a:lnTo>
                    <a:pt x="718" y="224"/>
                  </a:lnTo>
                  <a:lnTo>
                    <a:pt x="718" y="230"/>
                  </a:lnTo>
                  <a:lnTo>
                    <a:pt x="718" y="234"/>
                  </a:lnTo>
                  <a:lnTo>
                    <a:pt x="716" y="234"/>
                  </a:lnTo>
                  <a:lnTo>
                    <a:pt x="716" y="234"/>
                  </a:lnTo>
                  <a:lnTo>
                    <a:pt x="714" y="236"/>
                  </a:lnTo>
                  <a:lnTo>
                    <a:pt x="712" y="238"/>
                  </a:lnTo>
                  <a:lnTo>
                    <a:pt x="712" y="238"/>
                  </a:lnTo>
                  <a:lnTo>
                    <a:pt x="714" y="244"/>
                  </a:lnTo>
                  <a:lnTo>
                    <a:pt x="718" y="250"/>
                  </a:lnTo>
                  <a:lnTo>
                    <a:pt x="718" y="250"/>
                  </a:lnTo>
                  <a:lnTo>
                    <a:pt x="722" y="252"/>
                  </a:lnTo>
                  <a:lnTo>
                    <a:pt x="722" y="252"/>
                  </a:lnTo>
                  <a:lnTo>
                    <a:pt x="728" y="262"/>
                  </a:lnTo>
                  <a:lnTo>
                    <a:pt x="728" y="262"/>
                  </a:lnTo>
                  <a:lnTo>
                    <a:pt x="732" y="262"/>
                  </a:lnTo>
                  <a:lnTo>
                    <a:pt x="732" y="262"/>
                  </a:lnTo>
                  <a:lnTo>
                    <a:pt x="734" y="264"/>
                  </a:lnTo>
                  <a:lnTo>
                    <a:pt x="736" y="264"/>
                  </a:lnTo>
                  <a:lnTo>
                    <a:pt x="736" y="264"/>
                  </a:lnTo>
                  <a:lnTo>
                    <a:pt x="736" y="264"/>
                  </a:lnTo>
                  <a:lnTo>
                    <a:pt x="736" y="260"/>
                  </a:lnTo>
                  <a:lnTo>
                    <a:pt x="736" y="260"/>
                  </a:lnTo>
                  <a:lnTo>
                    <a:pt x="746" y="256"/>
                  </a:lnTo>
                  <a:lnTo>
                    <a:pt x="746" y="256"/>
                  </a:lnTo>
                  <a:lnTo>
                    <a:pt x="744" y="254"/>
                  </a:lnTo>
                  <a:lnTo>
                    <a:pt x="744" y="254"/>
                  </a:lnTo>
                  <a:lnTo>
                    <a:pt x="744" y="250"/>
                  </a:lnTo>
                  <a:lnTo>
                    <a:pt x="746" y="248"/>
                  </a:lnTo>
                  <a:lnTo>
                    <a:pt x="750" y="242"/>
                  </a:lnTo>
                  <a:lnTo>
                    <a:pt x="750" y="242"/>
                  </a:lnTo>
                  <a:lnTo>
                    <a:pt x="750" y="238"/>
                  </a:lnTo>
                  <a:lnTo>
                    <a:pt x="750" y="238"/>
                  </a:lnTo>
                  <a:lnTo>
                    <a:pt x="754" y="238"/>
                  </a:lnTo>
                  <a:lnTo>
                    <a:pt x="754" y="238"/>
                  </a:lnTo>
                  <a:lnTo>
                    <a:pt x="754" y="236"/>
                  </a:lnTo>
                  <a:lnTo>
                    <a:pt x="752" y="234"/>
                  </a:lnTo>
                  <a:lnTo>
                    <a:pt x="752" y="234"/>
                  </a:lnTo>
                  <a:lnTo>
                    <a:pt x="754" y="232"/>
                  </a:lnTo>
                  <a:lnTo>
                    <a:pt x="754" y="232"/>
                  </a:lnTo>
                  <a:lnTo>
                    <a:pt x="756" y="222"/>
                  </a:lnTo>
                  <a:lnTo>
                    <a:pt x="756" y="222"/>
                  </a:lnTo>
                  <a:lnTo>
                    <a:pt x="764" y="222"/>
                  </a:lnTo>
                  <a:lnTo>
                    <a:pt x="764" y="222"/>
                  </a:lnTo>
                  <a:lnTo>
                    <a:pt x="764" y="220"/>
                  </a:lnTo>
                  <a:lnTo>
                    <a:pt x="764" y="220"/>
                  </a:lnTo>
                  <a:lnTo>
                    <a:pt x="764" y="220"/>
                  </a:lnTo>
                  <a:lnTo>
                    <a:pt x="764" y="218"/>
                  </a:lnTo>
                  <a:lnTo>
                    <a:pt x="764" y="218"/>
                  </a:lnTo>
                  <a:lnTo>
                    <a:pt x="766" y="218"/>
                  </a:lnTo>
                  <a:lnTo>
                    <a:pt x="766" y="218"/>
                  </a:lnTo>
                  <a:lnTo>
                    <a:pt x="764" y="216"/>
                  </a:lnTo>
                  <a:lnTo>
                    <a:pt x="764" y="216"/>
                  </a:lnTo>
                  <a:lnTo>
                    <a:pt x="764" y="214"/>
                  </a:lnTo>
                  <a:lnTo>
                    <a:pt x="766" y="212"/>
                  </a:lnTo>
                  <a:lnTo>
                    <a:pt x="766" y="212"/>
                  </a:lnTo>
                  <a:lnTo>
                    <a:pt x="764" y="208"/>
                  </a:lnTo>
                  <a:lnTo>
                    <a:pt x="760" y="208"/>
                  </a:lnTo>
                  <a:lnTo>
                    <a:pt x="760" y="208"/>
                  </a:lnTo>
                  <a:lnTo>
                    <a:pt x="760" y="200"/>
                  </a:lnTo>
                  <a:lnTo>
                    <a:pt x="760" y="192"/>
                  </a:lnTo>
                  <a:lnTo>
                    <a:pt x="760" y="192"/>
                  </a:lnTo>
                  <a:lnTo>
                    <a:pt x="756" y="190"/>
                  </a:lnTo>
                  <a:lnTo>
                    <a:pt x="756" y="190"/>
                  </a:lnTo>
                  <a:lnTo>
                    <a:pt x="766" y="190"/>
                  </a:lnTo>
                  <a:lnTo>
                    <a:pt x="776" y="192"/>
                  </a:lnTo>
                  <a:lnTo>
                    <a:pt x="776" y="192"/>
                  </a:lnTo>
                  <a:lnTo>
                    <a:pt x="780" y="196"/>
                  </a:lnTo>
                  <a:lnTo>
                    <a:pt x="780" y="196"/>
                  </a:lnTo>
                  <a:lnTo>
                    <a:pt x="780" y="194"/>
                  </a:lnTo>
                  <a:lnTo>
                    <a:pt x="782" y="192"/>
                  </a:lnTo>
                  <a:lnTo>
                    <a:pt x="782" y="192"/>
                  </a:lnTo>
                  <a:lnTo>
                    <a:pt x="792" y="192"/>
                  </a:lnTo>
                  <a:lnTo>
                    <a:pt x="792" y="192"/>
                  </a:lnTo>
                  <a:lnTo>
                    <a:pt x="792" y="194"/>
                  </a:lnTo>
                  <a:lnTo>
                    <a:pt x="790" y="196"/>
                  </a:lnTo>
                  <a:lnTo>
                    <a:pt x="790" y="196"/>
                  </a:lnTo>
                  <a:lnTo>
                    <a:pt x="796" y="200"/>
                  </a:lnTo>
                  <a:lnTo>
                    <a:pt x="796" y="200"/>
                  </a:lnTo>
                  <a:lnTo>
                    <a:pt x="794" y="200"/>
                  </a:lnTo>
                  <a:lnTo>
                    <a:pt x="794" y="202"/>
                  </a:lnTo>
                  <a:lnTo>
                    <a:pt x="796" y="208"/>
                  </a:lnTo>
                  <a:lnTo>
                    <a:pt x="796" y="208"/>
                  </a:lnTo>
                  <a:lnTo>
                    <a:pt x="802" y="206"/>
                  </a:lnTo>
                  <a:lnTo>
                    <a:pt x="808" y="206"/>
                  </a:lnTo>
                  <a:lnTo>
                    <a:pt x="808" y="206"/>
                  </a:lnTo>
                  <a:lnTo>
                    <a:pt x="810" y="206"/>
                  </a:lnTo>
                  <a:lnTo>
                    <a:pt x="810" y="208"/>
                  </a:lnTo>
                  <a:lnTo>
                    <a:pt x="808" y="212"/>
                  </a:lnTo>
                  <a:lnTo>
                    <a:pt x="802" y="220"/>
                  </a:lnTo>
                  <a:lnTo>
                    <a:pt x="802" y="220"/>
                  </a:lnTo>
                  <a:lnTo>
                    <a:pt x="802" y="222"/>
                  </a:lnTo>
                  <a:lnTo>
                    <a:pt x="802" y="222"/>
                  </a:lnTo>
                  <a:lnTo>
                    <a:pt x="802" y="222"/>
                  </a:lnTo>
                  <a:lnTo>
                    <a:pt x="808" y="222"/>
                  </a:lnTo>
                  <a:lnTo>
                    <a:pt x="806" y="228"/>
                  </a:lnTo>
                  <a:lnTo>
                    <a:pt x="806" y="228"/>
                  </a:lnTo>
                  <a:lnTo>
                    <a:pt x="804" y="228"/>
                  </a:lnTo>
                  <a:lnTo>
                    <a:pt x="800" y="230"/>
                  </a:lnTo>
                  <a:lnTo>
                    <a:pt x="800" y="230"/>
                  </a:lnTo>
                  <a:lnTo>
                    <a:pt x="800" y="232"/>
                  </a:lnTo>
                  <a:lnTo>
                    <a:pt x="800" y="234"/>
                  </a:lnTo>
                  <a:lnTo>
                    <a:pt x="800" y="236"/>
                  </a:lnTo>
                  <a:lnTo>
                    <a:pt x="800" y="238"/>
                  </a:lnTo>
                  <a:lnTo>
                    <a:pt x="800" y="238"/>
                  </a:lnTo>
                  <a:lnTo>
                    <a:pt x="806" y="248"/>
                  </a:lnTo>
                  <a:lnTo>
                    <a:pt x="806" y="248"/>
                  </a:lnTo>
                  <a:lnTo>
                    <a:pt x="808" y="250"/>
                  </a:lnTo>
                  <a:lnTo>
                    <a:pt x="810" y="250"/>
                  </a:lnTo>
                  <a:lnTo>
                    <a:pt x="812" y="250"/>
                  </a:lnTo>
                  <a:lnTo>
                    <a:pt x="814" y="252"/>
                  </a:lnTo>
                  <a:lnTo>
                    <a:pt x="816" y="254"/>
                  </a:lnTo>
                  <a:lnTo>
                    <a:pt x="816" y="254"/>
                  </a:lnTo>
                  <a:lnTo>
                    <a:pt x="816" y="258"/>
                  </a:lnTo>
                  <a:lnTo>
                    <a:pt x="814" y="264"/>
                  </a:lnTo>
                  <a:lnTo>
                    <a:pt x="810" y="268"/>
                  </a:lnTo>
                  <a:lnTo>
                    <a:pt x="810" y="268"/>
                  </a:lnTo>
                  <a:lnTo>
                    <a:pt x="806" y="268"/>
                  </a:lnTo>
                  <a:lnTo>
                    <a:pt x="802" y="268"/>
                  </a:lnTo>
                  <a:lnTo>
                    <a:pt x="802" y="268"/>
                  </a:lnTo>
                  <a:lnTo>
                    <a:pt x="794" y="274"/>
                  </a:lnTo>
                  <a:lnTo>
                    <a:pt x="794" y="274"/>
                  </a:lnTo>
                  <a:lnTo>
                    <a:pt x="790" y="274"/>
                  </a:lnTo>
                  <a:lnTo>
                    <a:pt x="788" y="276"/>
                  </a:lnTo>
                  <a:lnTo>
                    <a:pt x="788" y="276"/>
                  </a:lnTo>
                  <a:lnTo>
                    <a:pt x="788" y="276"/>
                  </a:lnTo>
                  <a:lnTo>
                    <a:pt x="784" y="282"/>
                  </a:lnTo>
                  <a:lnTo>
                    <a:pt x="780" y="286"/>
                  </a:lnTo>
                  <a:lnTo>
                    <a:pt x="778" y="286"/>
                  </a:lnTo>
                  <a:lnTo>
                    <a:pt x="778" y="286"/>
                  </a:lnTo>
                  <a:lnTo>
                    <a:pt x="776" y="282"/>
                  </a:lnTo>
                  <a:lnTo>
                    <a:pt x="776" y="282"/>
                  </a:lnTo>
                  <a:lnTo>
                    <a:pt x="774" y="282"/>
                  </a:lnTo>
                  <a:lnTo>
                    <a:pt x="770" y="280"/>
                  </a:lnTo>
                  <a:lnTo>
                    <a:pt x="770" y="280"/>
                  </a:lnTo>
                  <a:lnTo>
                    <a:pt x="770" y="278"/>
                  </a:lnTo>
                  <a:lnTo>
                    <a:pt x="768" y="274"/>
                  </a:lnTo>
                  <a:lnTo>
                    <a:pt x="768" y="274"/>
                  </a:lnTo>
                  <a:lnTo>
                    <a:pt x="768" y="274"/>
                  </a:lnTo>
                  <a:lnTo>
                    <a:pt x="766" y="276"/>
                  </a:lnTo>
                  <a:lnTo>
                    <a:pt x="766" y="276"/>
                  </a:lnTo>
                  <a:lnTo>
                    <a:pt x="764" y="272"/>
                  </a:lnTo>
                  <a:lnTo>
                    <a:pt x="764" y="272"/>
                  </a:lnTo>
                  <a:lnTo>
                    <a:pt x="762" y="272"/>
                  </a:lnTo>
                  <a:lnTo>
                    <a:pt x="762" y="272"/>
                  </a:lnTo>
                  <a:lnTo>
                    <a:pt x="762" y="274"/>
                  </a:lnTo>
                  <a:lnTo>
                    <a:pt x="762" y="274"/>
                  </a:lnTo>
                  <a:lnTo>
                    <a:pt x="758" y="276"/>
                  </a:lnTo>
                  <a:lnTo>
                    <a:pt x="758" y="276"/>
                  </a:lnTo>
                  <a:lnTo>
                    <a:pt x="760" y="276"/>
                  </a:lnTo>
                  <a:lnTo>
                    <a:pt x="762" y="276"/>
                  </a:lnTo>
                  <a:lnTo>
                    <a:pt x="762" y="276"/>
                  </a:lnTo>
                  <a:lnTo>
                    <a:pt x="764" y="278"/>
                  </a:lnTo>
                  <a:lnTo>
                    <a:pt x="764" y="280"/>
                  </a:lnTo>
                  <a:lnTo>
                    <a:pt x="764" y="280"/>
                  </a:lnTo>
                  <a:lnTo>
                    <a:pt x="766" y="282"/>
                  </a:lnTo>
                  <a:lnTo>
                    <a:pt x="766" y="282"/>
                  </a:lnTo>
                  <a:lnTo>
                    <a:pt x="768" y="282"/>
                  </a:lnTo>
                  <a:lnTo>
                    <a:pt x="770" y="284"/>
                  </a:lnTo>
                  <a:lnTo>
                    <a:pt x="770" y="286"/>
                  </a:lnTo>
                  <a:lnTo>
                    <a:pt x="770" y="286"/>
                  </a:lnTo>
                  <a:lnTo>
                    <a:pt x="772" y="286"/>
                  </a:lnTo>
                  <a:lnTo>
                    <a:pt x="772" y="286"/>
                  </a:lnTo>
                  <a:lnTo>
                    <a:pt x="774" y="288"/>
                  </a:lnTo>
                  <a:lnTo>
                    <a:pt x="774" y="288"/>
                  </a:lnTo>
                  <a:lnTo>
                    <a:pt x="766" y="290"/>
                  </a:lnTo>
                  <a:lnTo>
                    <a:pt x="766" y="292"/>
                  </a:lnTo>
                  <a:lnTo>
                    <a:pt x="766" y="292"/>
                  </a:lnTo>
                  <a:lnTo>
                    <a:pt x="760" y="290"/>
                  </a:lnTo>
                  <a:lnTo>
                    <a:pt x="760" y="290"/>
                  </a:lnTo>
                  <a:lnTo>
                    <a:pt x="750" y="282"/>
                  </a:lnTo>
                  <a:lnTo>
                    <a:pt x="750" y="282"/>
                  </a:lnTo>
                  <a:lnTo>
                    <a:pt x="738" y="284"/>
                  </a:lnTo>
                  <a:lnTo>
                    <a:pt x="738" y="284"/>
                  </a:lnTo>
                  <a:lnTo>
                    <a:pt x="744" y="290"/>
                  </a:lnTo>
                  <a:lnTo>
                    <a:pt x="744" y="290"/>
                  </a:lnTo>
                  <a:lnTo>
                    <a:pt x="744" y="294"/>
                  </a:lnTo>
                  <a:lnTo>
                    <a:pt x="742" y="296"/>
                  </a:lnTo>
                  <a:lnTo>
                    <a:pt x="738" y="302"/>
                  </a:lnTo>
                  <a:lnTo>
                    <a:pt x="738" y="302"/>
                  </a:lnTo>
                  <a:lnTo>
                    <a:pt x="738" y="304"/>
                  </a:lnTo>
                  <a:lnTo>
                    <a:pt x="738" y="306"/>
                  </a:lnTo>
                  <a:lnTo>
                    <a:pt x="738" y="306"/>
                  </a:lnTo>
                  <a:lnTo>
                    <a:pt x="734" y="308"/>
                  </a:lnTo>
                  <a:lnTo>
                    <a:pt x="734" y="308"/>
                  </a:lnTo>
                  <a:lnTo>
                    <a:pt x="724" y="298"/>
                  </a:lnTo>
                  <a:lnTo>
                    <a:pt x="724" y="298"/>
                  </a:lnTo>
                  <a:lnTo>
                    <a:pt x="722" y="298"/>
                  </a:lnTo>
                  <a:lnTo>
                    <a:pt x="720" y="300"/>
                  </a:lnTo>
                  <a:lnTo>
                    <a:pt x="720" y="300"/>
                  </a:lnTo>
                  <a:lnTo>
                    <a:pt x="714" y="296"/>
                  </a:lnTo>
                  <a:lnTo>
                    <a:pt x="714" y="296"/>
                  </a:lnTo>
                  <a:lnTo>
                    <a:pt x="712" y="296"/>
                  </a:lnTo>
                  <a:lnTo>
                    <a:pt x="710" y="298"/>
                  </a:lnTo>
                  <a:lnTo>
                    <a:pt x="710" y="298"/>
                  </a:lnTo>
                  <a:lnTo>
                    <a:pt x="706" y="298"/>
                  </a:lnTo>
                  <a:lnTo>
                    <a:pt x="704" y="296"/>
                  </a:lnTo>
                  <a:lnTo>
                    <a:pt x="700" y="294"/>
                  </a:lnTo>
                  <a:lnTo>
                    <a:pt x="700" y="294"/>
                  </a:lnTo>
                  <a:lnTo>
                    <a:pt x="698" y="300"/>
                  </a:lnTo>
                  <a:lnTo>
                    <a:pt x="698" y="300"/>
                  </a:lnTo>
                  <a:lnTo>
                    <a:pt x="700" y="300"/>
                  </a:lnTo>
                  <a:lnTo>
                    <a:pt x="700" y="302"/>
                  </a:lnTo>
                  <a:lnTo>
                    <a:pt x="700" y="302"/>
                  </a:lnTo>
                  <a:lnTo>
                    <a:pt x="694" y="304"/>
                  </a:lnTo>
                  <a:lnTo>
                    <a:pt x="694" y="304"/>
                  </a:lnTo>
                  <a:lnTo>
                    <a:pt x="688" y="304"/>
                  </a:lnTo>
                  <a:lnTo>
                    <a:pt x="688" y="304"/>
                  </a:lnTo>
                  <a:lnTo>
                    <a:pt x="686" y="306"/>
                  </a:lnTo>
                  <a:lnTo>
                    <a:pt x="686" y="306"/>
                  </a:lnTo>
                  <a:lnTo>
                    <a:pt x="700" y="306"/>
                  </a:lnTo>
                  <a:lnTo>
                    <a:pt x="716" y="306"/>
                  </a:lnTo>
                  <a:lnTo>
                    <a:pt x="716" y="306"/>
                  </a:lnTo>
                  <a:lnTo>
                    <a:pt x="724" y="308"/>
                  </a:lnTo>
                  <a:lnTo>
                    <a:pt x="732" y="310"/>
                  </a:lnTo>
                  <a:lnTo>
                    <a:pt x="732" y="310"/>
                  </a:lnTo>
                  <a:lnTo>
                    <a:pt x="730" y="312"/>
                  </a:lnTo>
                  <a:lnTo>
                    <a:pt x="728" y="316"/>
                  </a:lnTo>
                  <a:lnTo>
                    <a:pt x="728" y="324"/>
                  </a:lnTo>
                  <a:lnTo>
                    <a:pt x="728" y="324"/>
                  </a:lnTo>
                  <a:lnTo>
                    <a:pt x="722" y="328"/>
                  </a:lnTo>
                  <a:lnTo>
                    <a:pt x="722" y="328"/>
                  </a:lnTo>
                  <a:lnTo>
                    <a:pt x="718" y="330"/>
                  </a:lnTo>
                  <a:lnTo>
                    <a:pt x="716" y="330"/>
                  </a:lnTo>
                  <a:lnTo>
                    <a:pt x="714" y="334"/>
                  </a:lnTo>
                  <a:lnTo>
                    <a:pt x="714" y="334"/>
                  </a:lnTo>
                  <a:lnTo>
                    <a:pt x="714" y="332"/>
                  </a:lnTo>
                  <a:lnTo>
                    <a:pt x="712" y="332"/>
                  </a:lnTo>
                  <a:lnTo>
                    <a:pt x="712" y="330"/>
                  </a:lnTo>
                  <a:lnTo>
                    <a:pt x="712" y="330"/>
                  </a:lnTo>
                  <a:lnTo>
                    <a:pt x="700" y="326"/>
                  </a:lnTo>
                  <a:lnTo>
                    <a:pt x="700" y="326"/>
                  </a:lnTo>
                  <a:lnTo>
                    <a:pt x="698" y="328"/>
                  </a:lnTo>
                  <a:lnTo>
                    <a:pt x="698" y="330"/>
                  </a:lnTo>
                  <a:lnTo>
                    <a:pt x="698" y="330"/>
                  </a:lnTo>
                  <a:lnTo>
                    <a:pt x="692" y="330"/>
                  </a:lnTo>
                  <a:lnTo>
                    <a:pt x="692" y="330"/>
                  </a:lnTo>
                  <a:lnTo>
                    <a:pt x="690" y="336"/>
                  </a:lnTo>
                  <a:lnTo>
                    <a:pt x="690" y="338"/>
                  </a:lnTo>
                  <a:lnTo>
                    <a:pt x="692" y="340"/>
                  </a:lnTo>
                  <a:lnTo>
                    <a:pt x="692" y="340"/>
                  </a:lnTo>
                  <a:lnTo>
                    <a:pt x="692" y="342"/>
                  </a:lnTo>
                  <a:lnTo>
                    <a:pt x="692" y="344"/>
                  </a:lnTo>
                  <a:lnTo>
                    <a:pt x="690" y="344"/>
                  </a:lnTo>
                  <a:lnTo>
                    <a:pt x="688" y="346"/>
                  </a:lnTo>
                  <a:lnTo>
                    <a:pt x="688" y="346"/>
                  </a:lnTo>
                  <a:lnTo>
                    <a:pt x="682" y="346"/>
                  </a:lnTo>
                  <a:lnTo>
                    <a:pt x="682" y="346"/>
                  </a:lnTo>
                  <a:lnTo>
                    <a:pt x="682" y="352"/>
                  </a:lnTo>
                  <a:lnTo>
                    <a:pt x="682" y="352"/>
                  </a:lnTo>
                  <a:lnTo>
                    <a:pt x="686" y="352"/>
                  </a:lnTo>
                  <a:lnTo>
                    <a:pt x="686" y="352"/>
                  </a:lnTo>
                  <a:lnTo>
                    <a:pt x="686" y="358"/>
                  </a:lnTo>
                  <a:lnTo>
                    <a:pt x="686" y="358"/>
                  </a:lnTo>
                  <a:lnTo>
                    <a:pt x="686" y="360"/>
                  </a:lnTo>
                  <a:lnTo>
                    <a:pt x="686" y="360"/>
                  </a:lnTo>
                  <a:lnTo>
                    <a:pt x="684" y="362"/>
                  </a:lnTo>
                  <a:lnTo>
                    <a:pt x="684" y="362"/>
                  </a:lnTo>
                  <a:lnTo>
                    <a:pt x="676" y="364"/>
                  </a:lnTo>
                  <a:lnTo>
                    <a:pt x="666" y="362"/>
                  </a:lnTo>
                  <a:lnTo>
                    <a:pt x="666" y="366"/>
                  </a:lnTo>
                  <a:lnTo>
                    <a:pt x="666" y="366"/>
                  </a:lnTo>
                  <a:lnTo>
                    <a:pt x="670" y="366"/>
                  </a:lnTo>
                  <a:lnTo>
                    <a:pt x="670" y="366"/>
                  </a:lnTo>
                  <a:lnTo>
                    <a:pt x="668" y="370"/>
                  </a:lnTo>
                  <a:lnTo>
                    <a:pt x="668" y="370"/>
                  </a:lnTo>
                  <a:lnTo>
                    <a:pt x="662" y="370"/>
                  </a:lnTo>
                  <a:lnTo>
                    <a:pt x="662" y="370"/>
                  </a:lnTo>
                  <a:lnTo>
                    <a:pt x="664" y="372"/>
                  </a:lnTo>
                  <a:lnTo>
                    <a:pt x="664" y="372"/>
                  </a:lnTo>
                  <a:lnTo>
                    <a:pt x="666" y="372"/>
                  </a:lnTo>
                  <a:lnTo>
                    <a:pt x="666" y="374"/>
                  </a:lnTo>
                  <a:lnTo>
                    <a:pt x="666" y="374"/>
                  </a:lnTo>
                  <a:lnTo>
                    <a:pt x="660" y="374"/>
                  </a:lnTo>
                  <a:lnTo>
                    <a:pt x="660" y="374"/>
                  </a:lnTo>
                  <a:lnTo>
                    <a:pt x="662" y="372"/>
                  </a:lnTo>
                  <a:lnTo>
                    <a:pt x="660" y="372"/>
                  </a:lnTo>
                  <a:lnTo>
                    <a:pt x="658" y="372"/>
                  </a:lnTo>
                  <a:lnTo>
                    <a:pt x="658" y="372"/>
                  </a:lnTo>
                  <a:lnTo>
                    <a:pt x="658" y="376"/>
                  </a:lnTo>
                  <a:lnTo>
                    <a:pt x="658" y="376"/>
                  </a:lnTo>
                  <a:lnTo>
                    <a:pt x="654" y="376"/>
                  </a:lnTo>
                  <a:lnTo>
                    <a:pt x="654" y="376"/>
                  </a:lnTo>
                  <a:lnTo>
                    <a:pt x="654" y="386"/>
                  </a:lnTo>
                  <a:lnTo>
                    <a:pt x="654" y="386"/>
                  </a:lnTo>
                  <a:lnTo>
                    <a:pt x="646" y="386"/>
                  </a:lnTo>
                  <a:lnTo>
                    <a:pt x="646" y="386"/>
                  </a:lnTo>
                  <a:lnTo>
                    <a:pt x="646" y="390"/>
                  </a:lnTo>
                  <a:lnTo>
                    <a:pt x="646" y="390"/>
                  </a:lnTo>
                  <a:lnTo>
                    <a:pt x="642" y="394"/>
                  </a:lnTo>
                  <a:lnTo>
                    <a:pt x="636" y="398"/>
                  </a:lnTo>
                  <a:lnTo>
                    <a:pt x="636" y="398"/>
                  </a:lnTo>
                  <a:lnTo>
                    <a:pt x="638" y="402"/>
                  </a:lnTo>
                  <a:lnTo>
                    <a:pt x="640" y="406"/>
                  </a:lnTo>
                  <a:lnTo>
                    <a:pt x="640" y="406"/>
                  </a:lnTo>
                  <a:lnTo>
                    <a:pt x="630" y="406"/>
                  </a:lnTo>
                  <a:lnTo>
                    <a:pt x="630" y="406"/>
                  </a:lnTo>
                  <a:lnTo>
                    <a:pt x="628" y="408"/>
                  </a:lnTo>
                  <a:lnTo>
                    <a:pt x="628" y="408"/>
                  </a:lnTo>
                  <a:lnTo>
                    <a:pt x="632" y="410"/>
                  </a:lnTo>
                  <a:lnTo>
                    <a:pt x="632" y="410"/>
                  </a:lnTo>
                  <a:lnTo>
                    <a:pt x="632" y="414"/>
                  </a:lnTo>
                  <a:lnTo>
                    <a:pt x="632" y="414"/>
                  </a:lnTo>
                  <a:lnTo>
                    <a:pt x="626" y="420"/>
                  </a:lnTo>
                  <a:lnTo>
                    <a:pt x="626" y="420"/>
                  </a:lnTo>
                  <a:lnTo>
                    <a:pt x="626" y="424"/>
                  </a:lnTo>
                  <a:lnTo>
                    <a:pt x="626" y="428"/>
                  </a:lnTo>
                  <a:lnTo>
                    <a:pt x="626" y="428"/>
                  </a:lnTo>
                  <a:lnTo>
                    <a:pt x="622" y="430"/>
                  </a:lnTo>
                  <a:lnTo>
                    <a:pt x="622" y="430"/>
                  </a:lnTo>
                  <a:lnTo>
                    <a:pt x="626" y="436"/>
                  </a:lnTo>
                  <a:lnTo>
                    <a:pt x="626" y="436"/>
                  </a:lnTo>
                  <a:lnTo>
                    <a:pt x="628" y="440"/>
                  </a:lnTo>
                  <a:lnTo>
                    <a:pt x="628" y="446"/>
                  </a:lnTo>
                  <a:lnTo>
                    <a:pt x="628" y="446"/>
                  </a:lnTo>
                  <a:lnTo>
                    <a:pt x="630" y="448"/>
                  </a:lnTo>
                  <a:lnTo>
                    <a:pt x="636" y="448"/>
                  </a:lnTo>
                  <a:lnTo>
                    <a:pt x="648" y="448"/>
                  </a:lnTo>
                  <a:lnTo>
                    <a:pt x="648" y="448"/>
                  </a:lnTo>
                  <a:lnTo>
                    <a:pt x="654" y="456"/>
                  </a:lnTo>
                  <a:lnTo>
                    <a:pt x="654" y="456"/>
                  </a:lnTo>
                  <a:lnTo>
                    <a:pt x="654" y="460"/>
                  </a:lnTo>
                  <a:lnTo>
                    <a:pt x="654" y="460"/>
                  </a:lnTo>
                  <a:lnTo>
                    <a:pt x="656" y="462"/>
                  </a:lnTo>
                  <a:lnTo>
                    <a:pt x="656" y="462"/>
                  </a:lnTo>
                  <a:lnTo>
                    <a:pt x="656" y="468"/>
                  </a:lnTo>
                  <a:lnTo>
                    <a:pt x="656" y="468"/>
                  </a:lnTo>
                  <a:lnTo>
                    <a:pt x="660" y="474"/>
                  </a:lnTo>
                  <a:lnTo>
                    <a:pt x="660" y="474"/>
                  </a:lnTo>
                  <a:lnTo>
                    <a:pt x="662" y="480"/>
                  </a:lnTo>
                  <a:lnTo>
                    <a:pt x="662" y="486"/>
                  </a:lnTo>
                  <a:lnTo>
                    <a:pt x="662" y="486"/>
                  </a:lnTo>
                  <a:lnTo>
                    <a:pt x="672" y="482"/>
                  </a:lnTo>
                  <a:lnTo>
                    <a:pt x="678" y="480"/>
                  </a:lnTo>
                  <a:lnTo>
                    <a:pt x="682" y="480"/>
                  </a:lnTo>
                  <a:lnTo>
                    <a:pt x="682" y="480"/>
                  </a:lnTo>
                  <a:lnTo>
                    <a:pt x="690" y="486"/>
                  </a:lnTo>
                  <a:lnTo>
                    <a:pt x="690" y="486"/>
                  </a:lnTo>
                  <a:lnTo>
                    <a:pt x="694" y="486"/>
                  </a:lnTo>
                  <a:lnTo>
                    <a:pt x="694" y="486"/>
                  </a:lnTo>
                  <a:lnTo>
                    <a:pt x="698" y="490"/>
                  </a:lnTo>
                  <a:lnTo>
                    <a:pt x="702" y="492"/>
                  </a:lnTo>
                  <a:lnTo>
                    <a:pt x="702" y="492"/>
                  </a:lnTo>
                  <a:lnTo>
                    <a:pt x="708" y="492"/>
                  </a:lnTo>
                  <a:lnTo>
                    <a:pt x="708" y="492"/>
                  </a:lnTo>
                  <a:lnTo>
                    <a:pt x="710" y="494"/>
                  </a:lnTo>
                  <a:lnTo>
                    <a:pt x="712" y="496"/>
                  </a:lnTo>
                  <a:lnTo>
                    <a:pt x="712" y="496"/>
                  </a:lnTo>
                  <a:lnTo>
                    <a:pt x="716" y="498"/>
                  </a:lnTo>
                  <a:lnTo>
                    <a:pt x="720" y="498"/>
                  </a:lnTo>
                  <a:lnTo>
                    <a:pt x="720" y="498"/>
                  </a:lnTo>
                  <a:lnTo>
                    <a:pt x="720" y="500"/>
                  </a:lnTo>
                  <a:lnTo>
                    <a:pt x="720" y="500"/>
                  </a:lnTo>
                  <a:lnTo>
                    <a:pt x="722" y="504"/>
                  </a:lnTo>
                  <a:lnTo>
                    <a:pt x="724" y="506"/>
                  </a:lnTo>
                  <a:lnTo>
                    <a:pt x="724" y="506"/>
                  </a:lnTo>
                  <a:lnTo>
                    <a:pt x="724" y="512"/>
                  </a:lnTo>
                  <a:lnTo>
                    <a:pt x="724" y="512"/>
                  </a:lnTo>
                  <a:lnTo>
                    <a:pt x="728" y="512"/>
                  </a:lnTo>
                  <a:lnTo>
                    <a:pt x="732" y="512"/>
                  </a:lnTo>
                  <a:lnTo>
                    <a:pt x="732" y="512"/>
                  </a:lnTo>
                  <a:lnTo>
                    <a:pt x="734" y="516"/>
                  </a:lnTo>
                  <a:lnTo>
                    <a:pt x="738" y="518"/>
                  </a:lnTo>
                  <a:lnTo>
                    <a:pt x="738" y="518"/>
                  </a:lnTo>
                  <a:lnTo>
                    <a:pt x="742" y="518"/>
                  </a:lnTo>
                  <a:lnTo>
                    <a:pt x="748" y="518"/>
                  </a:lnTo>
                  <a:lnTo>
                    <a:pt x="748" y="518"/>
                  </a:lnTo>
                  <a:lnTo>
                    <a:pt x="750" y="522"/>
                  </a:lnTo>
                  <a:lnTo>
                    <a:pt x="750" y="522"/>
                  </a:lnTo>
                  <a:lnTo>
                    <a:pt x="752" y="524"/>
                  </a:lnTo>
                  <a:lnTo>
                    <a:pt x="756" y="524"/>
                  </a:lnTo>
                  <a:lnTo>
                    <a:pt x="756" y="526"/>
                  </a:lnTo>
                  <a:lnTo>
                    <a:pt x="756" y="526"/>
                  </a:lnTo>
                  <a:lnTo>
                    <a:pt x="762" y="528"/>
                  </a:lnTo>
                  <a:lnTo>
                    <a:pt x="762" y="528"/>
                  </a:lnTo>
                  <a:lnTo>
                    <a:pt x="766" y="530"/>
                  </a:lnTo>
                  <a:lnTo>
                    <a:pt x="770" y="528"/>
                  </a:lnTo>
                  <a:lnTo>
                    <a:pt x="778" y="528"/>
                  </a:lnTo>
                  <a:lnTo>
                    <a:pt x="778" y="528"/>
                  </a:lnTo>
                  <a:lnTo>
                    <a:pt x="782" y="530"/>
                  </a:lnTo>
                  <a:lnTo>
                    <a:pt x="782" y="530"/>
                  </a:lnTo>
                  <a:lnTo>
                    <a:pt x="784" y="530"/>
                  </a:lnTo>
                  <a:lnTo>
                    <a:pt x="788" y="530"/>
                  </a:lnTo>
                  <a:lnTo>
                    <a:pt x="788" y="530"/>
                  </a:lnTo>
                  <a:lnTo>
                    <a:pt x="798" y="534"/>
                  </a:lnTo>
                  <a:lnTo>
                    <a:pt x="798" y="534"/>
                  </a:lnTo>
                  <a:lnTo>
                    <a:pt x="798" y="544"/>
                  </a:lnTo>
                  <a:lnTo>
                    <a:pt x="798" y="544"/>
                  </a:lnTo>
                  <a:lnTo>
                    <a:pt x="796" y="548"/>
                  </a:lnTo>
                  <a:lnTo>
                    <a:pt x="794" y="552"/>
                  </a:lnTo>
                  <a:lnTo>
                    <a:pt x="794" y="552"/>
                  </a:lnTo>
                  <a:lnTo>
                    <a:pt x="798" y="556"/>
                  </a:lnTo>
                  <a:lnTo>
                    <a:pt x="798" y="556"/>
                  </a:lnTo>
                  <a:lnTo>
                    <a:pt x="798" y="568"/>
                  </a:lnTo>
                  <a:lnTo>
                    <a:pt x="796" y="580"/>
                  </a:lnTo>
                  <a:lnTo>
                    <a:pt x="796" y="580"/>
                  </a:lnTo>
                  <a:lnTo>
                    <a:pt x="800" y="580"/>
                  </a:lnTo>
                  <a:lnTo>
                    <a:pt x="800" y="580"/>
                  </a:lnTo>
                  <a:lnTo>
                    <a:pt x="804" y="584"/>
                  </a:lnTo>
                  <a:lnTo>
                    <a:pt x="806" y="590"/>
                  </a:lnTo>
                  <a:lnTo>
                    <a:pt x="806" y="590"/>
                  </a:lnTo>
                  <a:lnTo>
                    <a:pt x="804" y="592"/>
                  </a:lnTo>
                  <a:lnTo>
                    <a:pt x="804" y="594"/>
                  </a:lnTo>
                  <a:lnTo>
                    <a:pt x="804" y="594"/>
                  </a:lnTo>
                  <a:lnTo>
                    <a:pt x="814" y="600"/>
                  </a:lnTo>
                  <a:lnTo>
                    <a:pt x="814" y="600"/>
                  </a:lnTo>
                  <a:lnTo>
                    <a:pt x="816" y="604"/>
                  </a:lnTo>
                  <a:lnTo>
                    <a:pt x="818" y="608"/>
                  </a:lnTo>
                  <a:lnTo>
                    <a:pt x="818" y="608"/>
                  </a:lnTo>
                  <a:lnTo>
                    <a:pt x="818" y="608"/>
                  </a:lnTo>
                  <a:lnTo>
                    <a:pt x="818" y="610"/>
                  </a:lnTo>
                  <a:lnTo>
                    <a:pt x="818" y="610"/>
                  </a:lnTo>
                  <a:lnTo>
                    <a:pt x="830" y="610"/>
                  </a:lnTo>
                  <a:lnTo>
                    <a:pt x="830" y="610"/>
                  </a:lnTo>
                  <a:lnTo>
                    <a:pt x="830" y="608"/>
                  </a:lnTo>
                  <a:lnTo>
                    <a:pt x="832" y="608"/>
                  </a:lnTo>
                  <a:lnTo>
                    <a:pt x="832" y="608"/>
                  </a:lnTo>
                  <a:lnTo>
                    <a:pt x="834" y="604"/>
                  </a:lnTo>
                  <a:lnTo>
                    <a:pt x="834" y="604"/>
                  </a:lnTo>
                  <a:lnTo>
                    <a:pt x="836" y="604"/>
                  </a:lnTo>
                  <a:lnTo>
                    <a:pt x="840" y="604"/>
                  </a:lnTo>
                  <a:lnTo>
                    <a:pt x="840" y="602"/>
                  </a:lnTo>
                  <a:lnTo>
                    <a:pt x="840" y="602"/>
                  </a:lnTo>
                  <a:lnTo>
                    <a:pt x="838" y="598"/>
                  </a:lnTo>
                  <a:lnTo>
                    <a:pt x="844" y="588"/>
                  </a:lnTo>
                  <a:lnTo>
                    <a:pt x="844" y="588"/>
                  </a:lnTo>
                  <a:lnTo>
                    <a:pt x="846" y="588"/>
                  </a:lnTo>
                  <a:lnTo>
                    <a:pt x="844" y="588"/>
                  </a:lnTo>
                  <a:lnTo>
                    <a:pt x="842" y="588"/>
                  </a:lnTo>
                  <a:lnTo>
                    <a:pt x="842" y="588"/>
                  </a:lnTo>
                  <a:lnTo>
                    <a:pt x="842" y="586"/>
                  </a:lnTo>
                  <a:lnTo>
                    <a:pt x="842" y="584"/>
                  </a:lnTo>
                  <a:lnTo>
                    <a:pt x="842" y="582"/>
                  </a:lnTo>
                  <a:lnTo>
                    <a:pt x="842" y="580"/>
                  </a:lnTo>
                  <a:lnTo>
                    <a:pt x="842" y="580"/>
                  </a:lnTo>
                  <a:lnTo>
                    <a:pt x="840" y="580"/>
                  </a:lnTo>
                  <a:lnTo>
                    <a:pt x="840" y="580"/>
                  </a:lnTo>
                  <a:lnTo>
                    <a:pt x="840" y="568"/>
                  </a:lnTo>
                  <a:lnTo>
                    <a:pt x="840" y="564"/>
                  </a:lnTo>
                  <a:lnTo>
                    <a:pt x="840" y="558"/>
                  </a:lnTo>
                  <a:lnTo>
                    <a:pt x="834" y="554"/>
                  </a:lnTo>
                  <a:lnTo>
                    <a:pt x="834" y="554"/>
                  </a:lnTo>
                  <a:lnTo>
                    <a:pt x="834" y="548"/>
                  </a:lnTo>
                  <a:lnTo>
                    <a:pt x="834" y="542"/>
                  </a:lnTo>
                  <a:lnTo>
                    <a:pt x="834" y="540"/>
                  </a:lnTo>
                  <a:lnTo>
                    <a:pt x="834" y="540"/>
                  </a:lnTo>
                  <a:lnTo>
                    <a:pt x="838" y="538"/>
                  </a:lnTo>
                  <a:lnTo>
                    <a:pt x="842" y="538"/>
                  </a:lnTo>
                  <a:lnTo>
                    <a:pt x="842" y="538"/>
                  </a:lnTo>
                  <a:lnTo>
                    <a:pt x="846" y="534"/>
                  </a:lnTo>
                  <a:lnTo>
                    <a:pt x="846" y="534"/>
                  </a:lnTo>
                  <a:lnTo>
                    <a:pt x="848" y="534"/>
                  </a:lnTo>
                  <a:lnTo>
                    <a:pt x="850" y="532"/>
                  </a:lnTo>
                  <a:lnTo>
                    <a:pt x="850" y="532"/>
                  </a:lnTo>
                  <a:lnTo>
                    <a:pt x="852" y="530"/>
                  </a:lnTo>
                  <a:lnTo>
                    <a:pt x="852" y="530"/>
                  </a:lnTo>
                  <a:lnTo>
                    <a:pt x="854" y="528"/>
                  </a:lnTo>
                  <a:lnTo>
                    <a:pt x="858" y="524"/>
                  </a:lnTo>
                  <a:lnTo>
                    <a:pt x="858" y="524"/>
                  </a:lnTo>
                  <a:lnTo>
                    <a:pt x="860" y="520"/>
                  </a:lnTo>
                  <a:lnTo>
                    <a:pt x="860" y="520"/>
                  </a:lnTo>
                  <a:lnTo>
                    <a:pt x="864" y="516"/>
                  </a:lnTo>
                  <a:lnTo>
                    <a:pt x="866" y="514"/>
                  </a:lnTo>
                  <a:lnTo>
                    <a:pt x="866" y="514"/>
                  </a:lnTo>
                  <a:lnTo>
                    <a:pt x="868" y="510"/>
                  </a:lnTo>
                  <a:lnTo>
                    <a:pt x="868" y="510"/>
                  </a:lnTo>
                  <a:lnTo>
                    <a:pt x="874" y="508"/>
                  </a:lnTo>
                  <a:lnTo>
                    <a:pt x="874" y="508"/>
                  </a:lnTo>
                  <a:lnTo>
                    <a:pt x="872" y="500"/>
                  </a:lnTo>
                  <a:lnTo>
                    <a:pt x="872" y="502"/>
                  </a:lnTo>
                  <a:lnTo>
                    <a:pt x="870" y="506"/>
                  </a:lnTo>
                  <a:lnTo>
                    <a:pt x="868" y="506"/>
                  </a:lnTo>
                  <a:lnTo>
                    <a:pt x="868" y="506"/>
                  </a:lnTo>
                  <a:lnTo>
                    <a:pt x="870" y="496"/>
                  </a:lnTo>
                  <a:lnTo>
                    <a:pt x="872" y="488"/>
                  </a:lnTo>
                  <a:lnTo>
                    <a:pt x="872" y="488"/>
                  </a:lnTo>
                  <a:lnTo>
                    <a:pt x="870" y="486"/>
                  </a:lnTo>
                  <a:lnTo>
                    <a:pt x="866" y="484"/>
                  </a:lnTo>
                  <a:lnTo>
                    <a:pt x="866" y="484"/>
                  </a:lnTo>
                  <a:lnTo>
                    <a:pt x="864" y="478"/>
                  </a:lnTo>
                  <a:lnTo>
                    <a:pt x="864" y="472"/>
                  </a:lnTo>
                  <a:lnTo>
                    <a:pt x="864" y="472"/>
                  </a:lnTo>
                  <a:lnTo>
                    <a:pt x="860" y="470"/>
                  </a:lnTo>
                  <a:lnTo>
                    <a:pt x="860" y="470"/>
                  </a:lnTo>
                  <a:lnTo>
                    <a:pt x="860" y="464"/>
                  </a:lnTo>
                  <a:lnTo>
                    <a:pt x="860" y="464"/>
                  </a:lnTo>
                  <a:lnTo>
                    <a:pt x="858" y="462"/>
                  </a:lnTo>
                  <a:lnTo>
                    <a:pt x="858" y="462"/>
                  </a:lnTo>
                  <a:lnTo>
                    <a:pt x="856" y="458"/>
                  </a:lnTo>
                  <a:lnTo>
                    <a:pt x="856" y="458"/>
                  </a:lnTo>
                  <a:lnTo>
                    <a:pt x="854" y="458"/>
                  </a:lnTo>
                  <a:lnTo>
                    <a:pt x="852" y="456"/>
                  </a:lnTo>
                  <a:lnTo>
                    <a:pt x="852" y="456"/>
                  </a:lnTo>
                  <a:lnTo>
                    <a:pt x="850" y="454"/>
                  </a:lnTo>
                  <a:lnTo>
                    <a:pt x="848" y="452"/>
                  </a:lnTo>
                  <a:lnTo>
                    <a:pt x="848" y="452"/>
                  </a:lnTo>
                  <a:lnTo>
                    <a:pt x="846" y="450"/>
                  </a:lnTo>
                  <a:lnTo>
                    <a:pt x="842" y="450"/>
                  </a:lnTo>
                  <a:lnTo>
                    <a:pt x="842" y="450"/>
                  </a:lnTo>
                  <a:lnTo>
                    <a:pt x="842" y="448"/>
                  </a:lnTo>
                  <a:lnTo>
                    <a:pt x="840" y="448"/>
                  </a:lnTo>
                  <a:lnTo>
                    <a:pt x="840" y="448"/>
                  </a:lnTo>
                  <a:lnTo>
                    <a:pt x="842" y="442"/>
                  </a:lnTo>
                  <a:lnTo>
                    <a:pt x="846" y="438"/>
                  </a:lnTo>
                  <a:lnTo>
                    <a:pt x="848" y="436"/>
                  </a:lnTo>
                  <a:lnTo>
                    <a:pt x="854" y="436"/>
                  </a:lnTo>
                  <a:lnTo>
                    <a:pt x="854" y="436"/>
                  </a:lnTo>
                  <a:lnTo>
                    <a:pt x="854" y="430"/>
                  </a:lnTo>
                  <a:lnTo>
                    <a:pt x="854" y="430"/>
                  </a:lnTo>
                  <a:lnTo>
                    <a:pt x="854" y="430"/>
                  </a:lnTo>
                  <a:lnTo>
                    <a:pt x="854" y="428"/>
                  </a:lnTo>
                  <a:lnTo>
                    <a:pt x="854" y="426"/>
                  </a:lnTo>
                  <a:lnTo>
                    <a:pt x="858" y="428"/>
                  </a:lnTo>
                  <a:lnTo>
                    <a:pt x="858" y="428"/>
                  </a:lnTo>
                  <a:lnTo>
                    <a:pt x="858" y="426"/>
                  </a:lnTo>
                  <a:lnTo>
                    <a:pt x="858" y="424"/>
                  </a:lnTo>
                  <a:lnTo>
                    <a:pt x="860" y="424"/>
                  </a:lnTo>
                  <a:lnTo>
                    <a:pt x="860" y="424"/>
                  </a:lnTo>
                  <a:lnTo>
                    <a:pt x="860" y="420"/>
                  </a:lnTo>
                  <a:lnTo>
                    <a:pt x="860" y="420"/>
                  </a:lnTo>
                  <a:lnTo>
                    <a:pt x="856" y="418"/>
                  </a:lnTo>
                  <a:lnTo>
                    <a:pt x="856" y="418"/>
                  </a:lnTo>
                  <a:lnTo>
                    <a:pt x="858" y="416"/>
                  </a:lnTo>
                  <a:lnTo>
                    <a:pt x="858" y="416"/>
                  </a:lnTo>
                  <a:lnTo>
                    <a:pt x="856" y="410"/>
                  </a:lnTo>
                  <a:lnTo>
                    <a:pt x="854" y="406"/>
                  </a:lnTo>
                  <a:lnTo>
                    <a:pt x="854" y="406"/>
                  </a:lnTo>
                  <a:lnTo>
                    <a:pt x="858" y="402"/>
                  </a:lnTo>
                  <a:lnTo>
                    <a:pt x="858" y="402"/>
                  </a:lnTo>
                  <a:lnTo>
                    <a:pt x="854" y="402"/>
                  </a:lnTo>
                  <a:lnTo>
                    <a:pt x="854" y="402"/>
                  </a:lnTo>
                  <a:lnTo>
                    <a:pt x="852" y="398"/>
                  </a:lnTo>
                  <a:lnTo>
                    <a:pt x="852" y="398"/>
                  </a:lnTo>
                  <a:lnTo>
                    <a:pt x="858" y="388"/>
                  </a:lnTo>
                  <a:lnTo>
                    <a:pt x="858" y="388"/>
                  </a:lnTo>
                  <a:lnTo>
                    <a:pt x="858" y="384"/>
                  </a:lnTo>
                  <a:lnTo>
                    <a:pt x="860" y="384"/>
                  </a:lnTo>
                  <a:lnTo>
                    <a:pt x="860" y="384"/>
                  </a:lnTo>
                  <a:lnTo>
                    <a:pt x="860" y="380"/>
                  </a:lnTo>
                  <a:lnTo>
                    <a:pt x="860" y="380"/>
                  </a:lnTo>
                  <a:lnTo>
                    <a:pt x="856" y="380"/>
                  </a:lnTo>
                  <a:lnTo>
                    <a:pt x="856" y="380"/>
                  </a:lnTo>
                  <a:lnTo>
                    <a:pt x="854" y="376"/>
                  </a:lnTo>
                  <a:lnTo>
                    <a:pt x="854" y="376"/>
                  </a:lnTo>
                  <a:lnTo>
                    <a:pt x="854" y="374"/>
                  </a:lnTo>
                  <a:lnTo>
                    <a:pt x="854" y="372"/>
                  </a:lnTo>
                  <a:lnTo>
                    <a:pt x="854" y="372"/>
                  </a:lnTo>
                  <a:lnTo>
                    <a:pt x="858" y="372"/>
                  </a:lnTo>
                  <a:lnTo>
                    <a:pt x="858" y="372"/>
                  </a:lnTo>
                  <a:lnTo>
                    <a:pt x="862" y="370"/>
                  </a:lnTo>
                  <a:lnTo>
                    <a:pt x="866" y="370"/>
                  </a:lnTo>
                  <a:lnTo>
                    <a:pt x="870" y="372"/>
                  </a:lnTo>
                  <a:lnTo>
                    <a:pt x="870" y="372"/>
                  </a:lnTo>
                  <a:lnTo>
                    <a:pt x="874" y="370"/>
                  </a:lnTo>
                  <a:lnTo>
                    <a:pt x="874" y="370"/>
                  </a:lnTo>
                  <a:lnTo>
                    <a:pt x="878" y="374"/>
                  </a:lnTo>
                  <a:lnTo>
                    <a:pt x="878" y="374"/>
                  </a:lnTo>
                  <a:lnTo>
                    <a:pt x="884" y="372"/>
                  </a:lnTo>
                  <a:lnTo>
                    <a:pt x="890" y="372"/>
                  </a:lnTo>
                  <a:lnTo>
                    <a:pt x="890" y="372"/>
                  </a:lnTo>
                  <a:lnTo>
                    <a:pt x="894" y="374"/>
                  </a:lnTo>
                  <a:lnTo>
                    <a:pt x="900" y="374"/>
                  </a:lnTo>
                  <a:lnTo>
                    <a:pt x="900" y="374"/>
                  </a:lnTo>
                  <a:lnTo>
                    <a:pt x="906" y="370"/>
                  </a:lnTo>
                  <a:lnTo>
                    <a:pt x="914" y="364"/>
                  </a:lnTo>
                  <a:lnTo>
                    <a:pt x="914" y="368"/>
                  </a:lnTo>
                  <a:lnTo>
                    <a:pt x="914" y="368"/>
                  </a:lnTo>
                  <a:lnTo>
                    <a:pt x="918" y="368"/>
                  </a:lnTo>
                  <a:lnTo>
                    <a:pt x="922" y="370"/>
                  </a:lnTo>
                  <a:lnTo>
                    <a:pt x="922" y="370"/>
                  </a:lnTo>
                  <a:lnTo>
                    <a:pt x="926" y="374"/>
                  </a:lnTo>
                  <a:lnTo>
                    <a:pt x="926" y="374"/>
                  </a:lnTo>
                  <a:lnTo>
                    <a:pt x="928" y="374"/>
                  </a:lnTo>
                  <a:lnTo>
                    <a:pt x="928" y="374"/>
                  </a:lnTo>
                  <a:lnTo>
                    <a:pt x="928" y="374"/>
                  </a:lnTo>
                  <a:lnTo>
                    <a:pt x="928" y="378"/>
                  </a:lnTo>
                  <a:lnTo>
                    <a:pt x="928" y="378"/>
                  </a:lnTo>
                  <a:lnTo>
                    <a:pt x="932" y="380"/>
                  </a:lnTo>
                  <a:lnTo>
                    <a:pt x="934" y="380"/>
                  </a:lnTo>
                  <a:lnTo>
                    <a:pt x="934" y="380"/>
                  </a:lnTo>
                  <a:lnTo>
                    <a:pt x="936" y="386"/>
                  </a:lnTo>
                  <a:lnTo>
                    <a:pt x="936" y="386"/>
                  </a:lnTo>
                  <a:lnTo>
                    <a:pt x="938" y="386"/>
                  </a:lnTo>
                  <a:lnTo>
                    <a:pt x="938" y="386"/>
                  </a:lnTo>
                  <a:lnTo>
                    <a:pt x="940" y="392"/>
                  </a:lnTo>
                  <a:lnTo>
                    <a:pt x="940" y="392"/>
                  </a:lnTo>
                  <a:lnTo>
                    <a:pt x="960" y="392"/>
                  </a:lnTo>
                  <a:lnTo>
                    <a:pt x="960" y="394"/>
                  </a:lnTo>
                  <a:lnTo>
                    <a:pt x="960" y="394"/>
                  </a:lnTo>
                  <a:lnTo>
                    <a:pt x="956" y="398"/>
                  </a:lnTo>
                  <a:lnTo>
                    <a:pt x="956" y="398"/>
                  </a:lnTo>
                  <a:lnTo>
                    <a:pt x="964" y="400"/>
                  </a:lnTo>
                  <a:lnTo>
                    <a:pt x="964" y="400"/>
                  </a:lnTo>
                  <a:lnTo>
                    <a:pt x="966" y="402"/>
                  </a:lnTo>
                  <a:lnTo>
                    <a:pt x="966" y="402"/>
                  </a:lnTo>
                  <a:lnTo>
                    <a:pt x="968" y="398"/>
                  </a:lnTo>
                  <a:lnTo>
                    <a:pt x="968" y="398"/>
                  </a:lnTo>
                  <a:lnTo>
                    <a:pt x="972" y="398"/>
                  </a:lnTo>
                  <a:lnTo>
                    <a:pt x="972" y="398"/>
                  </a:lnTo>
                  <a:lnTo>
                    <a:pt x="966" y="406"/>
                  </a:lnTo>
                  <a:lnTo>
                    <a:pt x="966" y="410"/>
                  </a:lnTo>
                  <a:lnTo>
                    <a:pt x="966" y="412"/>
                  </a:lnTo>
                  <a:lnTo>
                    <a:pt x="968" y="412"/>
                  </a:lnTo>
                  <a:lnTo>
                    <a:pt x="968" y="412"/>
                  </a:lnTo>
                  <a:lnTo>
                    <a:pt x="968" y="414"/>
                  </a:lnTo>
                  <a:lnTo>
                    <a:pt x="968" y="414"/>
                  </a:lnTo>
                  <a:lnTo>
                    <a:pt x="962" y="416"/>
                  </a:lnTo>
                  <a:lnTo>
                    <a:pt x="962" y="416"/>
                  </a:lnTo>
                  <a:lnTo>
                    <a:pt x="962" y="418"/>
                  </a:lnTo>
                  <a:lnTo>
                    <a:pt x="962" y="422"/>
                  </a:lnTo>
                  <a:lnTo>
                    <a:pt x="962" y="422"/>
                  </a:lnTo>
                  <a:lnTo>
                    <a:pt x="966" y="424"/>
                  </a:lnTo>
                  <a:lnTo>
                    <a:pt x="966" y="424"/>
                  </a:lnTo>
                  <a:lnTo>
                    <a:pt x="966" y="428"/>
                  </a:lnTo>
                  <a:lnTo>
                    <a:pt x="966" y="432"/>
                  </a:lnTo>
                  <a:lnTo>
                    <a:pt x="966" y="432"/>
                  </a:lnTo>
                  <a:lnTo>
                    <a:pt x="964" y="434"/>
                  </a:lnTo>
                  <a:lnTo>
                    <a:pt x="964" y="434"/>
                  </a:lnTo>
                  <a:lnTo>
                    <a:pt x="964" y="436"/>
                  </a:lnTo>
                  <a:lnTo>
                    <a:pt x="964" y="438"/>
                  </a:lnTo>
                  <a:lnTo>
                    <a:pt x="964" y="438"/>
                  </a:lnTo>
                  <a:lnTo>
                    <a:pt x="970" y="442"/>
                  </a:lnTo>
                  <a:lnTo>
                    <a:pt x="970" y="442"/>
                  </a:lnTo>
                  <a:lnTo>
                    <a:pt x="972" y="442"/>
                  </a:lnTo>
                  <a:lnTo>
                    <a:pt x="974" y="442"/>
                  </a:lnTo>
                  <a:lnTo>
                    <a:pt x="974" y="444"/>
                  </a:lnTo>
                  <a:lnTo>
                    <a:pt x="974" y="444"/>
                  </a:lnTo>
                  <a:lnTo>
                    <a:pt x="984" y="444"/>
                  </a:lnTo>
                  <a:lnTo>
                    <a:pt x="984" y="444"/>
                  </a:lnTo>
                  <a:lnTo>
                    <a:pt x="986" y="454"/>
                  </a:lnTo>
                  <a:lnTo>
                    <a:pt x="986" y="454"/>
                  </a:lnTo>
                  <a:lnTo>
                    <a:pt x="990" y="452"/>
                  </a:lnTo>
                  <a:lnTo>
                    <a:pt x="990" y="450"/>
                  </a:lnTo>
                  <a:lnTo>
                    <a:pt x="990" y="450"/>
                  </a:lnTo>
                  <a:lnTo>
                    <a:pt x="992" y="450"/>
                  </a:lnTo>
                  <a:lnTo>
                    <a:pt x="992" y="450"/>
                  </a:lnTo>
                  <a:lnTo>
                    <a:pt x="992" y="454"/>
                  </a:lnTo>
                  <a:lnTo>
                    <a:pt x="994" y="454"/>
                  </a:lnTo>
                  <a:lnTo>
                    <a:pt x="994" y="454"/>
                  </a:lnTo>
                  <a:lnTo>
                    <a:pt x="998" y="460"/>
                  </a:lnTo>
                  <a:lnTo>
                    <a:pt x="998" y="460"/>
                  </a:lnTo>
                  <a:lnTo>
                    <a:pt x="1000" y="458"/>
                  </a:lnTo>
                  <a:lnTo>
                    <a:pt x="1000" y="458"/>
                  </a:lnTo>
                  <a:lnTo>
                    <a:pt x="1004" y="458"/>
                  </a:lnTo>
                  <a:lnTo>
                    <a:pt x="1004" y="458"/>
                  </a:lnTo>
                  <a:lnTo>
                    <a:pt x="1006" y="456"/>
                  </a:lnTo>
                  <a:lnTo>
                    <a:pt x="1008" y="454"/>
                  </a:lnTo>
                  <a:lnTo>
                    <a:pt x="1010" y="448"/>
                  </a:lnTo>
                  <a:lnTo>
                    <a:pt x="1010" y="448"/>
                  </a:lnTo>
                  <a:lnTo>
                    <a:pt x="1012" y="448"/>
                  </a:lnTo>
                  <a:lnTo>
                    <a:pt x="1014" y="450"/>
                  </a:lnTo>
                  <a:lnTo>
                    <a:pt x="1014" y="450"/>
                  </a:lnTo>
                  <a:lnTo>
                    <a:pt x="1014" y="444"/>
                  </a:lnTo>
                  <a:lnTo>
                    <a:pt x="1014" y="444"/>
                  </a:lnTo>
                  <a:lnTo>
                    <a:pt x="1018" y="440"/>
                  </a:lnTo>
                  <a:lnTo>
                    <a:pt x="1022" y="436"/>
                  </a:lnTo>
                  <a:lnTo>
                    <a:pt x="1024" y="434"/>
                  </a:lnTo>
                  <a:lnTo>
                    <a:pt x="1024" y="434"/>
                  </a:lnTo>
                  <a:lnTo>
                    <a:pt x="1022" y="432"/>
                  </a:lnTo>
                  <a:lnTo>
                    <a:pt x="1022" y="430"/>
                  </a:lnTo>
                  <a:lnTo>
                    <a:pt x="1022" y="428"/>
                  </a:lnTo>
                  <a:lnTo>
                    <a:pt x="1022" y="428"/>
                  </a:lnTo>
                  <a:lnTo>
                    <a:pt x="1026" y="426"/>
                  </a:lnTo>
                  <a:lnTo>
                    <a:pt x="1026" y="426"/>
                  </a:lnTo>
                  <a:lnTo>
                    <a:pt x="1026" y="424"/>
                  </a:lnTo>
                  <a:lnTo>
                    <a:pt x="1026" y="420"/>
                  </a:lnTo>
                  <a:lnTo>
                    <a:pt x="1026" y="420"/>
                  </a:lnTo>
                  <a:lnTo>
                    <a:pt x="1026" y="420"/>
                  </a:lnTo>
                  <a:lnTo>
                    <a:pt x="1028" y="420"/>
                  </a:lnTo>
                  <a:lnTo>
                    <a:pt x="1028" y="420"/>
                  </a:lnTo>
                  <a:lnTo>
                    <a:pt x="1030" y="412"/>
                  </a:lnTo>
                  <a:lnTo>
                    <a:pt x="1030" y="412"/>
                  </a:lnTo>
                  <a:lnTo>
                    <a:pt x="1036" y="412"/>
                  </a:lnTo>
                  <a:lnTo>
                    <a:pt x="1036" y="412"/>
                  </a:lnTo>
                  <a:lnTo>
                    <a:pt x="1036" y="422"/>
                  </a:lnTo>
                  <a:lnTo>
                    <a:pt x="1036" y="422"/>
                  </a:lnTo>
                  <a:lnTo>
                    <a:pt x="1038" y="422"/>
                  </a:lnTo>
                  <a:lnTo>
                    <a:pt x="1038" y="422"/>
                  </a:lnTo>
                  <a:lnTo>
                    <a:pt x="1038" y="426"/>
                  </a:lnTo>
                  <a:lnTo>
                    <a:pt x="1036" y="428"/>
                  </a:lnTo>
                  <a:lnTo>
                    <a:pt x="1036" y="428"/>
                  </a:lnTo>
                  <a:lnTo>
                    <a:pt x="1038" y="434"/>
                  </a:lnTo>
                  <a:lnTo>
                    <a:pt x="1038" y="440"/>
                  </a:lnTo>
                  <a:lnTo>
                    <a:pt x="1040" y="440"/>
                  </a:lnTo>
                  <a:lnTo>
                    <a:pt x="1040" y="440"/>
                  </a:lnTo>
                  <a:lnTo>
                    <a:pt x="1040" y="444"/>
                  </a:lnTo>
                  <a:lnTo>
                    <a:pt x="1040" y="444"/>
                  </a:lnTo>
                  <a:lnTo>
                    <a:pt x="1044" y="442"/>
                  </a:lnTo>
                  <a:lnTo>
                    <a:pt x="1044" y="442"/>
                  </a:lnTo>
                  <a:lnTo>
                    <a:pt x="1046" y="442"/>
                  </a:lnTo>
                  <a:lnTo>
                    <a:pt x="1048" y="442"/>
                  </a:lnTo>
                  <a:lnTo>
                    <a:pt x="1048" y="442"/>
                  </a:lnTo>
                  <a:lnTo>
                    <a:pt x="1048" y="446"/>
                  </a:lnTo>
                  <a:lnTo>
                    <a:pt x="1048" y="446"/>
                  </a:lnTo>
                  <a:lnTo>
                    <a:pt x="1052" y="446"/>
                  </a:lnTo>
                  <a:lnTo>
                    <a:pt x="1052" y="448"/>
                  </a:lnTo>
                  <a:lnTo>
                    <a:pt x="1052" y="448"/>
                  </a:lnTo>
                  <a:lnTo>
                    <a:pt x="1050" y="448"/>
                  </a:lnTo>
                  <a:lnTo>
                    <a:pt x="1048" y="450"/>
                  </a:lnTo>
                  <a:lnTo>
                    <a:pt x="1048" y="450"/>
                  </a:lnTo>
                  <a:lnTo>
                    <a:pt x="1054" y="452"/>
                  </a:lnTo>
                  <a:lnTo>
                    <a:pt x="1054" y="454"/>
                  </a:lnTo>
                  <a:lnTo>
                    <a:pt x="1052" y="456"/>
                  </a:lnTo>
                  <a:lnTo>
                    <a:pt x="1052" y="456"/>
                  </a:lnTo>
                  <a:lnTo>
                    <a:pt x="1046" y="458"/>
                  </a:lnTo>
                  <a:lnTo>
                    <a:pt x="1046" y="458"/>
                  </a:lnTo>
                  <a:lnTo>
                    <a:pt x="1046" y="460"/>
                  </a:lnTo>
                  <a:lnTo>
                    <a:pt x="1046" y="460"/>
                  </a:lnTo>
                  <a:lnTo>
                    <a:pt x="1058" y="460"/>
                  </a:lnTo>
                  <a:lnTo>
                    <a:pt x="1058" y="460"/>
                  </a:lnTo>
                  <a:lnTo>
                    <a:pt x="1060" y="462"/>
                  </a:lnTo>
                  <a:lnTo>
                    <a:pt x="1060" y="462"/>
                  </a:lnTo>
                  <a:lnTo>
                    <a:pt x="1056" y="468"/>
                  </a:lnTo>
                  <a:lnTo>
                    <a:pt x="1056" y="468"/>
                  </a:lnTo>
                  <a:lnTo>
                    <a:pt x="1058" y="468"/>
                  </a:lnTo>
                  <a:lnTo>
                    <a:pt x="1058" y="468"/>
                  </a:lnTo>
                  <a:lnTo>
                    <a:pt x="1060" y="470"/>
                  </a:lnTo>
                  <a:lnTo>
                    <a:pt x="1058" y="472"/>
                  </a:lnTo>
                  <a:lnTo>
                    <a:pt x="1058" y="472"/>
                  </a:lnTo>
                  <a:lnTo>
                    <a:pt x="1062" y="472"/>
                  </a:lnTo>
                  <a:lnTo>
                    <a:pt x="1062" y="472"/>
                  </a:lnTo>
                  <a:lnTo>
                    <a:pt x="1064" y="476"/>
                  </a:lnTo>
                  <a:lnTo>
                    <a:pt x="1064" y="476"/>
                  </a:lnTo>
                  <a:lnTo>
                    <a:pt x="1068" y="476"/>
                  </a:lnTo>
                  <a:lnTo>
                    <a:pt x="1068" y="476"/>
                  </a:lnTo>
                  <a:lnTo>
                    <a:pt x="1066" y="482"/>
                  </a:lnTo>
                  <a:lnTo>
                    <a:pt x="1062" y="486"/>
                  </a:lnTo>
                  <a:lnTo>
                    <a:pt x="1062" y="486"/>
                  </a:lnTo>
                  <a:lnTo>
                    <a:pt x="1068" y="486"/>
                  </a:lnTo>
                  <a:lnTo>
                    <a:pt x="1068" y="486"/>
                  </a:lnTo>
                  <a:lnTo>
                    <a:pt x="1068" y="488"/>
                  </a:lnTo>
                  <a:lnTo>
                    <a:pt x="1070" y="490"/>
                  </a:lnTo>
                  <a:lnTo>
                    <a:pt x="1070" y="490"/>
                  </a:lnTo>
                  <a:lnTo>
                    <a:pt x="1074" y="490"/>
                  </a:lnTo>
                  <a:lnTo>
                    <a:pt x="1074" y="490"/>
                  </a:lnTo>
                  <a:lnTo>
                    <a:pt x="1076" y="494"/>
                  </a:lnTo>
                  <a:lnTo>
                    <a:pt x="1076" y="496"/>
                  </a:lnTo>
                  <a:lnTo>
                    <a:pt x="1076" y="496"/>
                  </a:lnTo>
                  <a:lnTo>
                    <a:pt x="1076" y="496"/>
                  </a:lnTo>
                  <a:lnTo>
                    <a:pt x="1076" y="498"/>
                  </a:lnTo>
                  <a:lnTo>
                    <a:pt x="1076" y="498"/>
                  </a:lnTo>
                  <a:lnTo>
                    <a:pt x="1074" y="498"/>
                  </a:lnTo>
                  <a:lnTo>
                    <a:pt x="1074" y="496"/>
                  </a:lnTo>
                  <a:lnTo>
                    <a:pt x="1074" y="496"/>
                  </a:lnTo>
                  <a:lnTo>
                    <a:pt x="1072" y="498"/>
                  </a:lnTo>
                  <a:lnTo>
                    <a:pt x="1072" y="498"/>
                  </a:lnTo>
                  <a:lnTo>
                    <a:pt x="1072" y="498"/>
                  </a:lnTo>
                  <a:lnTo>
                    <a:pt x="1066" y="498"/>
                  </a:lnTo>
                  <a:lnTo>
                    <a:pt x="1062" y="498"/>
                  </a:lnTo>
                  <a:lnTo>
                    <a:pt x="1062" y="500"/>
                  </a:lnTo>
                  <a:lnTo>
                    <a:pt x="1062" y="500"/>
                  </a:lnTo>
                  <a:lnTo>
                    <a:pt x="1066" y="502"/>
                  </a:lnTo>
                  <a:lnTo>
                    <a:pt x="1066" y="502"/>
                  </a:lnTo>
                  <a:lnTo>
                    <a:pt x="1064" y="508"/>
                  </a:lnTo>
                  <a:lnTo>
                    <a:pt x="1064" y="508"/>
                  </a:lnTo>
                  <a:lnTo>
                    <a:pt x="1068" y="506"/>
                  </a:lnTo>
                  <a:lnTo>
                    <a:pt x="1070" y="506"/>
                  </a:lnTo>
                  <a:lnTo>
                    <a:pt x="1070" y="510"/>
                  </a:lnTo>
                  <a:lnTo>
                    <a:pt x="1070" y="510"/>
                  </a:lnTo>
                  <a:lnTo>
                    <a:pt x="1068" y="510"/>
                  </a:lnTo>
                  <a:lnTo>
                    <a:pt x="1068" y="510"/>
                  </a:lnTo>
                  <a:lnTo>
                    <a:pt x="1068" y="510"/>
                  </a:lnTo>
                  <a:lnTo>
                    <a:pt x="1072" y="510"/>
                  </a:lnTo>
                  <a:lnTo>
                    <a:pt x="1072" y="510"/>
                  </a:lnTo>
                  <a:lnTo>
                    <a:pt x="1072" y="518"/>
                  </a:lnTo>
                  <a:lnTo>
                    <a:pt x="1072" y="518"/>
                  </a:lnTo>
                  <a:lnTo>
                    <a:pt x="1078" y="518"/>
                  </a:lnTo>
                  <a:lnTo>
                    <a:pt x="1082" y="518"/>
                  </a:lnTo>
                  <a:lnTo>
                    <a:pt x="1082" y="518"/>
                  </a:lnTo>
                  <a:lnTo>
                    <a:pt x="1086" y="522"/>
                  </a:lnTo>
                  <a:lnTo>
                    <a:pt x="1086" y="522"/>
                  </a:lnTo>
                  <a:lnTo>
                    <a:pt x="1088" y="522"/>
                  </a:lnTo>
                  <a:lnTo>
                    <a:pt x="1088" y="522"/>
                  </a:lnTo>
                  <a:lnTo>
                    <a:pt x="1088" y="528"/>
                  </a:lnTo>
                  <a:lnTo>
                    <a:pt x="1088" y="528"/>
                  </a:lnTo>
                  <a:lnTo>
                    <a:pt x="1088" y="530"/>
                  </a:lnTo>
                  <a:lnTo>
                    <a:pt x="1088" y="534"/>
                  </a:lnTo>
                  <a:lnTo>
                    <a:pt x="1088" y="534"/>
                  </a:lnTo>
                  <a:lnTo>
                    <a:pt x="1100" y="534"/>
                  </a:lnTo>
                  <a:lnTo>
                    <a:pt x="1100" y="534"/>
                  </a:lnTo>
                  <a:lnTo>
                    <a:pt x="1100" y="538"/>
                  </a:lnTo>
                  <a:lnTo>
                    <a:pt x="1100" y="538"/>
                  </a:lnTo>
                  <a:lnTo>
                    <a:pt x="1104" y="534"/>
                  </a:lnTo>
                  <a:lnTo>
                    <a:pt x="1104" y="534"/>
                  </a:lnTo>
                  <a:lnTo>
                    <a:pt x="1104" y="536"/>
                  </a:lnTo>
                  <a:lnTo>
                    <a:pt x="1106" y="536"/>
                  </a:lnTo>
                  <a:lnTo>
                    <a:pt x="1106" y="536"/>
                  </a:lnTo>
                  <a:lnTo>
                    <a:pt x="1106" y="534"/>
                  </a:lnTo>
                  <a:lnTo>
                    <a:pt x="1108" y="534"/>
                  </a:lnTo>
                  <a:lnTo>
                    <a:pt x="1108" y="534"/>
                  </a:lnTo>
                  <a:lnTo>
                    <a:pt x="1108" y="540"/>
                  </a:lnTo>
                  <a:lnTo>
                    <a:pt x="1110" y="540"/>
                  </a:lnTo>
                  <a:lnTo>
                    <a:pt x="1110" y="540"/>
                  </a:lnTo>
                  <a:lnTo>
                    <a:pt x="1114" y="544"/>
                  </a:lnTo>
                  <a:lnTo>
                    <a:pt x="1118" y="546"/>
                  </a:lnTo>
                  <a:lnTo>
                    <a:pt x="1118" y="546"/>
                  </a:lnTo>
                  <a:lnTo>
                    <a:pt x="1120" y="542"/>
                  </a:lnTo>
                  <a:lnTo>
                    <a:pt x="1120" y="542"/>
                  </a:lnTo>
                  <a:lnTo>
                    <a:pt x="1122" y="540"/>
                  </a:lnTo>
                  <a:lnTo>
                    <a:pt x="1122" y="540"/>
                  </a:lnTo>
                  <a:lnTo>
                    <a:pt x="1124" y="546"/>
                  </a:lnTo>
                  <a:lnTo>
                    <a:pt x="1124" y="546"/>
                  </a:lnTo>
                  <a:lnTo>
                    <a:pt x="1126" y="548"/>
                  </a:lnTo>
                  <a:lnTo>
                    <a:pt x="1126" y="548"/>
                  </a:lnTo>
                  <a:lnTo>
                    <a:pt x="1130" y="546"/>
                  </a:lnTo>
                  <a:lnTo>
                    <a:pt x="1130" y="546"/>
                  </a:lnTo>
                  <a:lnTo>
                    <a:pt x="1126" y="550"/>
                  </a:lnTo>
                  <a:lnTo>
                    <a:pt x="1124" y="554"/>
                  </a:lnTo>
                  <a:lnTo>
                    <a:pt x="1124" y="554"/>
                  </a:lnTo>
                  <a:lnTo>
                    <a:pt x="1120" y="554"/>
                  </a:lnTo>
                  <a:lnTo>
                    <a:pt x="1118" y="556"/>
                  </a:lnTo>
                  <a:lnTo>
                    <a:pt x="1118" y="556"/>
                  </a:lnTo>
                  <a:lnTo>
                    <a:pt x="1114" y="556"/>
                  </a:lnTo>
                  <a:lnTo>
                    <a:pt x="1112" y="556"/>
                  </a:lnTo>
                  <a:lnTo>
                    <a:pt x="1112" y="556"/>
                  </a:lnTo>
                  <a:lnTo>
                    <a:pt x="1110" y="560"/>
                  </a:lnTo>
                  <a:lnTo>
                    <a:pt x="1110" y="560"/>
                  </a:lnTo>
                  <a:lnTo>
                    <a:pt x="1106" y="560"/>
                  </a:lnTo>
                  <a:lnTo>
                    <a:pt x="1106" y="560"/>
                  </a:lnTo>
                  <a:lnTo>
                    <a:pt x="1098" y="566"/>
                  </a:lnTo>
                  <a:lnTo>
                    <a:pt x="1098" y="566"/>
                  </a:lnTo>
                  <a:lnTo>
                    <a:pt x="1088" y="566"/>
                  </a:lnTo>
                  <a:lnTo>
                    <a:pt x="1088" y="566"/>
                  </a:lnTo>
                  <a:lnTo>
                    <a:pt x="1090" y="576"/>
                  </a:lnTo>
                  <a:lnTo>
                    <a:pt x="1090" y="576"/>
                  </a:lnTo>
                  <a:lnTo>
                    <a:pt x="1094" y="576"/>
                  </a:lnTo>
                  <a:lnTo>
                    <a:pt x="1094" y="576"/>
                  </a:lnTo>
                  <a:lnTo>
                    <a:pt x="1094" y="572"/>
                  </a:lnTo>
                  <a:lnTo>
                    <a:pt x="1096" y="570"/>
                  </a:lnTo>
                  <a:lnTo>
                    <a:pt x="1096" y="570"/>
                  </a:lnTo>
                  <a:lnTo>
                    <a:pt x="1098" y="570"/>
                  </a:lnTo>
                  <a:lnTo>
                    <a:pt x="1102" y="568"/>
                  </a:lnTo>
                  <a:lnTo>
                    <a:pt x="1102" y="568"/>
                  </a:lnTo>
                  <a:lnTo>
                    <a:pt x="1108" y="564"/>
                  </a:lnTo>
                  <a:lnTo>
                    <a:pt x="1114" y="560"/>
                  </a:lnTo>
                  <a:lnTo>
                    <a:pt x="1114" y="560"/>
                  </a:lnTo>
                  <a:lnTo>
                    <a:pt x="1118" y="560"/>
                  </a:lnTo>
                  <a:lnTo>
                    <a:pt x="1122" y="560"/>
                  </a:lnTo>
                  <a:lnTo>
                    <a:pt x="1122" y="556"/>
                  </a:lnTo>
                  <a:lnTo>
                    <a:pt x="1122" y="556"/>
                  </a:lnTo>
                  <a:lnTo>
                    <a:pt x="1126" y="556"/>
                  </a:lnTo>
                  <a:lnTo>
                    <a:pt x="1132" y="556"/>
                  </a:lnTo>
                  <a:lnTo>
                    <a:pt x="1132" y="556"/>
                  </a:lnTo>
                  <a:lnTo>
                    <a:pt x="1134" y="560"/>
                  </a:lnTo>
                  <a:lnTo>
                    <a:pt x="1134" y="560"/>
                  </a:lnTo>
                  <a:lnTo>
                    <a:pt x="1142" y="564"/>
                  </a:lnTo>
                  <a:lnTo>
                    <a:pt x="1142" y="564"/>
                  </a:lnTo>
                  <a:lnTo>
                    <a:pt x="1142" y="568"/>
                  </a:lnTo>
                  <a:lnTo>
                    <a:pt x="1144" y="568"/>
                  </a:lnTo>
                  <a:lnTo>
                    <a:pt x="1144" y="568"/>
                  </a:lnTo>
                  <a:lnTo>
                    <a:pt x="1144" y="566"/>
                  </a:lnTo>
                  <a:lnTo>
                    <a:pt x="1144" y="566"/>
                  </a:lnTo>
                  <a:lnTo>
                    <a:pt x="1148" y="564"/>
                  </a:lnTo>
                  <a:lnTo>
                    <a:pt x="1148" y="564"/>
                  </a:lnTo>
                  <a:lnTo>
                    <a:pt x="1148" y="566"/>
                  </a:lnTo>
                  <a:lnTo>
                    <a:pt x="1150" y="566"/>
                  </a:lnTo>
                  <a:lnTo>
                    <a:pt x="1150" y="566"/>
                  </a:lnTo>
                  <a:lnTo>
                    <a:pt x="1150" y="572"/>
                  </a:lnTo>
                  <a:lnTo>
                    <a:pt x="1150" y="574"/>
                  </a:lnTo>
                  <a:lnTo>
                    <a:pt x="1148" y="576"/>
                  </a:lnTo>
                  <a:lnTo>
                    <a:pt x="1148" y="578"/>
                  </a:lnTo>
                  <a:lnTo>
                    <a:pt x="1148" y="578"/>
                  </a:lnTo>
                  <a:lnTo>
                    <a:pt x="1150" y="578"/>
                  </a:lnTo>
                  <a:lnTo>
                    <a:pt x="1148" y="578"/>
                  </a:lnTo>
                  <a:lnTo>
                    <a:pt x="1148" y="578"/>
                  </a:lnTo>
                  <a:lnTo>
                    <a:pt x="1150" y="582"/>
                  </a:lnTo>
                  <a:lnTo>
                    <a:pt x="1148" y="588"/>
                  </a:lnTo>
                  <a:lnTo>
                    <a:pt x="1146" y="588"/>
                  </a:lnTo>
                  <a:lnTo>
                    <a:pt x="1146" y="590"/>
                  </a:lnTo>
                  <a:lnTo>
                    <a:pt x="1146" y="590"/>
                  </a:lnTo>
                  <a:lnTo>
                    <a:pt x="1144" y="590"/>
                  </a:lnTo>
                  <a:lnTo>
                    <a:pt x="1144" y="590"/>
                  </a:lnTo>
                  <a:lnTo>
                    <a:pt x="1142" y="594"/>
                  </a:lnTo>
                  <a:lnTo>
                    <a:pt x="1142" y="594"/>
                  </a:lnTo>
                  <a:lnTo>
                    <a:pt x="1138" y="594"/>
                  </a:lnTo>
                  <a:lnTo>
                    <a:pt x="1134" y="598"/>
                  </a:lnTo>
                  <a:lnTo>
                    <a:pt x="1134" y="598"/>
                  </a:lnTo>
                  <a:lnTo>
                    <a:pt x="1132" y="598"/>
                  </a:lnTo>
                  <a:lnTo>
                    <a:pt x="1130" y="598"/>
                  </a:lnTo>
                  <a:lnTo>
                    <a:pt x="1130" y="598"/>
                  </a:lnTo>
                  <a:lnTo>
                    <a:pt x="1126" y="598"/>
                  </a:lnTo>
                  <a:lnTo>
                    <a:pt x="1124" y="600"/>
                  </a:lnTo>
                  <a:lnTo>
                    <a:pt x="1122" y="602"/>
                  </a:lnTo>
                  <a:lnTo>
                    <a:pt x="1118" y="600"/>
                  </a:lnTo>
                  <a:lnTo>
                    <a:pt x="1118" y="600"/>
                  </a:lnTo>
                  <a:lnTo>
                    <a:pt x="1118" y="600"/>
                  </a:lnTo>
                  <a:lnTo>
                    <a:pt x="1116" y="600"/>
                  </a:lnTo>
                  <a:lnTo>
                    <a:pt x="1116" y="600"/>
                  </a:lnTo>
                  <a:lnTo>
                    <a:pt x="1116" y="602"/>
                  </a:lnTo>
                  <a:lnTo>
                    <a:pt x="1116" y="602"/>
                  </a:lnTo>
                  <a:lnTo>
                    <a:pt x="1112" y="604"/>
                  </a:lnTo>
                  <a:lnTo>
                    <a:pt x="1112" y="604"/>
                  </a:lnTo>
                  <a:lnTo>
                    <a:pt x="1112" y="608"/>
                  </a:lnTo>
                  <a:lnTo>
                    <a:pt x="1112" y="608"/>
                  </a:lnTo>
                  <a:lnTo>
                    <a:pt x="1108" y="612"/>
                  </a:lnTo>
                  <a:lnTo>
                    <a:pt x="1108" y="612"/>
                  </a:lnTo>
                  <a:lnTo>
                    <a:pt x="1108" y="614"/>
                  </a:lnTo>
                  <a:lnTo>
                    <a:pt x="1108" y="616"/>
                  </a:lnTo>
                  <a:lnTo>
                    <a:pt x="1108" y="616"/>
                  </a:lnTo>
                  <a:lnTo>
                    <a:pt x="1106" y="618"/>
                  </a:lnTo>
                  <a:lnTo>
                    <a:pt x="1104" y="620"/>
                  </a:lnTo>
                  <a:lnTo>
                    <a:pt x="1100" y="620"/>
                  </a:lnTo>
                  <a:lnTo>
                    <a:pt x="1100" y="620"/>
                  </a:lnTo>
                  <a:lnTo>
                    <a:pt x="1100" y="624"/>
                  </a:lnTo>
                  <a:lnTo>
                    <a:pt x="1100" y="624"/>
                  </a:lnTo>
                  <a:lnTo>
                    <a:pt x="1098" y="626"/>
                  </a:lnTo>
                  <a:lnTo>
                    <a:pt x="1098" y="626"/>
                  </a:lnTo>
                  <a:lnTo>
                    <a:pt x="1090" y="626"/>
                  </a:lnTo>
                  <a:lnTo>
                    <a:pt x="1090" y="626"/>
                  </a:lnTo>
                  <a:lnTo>
                    <a:pt x="1088" y="630"/>
                  </a:lnTo>
                  <a:lnTo>
                    <a:pt x="1088" y="630"/>
                  </a:lnTo>
                  <a:lnTo>
                    <a:pt x="1086" y="630"/>
                  </a:lnTo>
                  <a:lnTo>
                    <a:pt x="1084" y="630"/>
                  </a:lnTo>
                  <a:lnTo>
                    <a:pt x="1082" y="628"/>
                  </a:lnTo>
                  <a:lnTo>
                    <a:pt x="1082" y="628"/>
                  </a:lnTo>
                  <a:lnTo>
                    <a:pt x="1078" y="628"/>
                  </a:lnTo>
                  <a:lnTo>
                    <a:pt x="1078" y="628"/>
                  </a:lnTo>
                  <a:lnTo>
                    <a:pt x="1078" y="630"/>
                  </a:lnTo>
                  <a:lnTo>
                    <a:pt x="1078" y="630"/>
                  </a:lnTo>
                  <a:lnTo>
                    <a:pt x="1078" y="632"/>
                  </a:lnTo>
                  <a:lnTo>
                    <a:pt x="1076" y="632"/>
                  </a:lnTo>
                  <a:lnTo>
                    <a:pt x="1076" y="630"/>
                  </a:lnTo>
                  <a:lnTo>
                    <a:pt x="1076" y="630"/>
                  </a:lnTo>
                  <a:lnTo>
                    <a:pt x="1072" y="632"/>
                  </a:lnTo>
                  <a:lnTo>
                    <a:pt x="1072" y="632"/>
                  </a:lnTo>
                  <a:lnTo>
                    <a:pt x="1070" y="626"/>
                  </a:lnTo>
                  <a:lnTo>
                    <a:pt x="1070" y="626"/>
                  </a:lnTo>
                  <a:lnTo>
                    <a:pt x="1064" y="628"/>
                  </a:lnTo>
                  <a:lnTo>
                    <a:pt x="1060" y="628"/>
                  </a:lnTo>
                  <a:lnTo>
                    <a:pt x="1058" y="628"/>
                  </a:lnTo>
                  <a:lnTo>
                    <a:pt x="1052" y="626"/>
                  </a:lnTo>
                  <a:lnTo>
                    <a:pt x="1052" y="626"/>
                  </a:lnTo>
                  <a:lnTo>
                    <a:pt x="1050" y="630"/>
                  </a:lnTo>
                  <a:lnTo>
                    <a:pt x="1050" y="630"/>
                  </a:lnTo>
                  <a:lnTo>
                    <a:pt x="1046" y="630"/>
                  </a:lnTo>
                  <a:lnTo>
                    <a:pt x="1042" y="628"/>
                  </a:lnTo>
                  <a:lnTo>
                    <a:pt x="1042" y="628"/>
                  </a:lnTo>
                  <a:lnTo>
                    <a:pt x="1040" y="630"/>
                  </a:lnTo>
                  <a:lnTo>
                    <a:pt x="1036" y="630"/>
                  </a:lnTo>
                  <a:lnTo>
                    <a:pt x="1036" y="630"/>
                  </a:lnTo>
                  <a:lnTo>
                    <a:pt x="1034" y="630"/>
                  </a:lnTo>
                  <a:lnTo>
                    <a:pt x="1032" y="628"/>
                  </a:lnTo>
                  <a:lnTo>
                    <a:pt x="1032" y="628"/>
                  </a:lnTo>
                  <a:lnTo>
                    <a:pt x="1030" y="630"/>
                  </a:lnTo>
                  <a:lnTo>
                    <a:pt x="1030" y="630"/>
                  </a:lnTo>
                  <a:lnTo>
                    <a:pt x="1020" y="630"/>
                  </a:lnTo>
                  <a:lnTo>
                    <a:pt x="1020" y="630"/>
                  </a:lnTo>
                  <a:lnTo>
                    <a:pt x="1020" y="630"/>
                  </a:lnTo>
                  <a:lnTo>
                    <a:pt x="1006" y="628"/>
                  </a:lnTo>
                  <a:lnTo>
                    <a:pt x="1006" y="630"/>
                  </a:lnTo>
                  <a:lnTo>
                    <a:pt x="1006" y="630"/>
                  </a:lnTo>
                  <a:lnTo>
                    <a:pt x="1002" y="634"/>
                  </a:lnTo>
                  <a:lnTo>
                    <a:pt x="1002" y="634"/>
                  </a:lnTo>
                  <a:lnTo>
                    <a:pt x="1000" y="632"/>
                  </a:lnTo>
                  <a:lnTo>
                    <a:pt x="1000" y="634"/>
                  </a:lnTo>
                  <a:lnTo>
                    <a:pt x="998" y="634"/>
                  </a:lnTo>
                  <a:lnTo>
                    <a:pt x="998" y="634"/>
                  </a:lnTo>
                  <a:lnTo>
                    <a:pt x="998" y="638"/>
                  </a:lnTo>
                  <a:lnTo>
                    <a:pt x="996" y="644"/>
                  </a:lnTo>
                  <a:lnTo>
                    <a:pt x="996" y="644"/>
                  </a:lnTo>
                  <a:lnTo>
                    <a:pt x="992" y="646"/>
                  </a:lnTo>
                  <a:lnTo>
                    <a:pt x="990" y="646"/>
                  </a:lnTo>
                  <a:lnTo>
                    <a:pt x="990" y="646"/>
                  </a:lnTo>
                  <a:lnTo>
                    <a:pt x="988" y="648"/>
                  </a:lnTo>
                  <a:lnTo>
                    <a:pt x="988" y="650"/>
                  </a:lnTo>
                  <a:lnTo>
                    <a:pt x="988" y="650"/>
                  </a:lnTo>
                  <a:lnTo>
                    <a:pt x="986" y="652"/>
                  </a:lnTo>
                  <a:lnTo>
                    <a:pt x="984" y="652"/>
                  </a:lnTo>
                  <a:lnTo>
                    <a:pt x="984" y="652"/>
                  </a:lnTo>
                  <a:lnTo>
                    <a:pt x="984" y="652"/>
                  </a:lnTo>
                  <a:lnTo>
                    <a:pt x="982" y="654"/>
                  </a:lnTo>
                  <a:lnTo>
                    <a:pt x="982" y="656"/>
                  </a:lnTo>
                  <a:lnTo>
                    <a:pt x="982" y="656"/>
                  </a:lnTo>
                  <a:lnTo>
                    <a:pt x="980" y="658"/>
                  </a:lnTo>
                  <a:lnTo>
                    <a:pt x="976" y="658"/>
                  </a:lnTo>
                  <a:lnTo>
                    <a:pt x="976" y="658"/>
                  </a:lnTo>
                  <a:lnTo>
                    <a:pt x="974" y="660"/>
                  </a:lnTo>
                  <a:lnTo>
                    <a:pt x="974" y="660"/>
                  </a:lnTo>
                  <a:lnTo>
                    <a:pt x="972" y="662"/>
                  </a:lnTo>
                  <a:lnTo>
                    <a:pt x="972" y="662"/>
                  </a:lnTo>
                  <a:lnTo>
                    <a:pt x="968" y="666"/>
                  </a:lnTo>
                  <a:lnTo>
                    <a:pt x="968" y="668"/>
                  </a:lnTo>
                  <a:lnTo>
                    <a:pt x="966" y="670"/>
                  </a:lnTo>
                  <a:lnTo>
                    <a:pt x="966" y="670"/>
                  </a:lnTo>
                  <a:lnTo>
                    <a:pt x="960" y="670"/>
                  </a:lnTo>
                  <a:lnTo>
                    <a:pt x="960" y="670"/>
                  </a:lnTo>
                  <a:lnTo>
                    <a:pt x="964" y="672"/>
                  </a:lnTo>
                  <a:lnTo>
                    <a:pt x="964" y="672"/>
                  </a:lnTo>
                  <a:lnTo>
                    <a:pt x="960" y="684"/>
                  </a:lnTo>
                  <a:lnTo>
                    <a:pt x="954" y="694"/>
                  </a:lnTo>
                  <a:lnTo>
                    <a:pt x="954" y="694"/>
                  </a:lnTo>
                  <a:lnTo>
                    <a:pt x="956" y="694"/>
                  </a:lnTo>
                  <a:lnTo>
                    <a:pt x="956" y="692"/>
                  </a:lnTo>
                  <a:lnTo>
                    <a:pt x="958" y="692"/>
                  </a:lnTo>
                  <a:lnTo>
                    <a:pt x="958" y="692"/>
                  </a:lnTo>
                  <a:lnTo>
                    <a:pt x="964" y="684"/>
                  </a:lnTo>
                  <a:lnTo>
                    <a:pt x="964" y="684"/>
                  </a:lnTo>
                  <a:lnTo>
                    <a:pt x="964" y="680"/>
                  </a:lnTo>
                  <a:lnTo>
                    <a:pt x="966" y="678"/>
                  </a:lnTo>
                  <a:lnTo>
                    <a:pt x="966" y="678"/>
                  </a:lnTo>
                  <a:lnTo>
                    <a:pt x="970" y="676"/>
                  </a:lnTo>
                  <a:lnTo>
                    <a:pt x="974" y="676"/>
                  </a:lnTo>
                  <a:lnTo>
                    <a:pt x="974" y="676"/>
                  </a:lnTo>
                  <a:lnTo>
                    <a:pt x="974" y="672"/>
                  </a:lnTo>
                  <a:lnTo>
                    <a:pt x="974" y="670"/>
                  </a:lnTo>
                  <a:lnTo>
                    <a:pt x="974" y="670"/>
                  </a:lnTo>
                  <a:lnTo>
                    <a:pt x="978" y="668"/>
                  </a:lnTo>
                  <a:lnTo>
                    <a:pt x="984" y="666"/>
                  </a:lnTo>
                  <a:lnTo>
                    <a:pt x="984" y="666"/>
                  </a:lnTo>
                  <a:lnTo>
                    <a:pt x="988" y="660"/>
                  </a:lnTo>
                  <a:lnTo>
                    <a:pt x="988" y="660"/>
                  </a:lnTo>
                  <a:lnTo>
                    <a:pt x="990" y="660"/>
                  </a:lnTo>
                  <a:lnTo>
                    <a:pt x="990" y="660"/>
                  </a:lnTo>
                  <a:lnTo>
                    <a:pt x="992" y="656"/>
                  </a:lnTo>
                  <a:lnTo>
                    <a:pt x="992" y="656"/>
                  </a:lnTo>
                  <a:lnTo>
                    <a:pt x="998" y="656"/>
                  </a:lnTo>
                  <a:lnTo>
                    <a:pt x="998" y="656"/>
                  </a:lnTo>
                  <a:lnTo>
                    <a:pt x="1000" y="652"/>
                  </a:lnTo>
                  <a:lnTo>
                    <a:pt x="1000" y="652"/>
                  </a:lnTo>
                  <a:lnTo>
                    <a:pt x="1006" y="650"/>
                  </a:lnTo>
                  <a:lnTo>
                    <a:pt x="1014" y="648"/>
                  </a:lnTo>
                  <a:lnTo>
                    <a:pt x="1018" y="646"/>
                  </a:lnTo>
                  <a:lnTo>
                    <a:pt x="1018" y="646"/>
                  </a:lnTo>
                  <a:lnTo>
                    <a:pt x="1020" y="646"/>
                  </a:lnTo>
                  <a:lnTo>
                    <a:pt x="1020" y="648"/>
                  </a:lnTo>
                  <a:lnTo>
                    <a:pt x="1020" y="648"/>
                  </a:lnTo>
                  <a:lnTo>
                    <a:pt x="1026" y="648"/>
                  </a:lnTo>
                  <a:lnTo>
                    <a:pt x="1032" y="648"/>
                  </a:lnTo>
                  <a:lnTo>
                    <a:pt x="1032" y="648"/>
                  </a:lnTo>
                  <a:lnTo>
                    <a:pt x="1034" y="648"/>
                  </a:lnTo>
                  <a:lnTo>
                    <a:pt x="1034" y="650"/>
                  </a:lnTo>
                  <a:lnTo>
                    <a:pt x="1036" y="652"/>
                  </a:lnTo>
                  <a:lnTo>
                    <a:pt x="1036" y="652"/>
                  </a:lnTo>
                  <a:lnTo>
                    <a:pt x="1038" y="654"/>
                  </a:lnTo>
                  <a:lnTo>
                    <a:pt x="1038" y="654"/>
                  </a:lnTo>
                  <a:lnTo>
                    <a:pt x="1038" y="658"/>
                  </a:lnTo>
                  <a:lnTo>
                    <a:pt x="1038" y="658"/>
                  </a:lnTo>
                  <a:lnTo>
                    <a:pt x="1034" y="656"/>
                  </a:lnTo>
                  <a:lnTo>
                    <a:pt x="1034" y="656"/>
                  </a:lnTo>
                  <a:lnTo>
                    <a:pt x="1036" y="662"/>
                  </a:lnTo>
                  <a:lnTo>
                    <a:pt x="1034" y="668"/>
                  </a:lnTo>
                  <a:lnTo>
                    <a:pt x="1034" y="668"/>
                  </a:lnTo>
                  <a:lnTo>
                    <a:pt x="1028" y="666"/>
                  </a:lnTo>
                  <a:lnTo>
                    <a:pt x="1028" y="666"/>
                  </a:lnTo>
                  <a:lnTo>
                    <a:pt x="1028" y="676"/>
                  </a:lnTo>
                  <a:lnTo>
                    <a:pt x="1028" y="676"/>
                  </a:lnTo>
                  <a:lnTo>
                    <a:pt x="1022" y="676"/>
                  </a:lnTo>
                  <a:lnTo>
                    <a:pt x="1022" y="678"/>
                  </a:lnTo>
                  <a:lnTo>
                    <a:pt x="1022" y="678"/>
                  </a:lnTo>
                  <a:lnTo>
                    <a:pt x="1018" y="678"/>
                  </a:lnTo>
                  <a:lnTo>
                    <a:pt x="1018" y="678"/>
                  </a:lnTo>
                  <a:lnTo>
                    <a:pt x="1018" y="674"/>
                  </a:lnTo>
                  <a:lnTo>
                    <a:pt x="1018" y="672"/>
                  </a:lnTo>
                  <a:lnTo>
                    <a:pt x="1018" y="672"/>
                  </a:lnTo>
                  <a:lnTo>
                    <a:pt x="1014" y="670"/>
                  </a:lnTo>
                  <a:lnTo>
                    <a:pt x="1014" y="670"/>
                  </a:lnTo>
                  <a:lnTo>
                    <a:pt x="1014" y="672"/>
                  </a:lnTo>
                  <a:lnTo>
                    <a:pt x="1012" y="674"/>
                  </a:lnTo>
                  <a:lnTo>
                    <a:pt x="1012" y="676"/>
                  </a:lnTo>
                  <a:lnTo>
                    <a:pt x="1012" y="676"/>
                  </a:lnTo>
                  <a:lnTo>
                    <a:pt x="1016" y="678"/>
                  </a:lnTo>
                  <a:lnTo>
                    <a:pt x="1016" y="680"/>
                  </a:lnTo>
                  <a:lnTo>
                    <a:pt x="1016" y="680"/>
                  </a:lnTo>
                  <a:lnTo>
                    <a:pt x="1014" y="680"/>
                  </a:lnTo>
                  <a:lnTo>
                    <a:pt x="1014" y="682"/>
                  </a:lnTo>
                  <a:lnTo>
                    <a:pt x="1016" y="684"/>
                  </a:lnTo>
                  <a:lnTo>
                    <a:pt x="1020" y="684"/>
                  </a:lnTo>
                  <a:lnTo>
                    <a:pt x="1020" y="684"/>
                  </a:lnTo>
                  <a:lnTo>
                    <a:pt x="1024" y="680"/>
                  </a:lnTo>
                  <a:lnTo>
                    <a:pt x="1024" y="680"/>
                  </a:lnTo>
                  <a:lnTo>
                    <a:pt x="1028" y="680"/>
                  </a:lnTo>
                  <a:lnTo>
                    <a:pt x="1032" y="680"/>
                  </a:lnTo>
                  <a:lnTo>
                    <a:pt x="1032" y="680"/>
                  </a:lnTo>
                  <a:lnTo>
                    <a:pt x="1032" y="682"/>
                  </a:lnTo>
                  <a:lnTo>
                    <a:pt x="1032" y="684"/>
                  </a:lnTo>
                  <a:lnTo>
                    <a:pt x="1030" y="686"/>
                  </a:lnTo>
                  <a:lnTo>
                    <a:pt x="1030" y="686"/>
                  </a:lnTo>
                  <a:lnTo>
                    <a:pt x="1030" y="690"/>
                  </a:lnTo>
                  <a:lnTo>
                    <a:pt x="1030" y="692"/>
                  </a:lnTo>
                  <a:lnTo>
                    <a:pt x="1030" y="692"/>
                  </a:lnTo>
                  <a:lnTo>
                    <a:pt x="1028" y="692"/>
                  </a:lnTo>
                  <a:lnTo>
                    <a:pt x="1026" y="696"/>
                  </a:lnTo>
                  <a:lnTo>
                    <a:pt x="1026" y="696"/>
                  </a:lnTo>
                  <a:lnTo>
                    <a:pt x="1024" y="696"/>
                  </a:lnTo>
                  <a:lnTo>
                    <a:pt x="1026" y="696"/>
                  </a:lnTo>
                  <a:lnTo>
                    <a:pt x="1028" y="698"/>
                  </a:lnTo>
                  <a:lnTo>
                    <a:pt x="1028" y="698"/>
                  </a:lnTo>
                  <a:lnTo>
                    <a:pt x="1034" y="696"/>
                  </a:lnTo>
                  <a:lnTo>
                    <a:pt x="1034" y="696"/>
                  </a:lnTo>
                  <a:lnTo>
                    <a:pt x="1034" y="700"/>
                  </a:lnTo>
                  <a:lnTo>
                    <a:pt x="1032" y="700"/>
                  </a:lnTo>
                  <a:lnTo>
                    <a:pt x="1032" y="700"/>
                  </a:lnTo>
                  <a:lnTo>
                    <a:pt x="1032" y="710"/>
                  </a:lnTo>
                  <a:lnTo>
                    <a:pt x="1032" y="710"/>
                  </a:lnTo>
                  <a:lnTo>
                    <a:pt x="1034" y="710"/>
                  </a:lnTo>
                  <a:lnTo>
                    <a:pt x="1034" y="710"/>
                  </a:lnTo>
                  <a:lnTo>
                    <a:pt x="1034" y="714"/>
                  </a:lnTo>
                  <a:lnTo>
                    <a:pt x="1034" y="714"/>
                  </a:lnTo>
                  <a:lnTo>
                    <a:pt x="1046" y="716"/>
                  </a:lnTo>
                  <a:lnTo>
                    <a:pt x="1046" y="716"/>
                  </a:lnTo>
                  <a:lnTo>
                    <a:pt x="1044" y="718"/>
                  </a:lnTo>
                  <a:lnTo>
                    <a:pt x="1044" y="718"/>
                  </a:lnTo>
                  <a:lnTo>
                    <a:pt x="1040" y="720"/>
                  </a:lnTo>
                  <a:lnTo>
                    <a:pt x="1042" y="722"/>
                  </a:lnTo>
                  <a:lnTo>
                    <a:pt x="1042" y="722"/>
                  </a:lnTo>
                  <a:lnTo>
                    <a:pt x="1044" y="722"/>
                  </a:lnTo>
                  <a:lnTo>
                    <a:pt x="1044" y="720"/>
                  </a:lnTo>
                  <a:lnTo>
                    <a:pt x="1046" y="720"/>
                  </a:lnTo>
                  <a:lnTo>
                    <a:pt x="1046" y="720"/>
                  </a:lnTo>
                  <a:lnTo>
                    <a:pt x="1052" y="724"/>
                  </a:lnTo>
                  <a:lnTo>
                    <a:pt x="1052" y="724"/>
                  </a:lnTo>
                  <a:lnTo>
                    <a:pt x="1056" y="724"/>
                  </a:lnTo>
                  <a:lnTo>
                    <a:pt x="1056" y="724"/>
                  </a:lnTo>
                  <a:lnTo>
                    <a:pt x="1056" y="728"/>
                  </a:lnTo>
                  <a:lnTo>
                    <a:pt x="1056" y="728"/>
                  </a:lnTo>
                  <a:lnTo>
                    <a:pt x="1060" y="728"/>
                  </a:lnTo>
                  <a:lnTo>
                    <a:pt x="1060" y="728"/>
                  </a:lnTo>
                  <a:lnTo>
                    <a:pt x="1064" y="724"/>
                  </a:lnTo>
                  <a:lnTo>
                    <a:pt x="1068" y="720"/>
                  </a:lnTo>
                  <a:lnTo>
                    <a:pt x="1068" y="720"/>
                  </a:lnTo>
                  <a:lnTo>
                    <a:pt x="1070" y="720"/>
                  </a:lnTo>
                  <a:lnTo>
                    <a:pt x="1070" y="720"/>
                  </a:lnTo>
                  <a:lnTo>
                    <a:pt x="1070" y="728"/>
                  </a:lnTo>
                  <a:lnTo>
                    <a:pt x="1070" y="728"/>
                  </a:lnTo>
                  <a:lnTo>
                    <a:pt x="1074" y="728"/>
                  </a:lnTo>
                  <a:lnTo>
                    <a:pt x="1074" y="728"/>
                  </a:lnTo>
                  <a:lnTo>
                    <a:pt x="1074" y="730"/>
                  </a:lnTo>
                  <a:lnTo>
                    <a:pt x="1074" y="730"/>
                  </a:lnTo>
                  <a:close/>
                  <a:moveTo>
                    <a:pt x="1206" y="678"/>
                  </a:moveTo>
                  <a:lnTo>
                    <a:pt x="1206" y="678"/>
                  </a:lnTo>
                  <a:lnTo>
                    <a:pt x="1206" y="682"/>
                  </a:lnTo>
                  <a:lnTo>
                    <a:pt x="1206" y="682"/>
                  </a:lnTo>
                  <a:lnTo>
                    <a:pt x="1202" y="682"/>
                  </a:lnTo>
                  <a:lnTo>
                    <a:pt x="1200" y="680"/>
                  </a:lnTo>
                  <a:lnTo>
                    <a:pt x="1200" y="676"/>
                  </a:lnTo>
                  <a:lnTo>
                    <a:pt x="1200" y="676"/>
                  </a:lnTo>
                  <a:lnTo>
                    <a:pt x="1206" y="670"/>
                  </a:lnTo>
                  <a:lnTo>
                    <a:pt x="1206" y="670"/>
                  </a:lnTo>
                  <a:lnTo>
                    <a:pt x="1206" y="666"/>
                  </a:lnTo>
                  <a:lnTo>
                    <a:pt x="1206" y="666"/>
                  </a:lnTo>
                  <a:lnTo>
                    <a:pt x="1202" y="668"/>
                  </a:lnTo>
                  <a:lnTo>
                    <a:pt x="1202" y="670"/>
                  </a:lnTo>
                  <a:lnTo>
                    <a:pt x="1202" y="670"/>
                  </a:lnTo>
                  <a:lnTo>
                    <a:pt x="1200" y="672"/>
                  </a:lnTo>
                  <a:lnTo>
                    <a:pt x="1200" y="672"/>
                  </a:lnTo>
                  <a:lnTo>
                    <a:pt x="1198" y="676"/>
                  </a:lnTo>
                  <a:lnTo>
                    <a:pt x="1198" y="680"/>
                  </a:lnTo>
                  <a:lnTo>
                    <a:pt x="1198" y="680"/>
                  </a:lnTo>
                  <a:lnTo>
                    <a:pt x="1192" y="680"/>
                  </a:lnTo>
                  <a:lnTo>
                    <a:pt x="1192" y="676"/>
                  </a:lnTo>
                  <a:lnTo>
                    <a:pt x="1192" y="676"/>
                  </a:lnTo>
                  <a:lnTo>
                    <a:pt x="1196" y="676"/>
                  </a:lnTo>
                  <a:lnTo>
                    <a:pt x="1196" y="676"/>
                  </a:lnTo>
                  <a:lnTo>
                    <a:pt x="1196" y="672"/>
                  </a:lnTo>
                  <a:lnTo>
                    <a:pt x="1196" y="672"/>
                  </a:lnTo>
                  <a:lnTo>
                    <a:pt x="1192" y="670"/>
                  </a:lnTo>
                  <a:lnTo>
                    <a:pt x="1192" y="670"/>
                  </a:lnTo>
                  <a:lnTo>
                    <a:pt x="1192" y="666"/>
                  </a:lnTo>
                  <a:lnTo>
                    <a:pt x="1192" y="666"/>
                  </a:lnTo>
                  <a:lnTo>
                    <a:pt x="1196" y="666"/>
                  </a:lnTo>
                  <a:lnTo>
                    <a:pt x="1196" y="666"/>
                  </a:lnTo>
                  <a:lnTo>
                    <a:pt x="1196" y="662"/>
                  </a:lnTo>
                  <a:lnTo>
                    <a:pt x="1198" y="658"/>
                  </a:lnTo>
                  <a:lnTo>
                    <a:pt x="1198" y="658"/>
                  </a:lnTo>
                  <a:lnTo>
                    <a:pt x="1194" y="660"/>
                  </a:lnTo>
                  <a:lnTo>
                    <a:pt x="1194" y="662"/>
                  </a:lnTo>
                  <a:lnTo>
                    <a:pt x="1194" y="662"/>
                  </a:lnTo>
                  <a:lnTo>
                    <a:pt x="1190" y="662"/>
                  </a:lnTo>
                  <a:lnTo>
                    <a:pt x="1190" y="662"/>
                  </a:lnTo>
                  <a:lnTo>
                    <a:pt x="1186" y="664"/>
                  </a:lnTo>
                  <a:lnTo>
                    <a:pt x="1186" y="664"/>
                  </a:lnTo>
                  <a:lnTo>
                    <a:pt x="1184" y="664"/>
                  </a:lnTo>
                  <a:lnTo>
                    <a:pt x="1182" y="664"/>
                  </a:lnTo>
                  <a:lnTo>
                    <a:pt x="1182" y="664"/>
                  </a:lnTo>
                  <a:lnTo>
                    <a:pt x="1186" y="656"/>
                  </a:lnTo>
                  <a:lnTo>
                    <a:pt x="1186" y="656"/>
                  </a:lnTo>
                  <a:lnTo>
                    <a:pt x="1184" y="658"/>
                  </a:lnTo>
                  <a:lnTo>
                    <a:pt x="1184" y="658"/>
                  </a:lnTo>
                  <a:lnTo>
                    <a:pt x="1184" y="658"/>
                  </a:lnTo>
                  <a:lnTo>
                    <a:pt x="1180" y="658"/>
                  </a:lnTo>
                  <a:lnTo>
                    <a:pt x="1180" y="658"/>
                  </a:lnTo>
                  <a:lnTo>
                    <a:pt x="1182" y="656"/>
                  </a:lnTo>
                  <a:lnTo>
                    <a:pt x="1182" y="656"/>
                  </a:lnTo>
                  <a:lnTo>
                    <a:pt x="1178" y="654"/>
                  </a:lnTo>
                  <a:lnTo>
                    <a:pt x="1180" y="652"/>
                  </a:lnTo>
                  <a:lnTo>
                    <a:pt x="1180" y="652"/>
                  </a:lnTo>
                  <a:lnTo>
                    <a:pt x="1184" y="646"/>
                  </a:lnTo>
                  <a:lnTo>
                    <a:pt x="1184" y="646"/>
                  </a:lnTo>
                  <a:lnTo>
                    <a:pt x="1180" y="642"/>
                  </a:lnTo>
                  <a:lnTo>
                    <a:pt x="1178" y="642"/>
                  </a:lnTo>
                  <a:lnTo>
                    <a:pt x="1176" y="644"/>
                  </a:lnTo>
                  <a:lnTo>
                    <a:pt x="1176" y="644"/>
                  </a:lnTo>
                  <a:lnTo>
                    <a:pt x="1174" y="644"/>
                  </a:lnTo>
                  <a:lnTo>
                    <a:pt x="1172" y="644"/>
                  </a:lnTo>
                  <a:lnTo>
                    <a:pt x="1170" y="640"/>
                  </a:lnTo>
                  <a:lnTo>
                    <a:pt x="1170" y="640"/>
                  </a:lnTo>
                  <a:lnTo>
                    <a:pt x="1168" y="642"/>
                  </a:lnTo>
                  <a:lnTo>
                    <a:pt x="1162" y="644"/>
                  </a:lnTo>
                  <a:lnTo>
                    <a:pt x="1162" y="644"/>
                  </a:lnTo>
                  <a:lnTo>
                    <a:pt x="1162" y="646"/>
                  </a:lnTo>
                  <a:lnTo>
                    <a:pt x="1162" y="648"/>
                  </a:lnTo>
                  <a:lnTo>
                    <a:pt x="1162" y="648"/>
                  </a:lnTo>
                  <a:lnTo>
                    <a:pt x="1160" y="646"/>
                  </a:lnTo>
                  <a:lnTo>
                    <a:pt x="1160" y="644"/>
                  </a:lnTo>
                  <a:lnTo>
                    <a:pt x="1160" y="644"/>
                  </a:lnTo>
                  <a:lnTo>
                    <a:pt x="1154" y="646"/>
                  </a:lnTo>
                  <a:lnTo>
                    <a:pt x="1154" y="646"/>
                  </a:lnTo>
                  <a:lnTo>
                    <a:pt x="1154" y="646"/>
                  </a:lnTo>
                  <a:lnTo>
                    <a:pt x="1156" y="644"/>
                  </a:lnTo>
                  <a:lnTo>
                    <a:pt x="1156" y="642"/>
                  </a:lnTo>
                  <a:lnTo>
                    <a:pt x="1156" y="642"/>
                  </a:lnTo>
                  <a:lnTo>
                    <a:pt x="1148" y="644"/>
                  </a:lnTo>
                  <a:lnTo>
                    <a:pt x="1148" y="644"/>
                  </a:lnTo>
                  <a:lnTo>
                    <a:pt x="1154" y="640"/>
                  </a:lnTo>
                  <a:lnTo>
                    <a:pt x="1154" y="636"/>
                  </a:lnTo>
                  <a:lnTo>
                    <a:pt x="1152" y="634"/>
                  </a:lnTo>
                  <a:lnTo>
                    <a:pt x="1146" y="632"/>
                  </a:lnTo>
                  <a:lnTo>
                    <a:pt x="1146" y="632"/>
                  </a:lnTo>
                  <a:lnTo>
                    <a:pt x="1146" y="634"/>
                  </a:lnTo>
                  <a:lnTo>
                    <a:pt x="1146" y="634"/>
                  </a:lnTo>
                  <a:lnTo>
                    <a:pt x="1146" y="634"/>
                  </a:lnTo>
                  <a:lnTo>
                    <a:pt x="1144" y="634"/>
                  </a:lnTo>
                  <a:lnTo>
                    <a:pt x="1144" y="634"/>
                  </a:lnTo>
                  <a:lnTo>
                    <a:pt x="1138" y="644"/>
                  </a:lnTo>
                  <a:lnTo>
                    <a:pt x="1138" y="644"/>
                  </a:lnTo>
                  <a:lnTo>
                    <a:pt x="1140" y="638"/>
                  </a:lnTo>
                  <a:lnTo>
                    <a:pt x="1140" y="638"/>
                  </a:lnTo>
                  <a:lnTo>
                    <a:pt x="1138" y="638"/>
                  </a:lnTo>
                  <a:lnTo>
                    <a:pt x="1138" y="638"/>
                  </a:lnTo>
                  <a:lnTo>
                    <a:pt x="1138" y="636"/>
                  </a:lnTo>
                  <a:lnTo>
                    <a:pt x="1138" y="636"/>
                  </a:lnTo>
                  <a:lnTo>
                    <a:pt x="1138" y="634"/>
                  </a:lnTo>
                  <a:lnTo>
                    <a:pt x="1138" y="632"/>
                  </a:lnTo>
                  <a:lnTo>
                    <a:pt x="1138" y="632"/>
                  </a:lnTo>
                  <a:lnTo>
                    <a:pt x="1140" y="628"/>
                  </a:lnTo>
                  <a:lnTo>
                    <a:pt x="1142" y="626"/>
                  </a:lnTo>
                  <a:lnTo>
                    <a:pt x="1142" y="626"/>
                  </a:lnTo>
                  <a:lnTo>
                    <a:pt x="1142" y="616"/>
                  </a:lnTo>
                  <a:lnTo>
                    <a:pt x="1144" y="616"/>
                  </a:lnTo>
                  <a:lnTo>
                    <a:pt x="1144" y="616"/>
                  </a:lnTo>
                  <a:lnTo>
                    <a:pt x="1148" y="616"/>
                  </a:lnTo>
                  <a:lnTo>
                    <a:pt x="1148" y="616"/>
                  </a:lnTo>
                  <a:lnTo>
                    <a:pt x="1150" y="612"/>
                  </a:lnTo>
                  <a:lnTo>
                    <a:pt x="1150" y="610"/>
                  </a:lnTo>
                  <a:lnTo>
                    <a:pt x="1146" y="610"/>
                  </a:lnTo>
                  <a:lnTo>
                    <a:pt x="1146" y="608"/>
                  </a:lnTo>
                  <a:lnTo>
                    <a:pt x="1146" y="608"/>
                  </a:lnTo>
                  <a:lnTo>
                    <a:pt x="1150" y="608"/>
                  </a:lnTo>
                  <a:lnTo>
                    <a:pt x="1150" y="606"/>
                  </a:lnTo>
                  <a:lnTo>
                    <a:pt x="1154" y="606"/>
                  </a:lnTo>
                  <a:lnTo>
                    <a:pt x="1154" y="606"/>
                  </a:lnTo>
                  <a:lnTo>
                    <a:pt x="1154" y="602"/>
                  </a:lnTo>
                  <a:lnTo>
                    <a:pt x="1154" y="602"/>
                  </a:lnTo>
                  <a:lnTo>
                    <a:pt x="1148" y="604"/>
                  </a:lnTo>
                  <a:lnTo>
                    <a:pt x="1148" y="604"/>
                  </a:lnTo>
                  <a:lnTo>
                    <a:pt x="1144" y="602"/>
                  </a:lnTo>
                  <a:lnTo>
                    <a:pt x="1144" y="602"/>
                  </a:lnTo>
                  <a:lnTo>
                    <a:pt x="1138" y="604"/>
                  </a:lnTo>
                  <a:lnTo>
                    <a:pt x="1134" y="610"/>
                  </a:lnTo>
                  <a:lnTo>
                    <a:pt x="1134" y="610"/>
                  </a:lnTo>
                  <a:lnTo>
                    <a:pt x="1136" y="614"/>
                  </a:lnTo>
                  <a:lnTo>
                    <a:pt x="1136" y="614"/>
                  </a:lnTo>
                  <a:lnTo>
                    <a:pt x="1132" y="614"/>
                  </a:lnTo>
                  <a:lnTo>
                    <a:pt x="1130" y="616"/>
                  </a:lnTo>
                  <a:lnTo>
                    <a:pt x="1130" y="616"/>
                  </a:lnTo>
                  <a:lnTo>
                    <a:pt x="1130" y="624"/>
                  </a:lnTo>
                  <a:lnTo>
                    <a:pt x="1128" y="626"/>
                  </a:lnTo>
                  <a:lnTo>
                    <a:pt x="1128" y="626"/>
                  </a:lnTo>
                  <a:lnTo>
                    <a:pt x="1128" y="634"/>
                  </a:lnTo>
                  <a:lnTo>
                    <a:pt x="1128" y="636"/>
                  </a:lnTo>
                  <a:lnTo>
                    <a:pt x="1128" y="640"/>
                  </a:lnTo>
                  <a:lnTo>
                    <a:pt x="1124" y="644"/>
                  </a:lnTo>
                  <a:lnTo>
                    <a:pt x="1124" y="644"/>
                  </a:lnTo>
                  <a:lnTo>
                    <a:pt x="1124" y="644"/>
                  </a:lnTo>
                  <a:lnTo>
                    <a:pt x="1124" y="646"/>
                  </a:lnTo>
                  <a:lnTo>
                    <a:pt x="1124" y="646"/>
                  </a:lnTo>
                  <a:lnTo>
                    <a:pt x="1130" y="646"/>
                  </a:lnTo>
                  <a:lnTo>
                    <a:pt x="1130" y="646"/>
                  </a:lnTo>
                  <a:lnTo>
                    <a:pt x="1128" y="650"/>
                  </a:lnTo>
                  <a:lnTo>
                    <a:pt x="1128" y="650"/>
                  </a:lnTo>
                  <a:lnTo>
                    <a:pt x="1128" y="652"/>
                  </a:lnTo>
                  <a:lnTo>
                    <a:pt x="1126" y="652"/>
                  </a:lnTo>
                  <a:lnTo>
                    <a:pt x="1126" y="652"/>
                  </a:lnTo>
                  <a:lnTo>
                    <a:pt x="1124" y="650"/>
                  </a:lnTo>
                  <a:lnTo>
                    <a:pt x="1122" y="650"/>
                  </a:lnTo>
                  <a:lnTo>
                    <a:pt x="1120" y="650"/>
                  </a:lnTo>
                  <a:lnTo>
                    <a:pt x="1120" y="652"/>
                  </a:lnTo>
                  <a:lnTo>
                    <a:pt x="1120" y="652"/>
                  </a:lnTo>
                  <a:lnTo>
                    <a:pt x="1118" y="652"/>
                  </a:lnTo>
                  <a:lnTo>
                    <a:pt x="1118" y="654"/>
                  </a:lnTo>
                  <a:lnTo>
                    <a:pt x="1118" y="654"/>
                  </a:lnTo>
                  <a:lnTo>
                    <a:pt x="1120" y="654"/>
                  </a:lnTo>
                  <a:lnTo>
                    <a:pt x="1120" y="656"/>
                  </a:lnTo>
                  <a:lnTo>
                    <a:pt x="1116" y="656"/>
                  </a:lnTo>
                  <a:lnTo>
                    <a:pt x="1116" y="656"/>
                  </a:lnTo>
                  <a:lnTo>
                    <a:pt x="1112" y="656"/>
                  </a:lnTo>
                  <a:lnTo>
                    <a:pt x="1112" y="656"/>
                  </a:lnTo>
                  <a:lnTo>
                    <a:pt x="1112" y="660"/>
                  </a:lnTo>
                  <a:lnTo>
                    <a:pt x="1112" y="660"/>
                  </a:lnTo>
                  <a:lnTo>
                    <a:pt x="1114" y="660"/>
                  </a:lnTo>
                  <a:lnTo>
                    <a:pt x="1114" y="660"/>
                  </a:lnTo>
                  <a:lnTo>
                    <a:pt x="1114" y="658"/>
                  </a:lnTo>
                  <a:lnTo>
                    <a:pt x="1114" y="658"/>
                  </a:lnTo>
                  <a:lnTo>
                    <a:pt x="1122" y="660"/>
                  </a:lnTo>
                  <a:lnTo>
                    <a:pt x="1122" y="660"/>
                  </a:lnTo>
                  <a:lnTo>
                    <a:pt x="1120" y="662"/>
                  </a:lnTo>
                  <a:lnTo>
                    <a:pt x="1120" y="662"/>
                  </a:lnTo>
                  <a:lnTo>
                    <a:pt x="1120" y="662"/>
                  </a:lnTo>
                  <a:lnTo>
                    <a:pt x="1120" y="660"/>
                  </a:lnTo>
                  <a:lnTo>
                    <a:pt x="1120" y="660"/>
                  </a:lnTo>
                  <a:lnTo>
                    <a:pt x="1116" y="662"/>
                  </a:lnTo>
                  <a:lnTo>
                    <a:pt x="1116" y="662"/>
                  </a:lnTo>
                  <a:lnTo>
                    <a:pt x="1116" y="666"/>
                  </a:lnTo>
                  <a:lnTo>
                    <a:pt x="1110" y="670"/>
                  </a:lnTo>
                  <a:lnTo>
                    <a:pt x="1110" y="670"/>
                  </a:lnTo>
                  <a:lnTo>
                    <a:pt x="1108" y="672"/>
                  </a:lnTo>
                  <a:lnTo>
                    <a:pt x="1108" y="672"/>
                  </a:lnTo>
                  <a:lnTo>
                    <a:pt x="1110" y="678"/>
                  </a:lnTo>
                  <a:lnTo>
                    <a:pt x="1116" y="678"/>
                  </a:lnTo>
                  <a:lnTo>
                    <a:pt x="1116" y="678"/>
                  </a:lnTo>
                  <a:lnTo>
                    <a:pt x="1118" y="676"/>
                  </a:lnTo>
                  <a:lnTo>
                    <a:pt x="1118" y="676"/>
                  </a:lnTo>
                  <a:lnTo>
                    <a:pt x="1118" y="676"/>
                  </a:lnTo>
                  <a:lnTo>
                    <a:pt x="1132" y="676"/>
                  </a:lnTo>
                  <a:lnTo>
                    <a:pt x="1132" y="676"/>
                  </a:lnTo>
                  <a:lnTo>
                    <a:pt x="1140" y="676"/>
                  </a:lnTo>
                  <a:lnTo>
                    <a:pt x="1140" y="676"/>
                  </a:lnTo>
                  <a:lnTo>
                    <a:pt x="1140" y="678"/>
                  </a:lnTo>
                  <a:lnTo>
                    <a:pt x="1142" y="678"/>
                  </a:lnTo>
                  <a:lnTo>
                    <a:pt x="1142" y="678"/>
                  </a:lnTo>
                  <a:lnTo>
                    <a:pt x="1146" y="676"/>
                  </a:lnTo>
                  <a:lnTo>
                    <a:pt x="1148" y="674"/>
                  </a:lnTo>
                  <a:lnTo>
                    <a:pt x="1148" y="674"/>
                  </a:lnTo>
                  <a:lnTo>
                    <a:pt x="1148" y="678"/>
                  </a:lnTo>
                  <a:lnTo>
                    <a:pt x="1148" y="678"/>
                  </a:lnTo>
                  <a:lnTo>
                    <a:pt x="1168" y="674"/>
                  </a:lnTo>
                  <a:lnTo>
                    <a:pt x="1168" y="674"/>
                  </a:lnTo>
                  <a:lnTo>
                    <a:pt x="1166" y="680"/>
                  </a:lnTo>
                  <a:lnTo>
                    <a:pt x="1172" y="680"/>
                  </a:lnTo>
                  <a:lnTo>
                    <a:pt x="1172" y="680"/>
                  </a:lnTo>
                  <a:lnTo>
                    <a:pt x="1174" y="674"/>
                  </a:lnTo>
                  <a:lnTo>
                    <a:pt x="1174" y="674"/>
                  </a:lnTo>
                  <a:lnTo>
                    <a:pt x="1178" y="674"/>
                  </a:lnTo>
                  <a:lnTo>
                    <a:pt x="1178" y="674"/>
                  </a:lnTo>
                  <a:lnTo>
                    <a:pt x="1176" y="678"/>
                  </a:lnTo>
                  <a:lnTo>
                    <a:pt x="1176" y="678"/>
                  </a:lnTo>
                  <a:lnTo>
                    <a:pt x="1174" y="680"/>
                  </a:lnTo>
                  <a:lnTo>
                    <a:pt x="1172" y="682"/>
                  </a:lnTo>
                  <a:lnTo>
                    <a:pt x="1172" y="682"/>
                  </a:lnTo>
                  <a:lnTo>
                    <a:pt x="1170" y="686"/>
                  </a:lnTo>
                  <a:lnTo>
                    <a:pt x="1170" y="686"/>
                  </a:lnTo>
                  <a:lnTo>
                    <a:pt x="1166" y="688"/>
                  </a:lnTo>
                  <a:lnTo>
                    <a:pt x="1166" y="688"/>
                  </a:lnTo>
                  <a:lnTo>
                    <a:pt x="1166" y="692"/>
                  </a:lnTo>
                  <a:lnTo>
                    <a:pt x="1166" y="692"/>
                  </a:lnTo>
                  <a:lnTo>
                    <a:pt x="1170" y="692"/>
                  </a:lnTo>
                  <a:lnTo>
                    <a:pt x="1170" y="692"/>
                  </a:lnTo>
                  <a:lnTo>
                    <a:pt x="1174" y="688"/>
                  </a:lnTo>
                  <a:lnTo>
                    <a:pt x="1176" y="684"/>
                  </a:lnTo>
                  <a:lnTo>
                    <a:pt x="1176" y="684"/>
                  </a:lnTo>
                  <a:lnTo>
                    <a:pt x="1176" y="684"/>
                  </a:lnTo>
                  <a:lnTo>
                    <a:pt x="1176" y="682"/>
                  </a:lnTo>
                  <a:lnTo>
                    <a:pt x="1178" y="680"/>
                  </a:lnTo>
                  <a:lnTo>
                    <a:pt x="1178" y="680"/>
                  </a:lnTo>
                  <a:lnTo>
                    <a:pt x="1182" y="680"/>
                  </a:lnTo>
                  <a:lnTo>
                    <a:pt x="1182" y="680"/>
                  </a:lnTo>
                  <a:lnTo>
                    <a:pt x="1184" y="674"/>
                  </a:lnTo>
                  <a:lnTo>
                    <a:pt x="1188" y="674"/>
                  </a:lnTo>
                  <a:lnTo>
                    <a:pt x="1188" y="674"/>
                  </a:lnTo>
                  <a:lnTo>
                    <a:pt x="1188" y="678"/>
                  </a:lnTo>
                  <a:lnTo>
                    <a:pt x="1192" y="680"/>
                  </a:lnTo>
                  <a:lnTo>
                    <a:pt x="1192" y="680"/>
                  </a:lnTo>
                  <a:lnTo>
                    <a:pt x="1192" y="684"/>
                  </a:lnTo>
                  <a:lnTo>
                    <a:pt x="1192" y="684"/>
                  </a:lnTo>
                  <a:lnTo>
                    <a:pt x="1190" y="684"/>
                  </a:lnTo>
                  <a:lnTo>
                    <a:pt x="1188" y="684"/>
                  </a:lnTo>
                  <a:lnTo>
                    <a:pt x="1188" y="684"/>
                  </a:lnTo>
                  <a:lnTo>
                    <a:pt x="1188" y="692"/>
                  </a:lnTo>
                  <a:lnTo>
                    <a:pt x="1188" y="692"/>
                  </a:lnTo>
                  <a:lnTo>
                    <a:pt x="1192" y="690"/>
                  </a:lnTo>
                  <a:lnTo>
                    <a:pt x="1192" y="690"/>
                  </a:lnTo>
                  <a:lnTo>
                    <a:pt x="1192" y="686"/>
                  </a:lnTo>
                  <a:lnTo>
                    <a:pt x="1192" y="686"/>
                  </a:lnTo>
                  <a:lnTo>
                    <a:pt x="1196" y="688"/>
                  </a:lnTo>
                  <a:lnTo>
                    <a:pt x="1196" y="694"/>
                  </a:lnTo>
                  <a:lnTo>
                    <a:pt x="1196" y="694"/>
                  </a:lnTo>
                  <a:lnTo>
                    <a:pt x="1202" y="694"/>
                  </a:lnTo>
                  <a:lnTo>
                    <a:pt x="1202" y="694"/>
                  </a:lnTo>
                  <a:lnTo>
                    <a:pt x="1204" y="688"/>
                  </a:lnTo>
                  <a:lnTo>
                    <a:pt x="1204" y="688"/>
                  </a:lnTo>
                  <a:lnTo>
                    <a:pt x="1208" y="680"/>
                  </a:lnTo>
                  <a:lnTo>
                    <a:pt x="1208" y="676"/>
                  </a:lnTo>
                  <a:lnTo>
                    <a:pt x="1208" y="676"/>
                  </a:lnTo>
                  <a:lnTo>
                    <a:pt x="1206" y="678"/>
                  </a:lnTo>
                  <a:lnTo>
                    <a:pt x="1206" y="678"/>
                  </a:lnTo>
                  <a:close/>
                  <a:moveTo>
                    <a:pt x="1088" y="714"/>
                  </a:moveTo>
                  <a:lnTo>
                    <a:pt x="1088" y="712"/>
                  </a:lnTo>
                  <a:lnTo>
                    <a:pt x="1088" y="712"/>
                  </a:lnTo>
                  <a:lnTo>
                    <a:pt x="1084" y="712"/>
                  </a:lnTo>
                  <a:lnTo>
                    <a:pt x="1084" y="712"/>
                  </a:lnTo>
                  <a:lnTo>
                    <a:pt x="1086" y="704"/>
                  </a:lnTo>
                  <a:lnTo>
                    <a:pt x="1090" y="700"/>
                  </a:lnTo>
                  <a:lnTo>
                    <a:pt x="1090" y="700"/>
                  </a:lnTo>
                  <a:lnTo>
                    <a:pt x="1096" y="700"/>
                  </a:lnTo>
                  <a:lnTo>
                    <a:pt x="1096" y="700"/>
                  </a:lnTo>
                  <a:lnTo>
                    <a:pt x="1098" y="698"/>
                  </a:lnTo>
                  <a:lnTo>
                    <a:pt x="1100" y="696"/>
                  </a:lnTo>
                  <a:lnTo>
                    <a:pt x="1100" y="696"/>
                  </a:lnTo>
                  <a:lnTo>
                    <a:pt x="1098" y="694"/>
                  </a:lnTo>
                  <a:lnTo>
                    <a:pt x="1096" y="694"/>
                  </a:lnTo>
                  <a:lnTo>
                    <a:pt x="1096" y="696"/>
                  </a:lnTo>
                  <a:lnTo>
                    <a:pt x="1096" y="696"/>
                  </a:lnTo>
                  <a:lnTo>
                    <a:pt x="1092" y="698"/>
                  </a:lnTo>
                  <a:lnTo>
                    <a:pt x="1090" y="698"/>
                  </a:lnTo>
                  <a:lnTo>
                    <a:pt x="1086" y="696"/>
                  </a:lnTo>
                  <a:lnTo>
                    <a:pt x="1086" y="696"/>
                  </a:lnTo>
                  <a:lnTo>
                    <a:pt x="1080" y="700"/>
                  </a:lnTo>
                  <a:lnTo>
                    <a:pt x="1080" y="700"/>
                  </a:lnTo>
                  <a:lnTo>
                    <a:pt x="1082" y="704"/>
                  </a:lnTo>
                  <a:lnTo>
                    <a:pt x="1080" y="706"/>
                  </a:lnTo>
                  <a:lnTo>
                    <a:pt x="1078" y="706"/>
                  </a:lnTo>
                  <a:lnTo>
                    <a:pt x="1078" y="706"/>
                  </a:lnTo>
                  <a:lnTo>
                    <a:pt x="1076" y="710"/>
                  </a:lnTo>
                  <a:lnTo>
                    <a:pt x="1076" y="710"/>
                  </a:lnTo>
                  <a:lnTo>
                    <a:pt x="1076" y="712"/>
                  </a:lnTo>
                  <a:lnTo>
                    <a:pt x="1076" y="714"/>
                  </a:lnTo>
                  <a:lnTo>
                    <a:pt x="1074" y="716"/>
                  </a:lnTo>
                  <a:lnTo>
                    <a:pt x="1074" y="716"/>
                  </a:lnTo>
                  <a:lnTo>
                    <a:pt x="1074" y="722"/>
                  </a:lnTo>
                  <a:lnTo>
                    <a:pt x="1074" y="724"/>
                  </a:lnTo>
                  <a:lnTo>
                    <a:pt x="1076" y="726"/>
                  </a:lnTo>
                  <a:lnTo>
                    <a:pt x="1076" y="726"/>
                  </a:lnTo>
                  <a:lnTo>
                    <a:pt x="1082" y="728"/>
                  </a:lnTo>
                  <a:lnTo>
                    <a:pt x="1082" y="728"/>
                  </a:lnTo>
                  <a:lnTo>
                    <a:pt x="1082" y="726"/>
                  </a:lnTo>
                  <a:lnTo>
                    <a:pt x="1082" y="726"/>
                  </a:lnTo>
                  <a:lnTo>
                    <a:pt x="1082" y="724"/>
                  </a:lnTo>
                  <a:lnTo>
                    <a:pt x="1080" y="722"/>
                  </a:lnTo>
                  <a:lnTo>
                    <a:pt x="1082" y="718"/>
                  </a:lnTo>
                  <a:lnTo>
                    <a:pt x="1088" y="714"/>
                  </a:lnTo>
                  <a:lnTo>
                    <a:pt x="1088" y="714"/>
                  </a:lnTo>
                  <a:close/>
                  <a:moveTo>
                    <a:pt x="1070" y="654"/>
                  </a:moveTo>
                  <a:lnTo>
                    <a:pt x="1064" y="650"/>
                  </a:lnTo>
                  <a:lnTo>
                    <a:pt x="1064" y="650"/>
                  </a:lnTo>
                  <a:lnTo>
                    <a:pt x="1062" y="650"/>
                  </a:lnTo>
                  <a:lnTo>
                    <a:pt x="1062" y="650"/>
                  </a:lnTo>
                  <a:lnTo>
                    <a:pt x="1058" y="646"/>
                  </a:lnTo>
                  <a:lnTo>
                    <a:pt x="1056" y="642"/>
                  </a:lnTo>
                  <a:lnTo>
                    <a:pt x="1056" y="642"/>
                  </a:lnTo>
                  <a:lnTo>
                    <a:pt x="1052" y="642"/>
                  </a:lnTo>
                  <a:lnTo>
                    <a:pt x="1052" y="642"/>
                  </a:lnTo>
                  <a:lnTo>
                    <a:pt x="1046" y="640"/>
                  </a:lnTo>
                  <a:lnTo>
                    <a:pt x="1042" y="636"/>
                  </a:lnTo>
                  <a:lnTo>
                    <a:pt x="1042" y="636"/>
                  </a:lnTo>
                  <a:lnTo>
                    <a:pt x="1034" y="636"/>
                  </a:lnTo>
                  <a:lnTo>
                    <a:pt x="1034" y="636"/>
                  </a:lnTo>
                  <a:lnTo>
                    <a:pt x="1034" y="642"/>
                  </a:lnTo>
                  <a:lnTo>
                    <a:pt x="1034" y="642"/>
                  </a:lnTo>
                  <a:lnTo>
                    <a:pt x="1040" y="642"/>
                  </a:lnTo>
                  <a:lnTo>
                    <a:pt x="1044" y="646"/>
                  </a:lnTo>
                  <a:lnTo>
                    <a:pt x="1044" y="646"/>
                  </a:lnTo>
                  <a:lnTo>
                    <a:pt x="1044" y="650"/>
                  </a:lnTo>
                  <a:lnTo>
                    <a:pt x="1044" y="650"/>
                  </a:lnTo>
                  <a:lnTo>
                    <a:pt x="1048" y="650"/>
                  </a:lnTo>
                  <a:lnTo>
                    <a:pt x="1054" y="652"/>
                  </a:lnTo>
                  <a:lnTo>
                    <a:pt x="1054" y="652"/>
                  </a:lnTo>
                  <a:lnTo>
                    <a:pt x="1058" y="654"/>
                  </a:lnTo>
                  <a:lnTo>
                    <a:pt x="1062" y="656"/>
                  </a:lnTo>
                  <a:lnTo>
                    <a:pt x="1062" y="656"/>
                  </a:lnTo>
                  <a:lnTo>
                    <a:pt x="1068" y="658"/>
                  </a:lnTo>
                  <a:lnTo>
                    <a:pt x="1068" y="658"/>
                  </a:lnTo>
                  <a:lnTo>
                    <a:pt x="1068" y="656"/>
                  </a:lnTo>
                  <a:lnTo>
                    <a:pt x="1070" y="654"/>
                  </a:lnTo>
                  <a:lnTo>
                    <a:pt x="1070" y="654"/>
                  </a:lnTo>
                  <a:close/>
                  <a:moveTo>
                    <a:pt x="128" y="568"/>
                  </a:moveTo>
                  <a:lnTo>
                    <a:pt x="128" y="568"/>
                  </a:lnTo>
                  <a:lnTo>
                    <a:pt x="128" y="566"/>
                  </a:lnTo>
                  <a:lnTo>
                    <a:pt x="128" y="562"/>
                  </a:lnTo>
                  <a:lnTo>
                    <a:pt x="128" y="562"/>
                  </a:lnTo>
                  <a:lnTo>
                    <a:pt x="132" y="554"/>
                  </a:lnTo>
                  <a:lnTo>
                    <a:pt x="132" y="554"/>
                  </a:lnTo>
                  <a:lnTo>
                    <a:pt x="122" y="556"/>
                  </a:lnTo>
                  <a:lnTo>
                    <a:pt x="118" y="556"/>
                  </a:lnTo>
                  <a:lnTo>
                    <a:pt x="114" y="554"/>
                  </a:lnTo>
                  <a:lnTo>
                    <a:pt x="114" y="554"/>
                  </a:lnTo>
                  <a:lnTo>
                    <a:pt x="116" y="564"/>
                  </a:lnTo>
                  <a:lnTo>
                    <a:pt x="116" y="564"/>
                  </a:lnTo>
                  <a:lnTo>
                    <a:pt x="116" y="566"/>
                  </a:lnTo>
                  <a:lnTo>
                    <a:pt x="116" y="568"/>
                  </a:lnTo>
                  <a:lnTo>
                    <a:pt x="118" y="568"/>
                  </a:lnTo>
                  <a:lnTo>
                    <a:pt x="118" y="568"/>
                  </a:lnTo>
                  <a:lnTo>
                    <a:pt x="118" y="570"/>
                  </a:lnTo>
                  <a:lnTo>
                    <a:pt x="118" y="570"/>
                  </a:lnTo>
                  <a:lnTo>
                    <a:pt x="118" y="570"/>
                  </a:lnTo>
                  <a:lnTo>
                    <a:pt x="118" y="574"/>
                  </a:lnTo>
                  <a:lnTo>
                    <a:pt x="118" y="574"/>
                  </a:lnTo>
                  <a:lnTo>
                    <a:pt x="122" y="572"/>
                  </a:lnTo>
                  <a:lnTo>
                    <a:pt x="124" y="572"/>
                  </a:lnTo>
                  <a:lnTo>
                    <a:pt x="124" y="572"/>
                  </a:lnTo>
                  <a:lnTo>
                    <a:pt x="128" y="568"/>
                  </a:lnTo>
                  <a:lnTo>
                    <a:pt x="128" y="568"/>
                  </a:lnTo>
                  <a:close/>
                  <a:moveTo>
                    <a:pt x="552" y="194"/>
                  </a:moveTo>
                  <a:lnTo>
                    <a:pt x="552" y="194"/>
                  </a:lnTo>
                  <a:lnTo>
                    <a:pt x="550" y="192"/>
                  </a:lnTo>
                  <a:lnTo>
                    <a:pt x="550" y="192"/>
                  </a:lnTo>
                  <a:lnTo>
                    <a:pt x="550" y="188"/>
                  </a:lnTo>
                  <a:lnTo>
                    <a:pt x="550" y="182"/>
                  </a:lnTo>
                  <a:lnTo>
                    <a:pt x="550" y="182"/>
                  </a:lnTo>
                  <a:lnTo>
                    <a:pt x="548" y="180"/>
                  </a:lnTo>
                  <a:lnTo>
                    <a:pt x="548" y="180"/>
                  </a:lnTo>
                  <a:lnTo>
                    <a:pt x="544" y="180"/>
                  </a:lnTo>
                  <a:lnTo>
                    <a:pt x="542" y="182"/>
                  </a:lnTo>
                  <a:lnTo>
                    <a:pt x="542" y="182"/>
                  </a:lnTo>
                  <a:lnTo>
                    <a:pt x="532" y="180"/>
                  </a:lnTo>
                  <a:lnTo>
                    <a:pt x="526" y="178"/>
                  </a:lnTo>
                  <a:lnTo>
                    <a:pt x="522" y="172"/>
                  </a:lnTo>
                  <a:lnTo>
                    <a:pt x="520" y="166"/>
                  </a:lnTo>
                  <a:lnTo>
                    <a:pt x="518" y="166"/>
                  </a:lnTo>
                  <a:lnTo>
                    <a:pt x="518" y="166"/>
                  </a:lnTo>
                  <a:lnTo>
                    <a:pt x="518" y="174"/>
                  </a:lnTo>
                  <a:lnTo>
                    <a:pt x="518" y="174"/>
                  </a:lnTo>
                  <a:lnTo>
                    <a:pt x="516" y="172"/>
                  </a:lnTo>
                  <a:lnTo>
                    <a:pt x="516" y="172"/>
                  </a:lnTo>
                  <a:lnTo>
                    <a:pt x="510" y="172"/>
                  </a:lnTo>
                  <a:lnTo>
                    <a:pt x="508" y="172"/>
                  </a:lnTo>
                  <a:lnTo>
                    <a:pt x="508" y="172"/>
                  </a:lnTo>
                  <a:lnTo>
                    <a:pt x="506" y="168"/>
                  </a:lnTo>
                  <a:lnTo>
                    <a:pt x="506" y="168"/>
                  </a:lnTo>
                  <a:lnTo>
                    <a:pt x="502" y="164"/>
                  </a:lnTo>
                  <a:lnTo>
                    <a:pt x="498" y="158"/>
                  </a:lnTo>
                  <a:lnTo>
                    <a:pt x="498" y="158"/>
                  </a:lnTo>
                  <a:lnTo>
                    <a:pt x="498" y="154"/>
                  </a:lnTo>
                  <a:lnTo>
                    <a:pt x="496" y="148"/>
                  </a:lnTo>
                  <a:lnTo>
                    <a:pt x="496" y="148"/>
                  </a:lnTo>
                  <a:lnTo>
                    <a:pt x="494" y="148"/>
                  </a:lnTo>
                  <a:lnTo>
                    <a:pt x="490" y="146"/>
                  </a:lnTo>
                  <a:lnTo>
                    <a:pt x="490" y="146"/>
                  </a:lnTo>
                  <a:lnTo>
                    <a:pt x="490" y="142"/>
                  </a:lnTo>
                  <a:lnTo>
                    <a:pt x="490" y="138"/>
                  </a:lnTo>
                  <a:lnTo>
                    <a:pt x="490" y="138"/>
                  </a:lnTo>
                  <a:lnTo>
                    <a:pt x="488" y="134"/>
                  </a:lnTo>
                  <a:lnTo>
                    <a:pt x="486" y="132"/>
                  </a:lnTo>
                  <a:lnTo>
                    <a:pt x="486" y="132"/>
                  </a:lnTo>
                  <a:lnTo>
                    <a:pt x="486" y="130"/>
                  </a:lnTo>
                  <a:lnTo>
                    <a:pt x="486" y="130"/>
                  </a:lnTo>
                  <a:lnTo>
                    <a:pt x="482" y="128"/>
                  </a:lnTo>
                  <a:lnTo>
                    <a:pt x="478" y="130"/>
                  </a:lnTo>
                  <a:lnTo>
                    <a:pt x="478" y="130"/>
                  </a:lnTo>
                  <a:lnTo>
                    <a:pt x="474" y="128"/>
                  </a:lnTo>
                  <a:lnTo>
                    <a:pt x="470" y="128"/>
                  </a:lnTo>
                  <a:lnTo>
                    <a:pt x="468" y="130"/>
                  </a:lnTo>
                  <a:lnTo>
                    <a:pt x="468" y="130"/>
                  </a:lnTo>
                  <a:lnTo>
                    <a:pt x="466" y="130"/>
                  </a:lnTo>
                  <a:lnTo>
                    <a:pt x="462" y="130"/>
                  </a:lnTo>
                  <a:lnTo>
                    <a:pt x="460" y="126"/>
                  </a:lnTo>
                  <a:lnTo>
                    <a:pt x="458" y="126"/>
                  </a:lnTo>
                  <a:lnTo>
                    <a:pt x="458" y="126"/>
                  </a:lnTo>
                  <a:lnTo>
                    <a:pt x="454" y="134"/>
                  </a:lnTo>
                  <a:lnTo>
                    <a:pt x="454" y="134"/>
                  </a:lnTo>
                  <a:lnTo>
                    <a:pt x="454" y="136"/>
                  </a:lnTo>
                  <a:lnTo>
                    <a:pt x="454" y="140"/>
                  </a:lnTo>
                  <a:lnTo>
                    <a:pt x="454" y="140"/>
                  </a:lnTo>
                  <a:lnTo>
                    <a:pt x="450" y="142"/>
                  </a:lnTo>
                  <a:lnTo>
                    <a:pt x="446" y="144"/>
                  </a:lnTo>
                  <a:lnTo>
                    <a:pt x="446" y="144"/>
                  </a:lnTo>
                  <a:lnTo>
                    <a:pt x="444" y="138"/>
                  </a:lnTo>
                  <a:lnTo>
                    <a:pt x="446" y="132"/>
                  </a:lnTo>
                  <a:lnTo>
                    <a:pt x="450" y="120"/>
                  </a:lnTo>
                  <a:lnTo>
                    <a:pt x="450" y="120"/>
                  </a:lnTo>
                  <a:lnTo>
                    <a:pt x="448" y="120"/>
                  </a:lnTo>
                  <a:lnTo>
                    <a:pt x="442" y="112"/>
                  </a:lnTo>
                  <a:lnTo>
                    <a:pt x="442" y="112"/>
                  </a:lnTo>
                  <a:lnTo>
                    <a:pt x="442" y="110"/>
                  </a:lnTo>
                  <a:lnTo>
                    <a:pt x="442" y="110"/>
                  </a:lnTo>
                  <a:lnTo>
                    <a:pt x="440" y="108"/>
                  </a:lnTo>
                  <a:lnTo>
                    <a:pt x="438" y="108"/>
                  </a:lnTo>
                  <a:lnTo>
                    <a:pt x="438" y="110"/>
                  </a:lnTo>
                  <a:lnTo>
                    <a:pt x="438" y="110"/>
                  </a:lnTo>
                  <a:lnTo>
                    <a:pt x="434" y="106"/>
                  </a:lnTo>
                  <a:lnTo>
                    <a:pt x="434" y="106"/>
                  </a:lnTo>
                  <a:lnTo>
                    <a:pt x="428" y="106"/>
                  </a:lnTo>
                  <a:lnTo>
                    <a:pt x="428" y="106"/>
                  </a:lnTo>
                  <a:lnTo>
                    <a:pt x="428" y="110"/>
                  </a:lnTo>
                  <a:lnTo>
                    <a:pt x="428" y="110"/>
                  </a:lnTo>
                  <a:lnTo>
                    <a:pt x="426" y="112"/>
                  </a:lnTo>
                  <a:lnTo>
                    <a:pt x="422" y="114"/>
                  </a:lnTo>
                  <a:lnTo>
                    <a:pt x="422" y="114"/>
                  </a:lnTo>
                  <a:lnTo>
                    <a:pt x="422" y="120"/>
                  </a:lnTo>
                  <a:lnTo>
                    <a:pt x="422" y="120"/>
                  </a:lnTo>
                  <a:lnTo>
                    <a:pt x="418" y="120"/>
                  </a:lnTo>
                  <a:lnTo>
                    <a:pt x="418" y="120"/>
                  </a:lnTo>
                  <a:lnTo>
                    <a:pt x="418" y="118"/>
                  </a:lnTo>
                  <a:lnTo>
                    <a:pt x="416" y="118"/>
                  </a:lnTo>
                  <a:lnTo>
                    <a:pt x="416" y="118"/>
                  </a:lnTo>
                  <a:lnTo>
                    <a:pt x="416" y="114"/>
                  </a:lnTo>
                  <a:lnTo>
                    <a:pt x="416" y="114"/>
                  </a:lnTo>
                  <a:lnTo>
                    <a:pt x="412" y="110"/>
                  </a:lnTo>
                  <a:lnTo>
                    <a:pt x="406" y="106"/>
                  </a:lnTo>
                  <a:lnTo>
                    <a:pt x="406" y="106"/>
                  </a:lnTo>
                  <a:lnTo>
                    <a:pt x="396" y="104"/>
                  </a:lnTo>
                  <a:lnTo>
                    <a:pt x="396" y="104"/>
                  </a:lnTo>
                  <a:lnTo>
                    <a:pt x="394" y="116"/>
                  </a:lnTo>
                  <a:lnTo>
                    <a:pt x="394" y="116"/>
                  </a:lnTo>
                  <a:lnTo>
                    <a:pt x="394" y="118"/>
                  </a:lnTo>
                  <a:lnTo>
                    <a:pt x="396" y="120"/>
                  </a:lnTo>
                  <a:lnTo>
                    <a:pt x="396" y="120"/>
                  </a:lnTo>
                  <a:lnTo>
                    <a:pt x="396" y="130"/>
                  </a:lnTo>
                  <a:lnTo>
                    <a:pt x="396" y="130"/>
                  </a:lnTo>
                  <a:lnTo>
                    <a:pt x="392" y="132"/>
                  </a:lnTo>
                  <a:lnTo>
                    <a:pt x="392" y="132"/>
                  </a:lnTo>
                  <a:lnTo>
                    <a:pt x="390" y="128"/>
                  </a:lnTo>
                  <a:lnTo>
                    <a:pt x="390" y="128"/>
                  </a:lnTo>
                  <a:lnTo>
                    <a:pt x="384" y="128"/>
                  </a:lnTo>
                  <a:lnTo>
                    <a:pt x="384" y="128"/>
                  </a:lnTo>
                  <a:lnTo>
                    <a:pt x="374" y="118"/>
                  </a:lnTo>
                  <a:lnTo>
                    <a:pt x="374" y="118"/>
                  </a:lnTo>
                  <a:lnTo>
                    <a:pt x="374" y="116"/>
                  </a:lnTo>
                  <a:lnTo>
                    <a:pt x="374" y="114"/>
                  </a:lnTo>
                  <a:lnTo>
                    <a:pt x="376" y="110"/>
                  </a:lnTo>
                  <a:lnTo>
                    <a:pt x="376" y="110"/>
                  </a:lnTo>
                  <a:lnTo>
                    <a:pt x="374" y="102"/>
                  </a:lnTo>
                  <a:lnTo>
                    <a:pt x="374" y="96"/>
                  </a:lnTo>
                  <a:lnTo>
                    <a:pt x="374" y="96"/>
                  </a:lnTo>
                  <a:lnTo>
                    <a:pt x="364" y="94"/>
                  </a:lnTo>
                  <a:lnTo>
                    <a:pt x="364" y="94"/>
                  </a:lnTo>
                  <a:lnTo>
                    <a:pt x="358" y="100"/>
                  </a:lnTo>
                  <a:lnTo>
                    <a:pt x="350" y="106"/>
                  </a:lnTo>
                  <a:lnTo>
                    <a:pt x="348" y="108"/>
                  </a:lnTo>
                  <a:lnTo>
                    <a:pt x="348" y="108"/>
                  </a:lnTo>
                  <a:lnTo>
                    <a:pt x="340" y="108"/>
                  </a:lnTo>
                  <a:lnTo>
                    <a:pt x="336" y="108"/>
                  </a:lnTo>
                  <a:lnTo>
                    <a:pt x="336" y="108"/>
                  </a:lnTo>
                  <a:lnTo>
                    <a:pt x="330" y="110"/>
                  </a:lnTo>
                  <a:lnTo>
                    <a:pt x="326" y="112"/>
                  </a:lnTo>
                  <a:lnTo>
                    <a:pt x="326" y="112"/>
                  </a:lnTo>
                  <a:lnTo>
                    <a:pt x="324" y="114"/>
                  </a:lnTo>
                  <a:lnTo>
                    <a:pt x="320" y="114"/>
                  </a:lnTo>
                  <a:lnTo>
                    <a:pt x="320" y="114"/>
                  </a:lnTo>
                  <a:lnTo>
                    <a:pt x="318" y="116"/>
                  </a:lnTo>
                  <a:lnTo>
                    <a:pt x="316" y="120"/>
                  </a:lnTo>
                  <a:lnTo>
                    <a:pt x="316" y="130"/>
                  </a:lnTo>
                  <a:lnTo>
                    <a:pt x="316" y="130"/>
                  </a:lnTo>
                  <a:lnTo>
                    <a:pt x="310" y="130"/>
                  </a:lnTo>
                  <a:lnTo>
                    <a:pt x="310" y="130"/>
                  </a:lnTo>
                  <a:lnTo>
                    <a:pt x="310" y="132"/>
                  </a:lnTo>
                  <a:lnTo>
                    <a:pt x="310" y="134"/>
                  </a:lnTo>
                  <a:lnTo>
                    <a:pt x="310" y="134"/>
                  </a:lnTo>
                  <a:lnTo>
                    <a:pt x="306" y="138"/>
                  </a:lnTo>
                  <a:lnTo>
                    <a:pt x="302" y="142"/>
                  </a:lnTo>
                  <a:lnTo>
                    <a:pt x="302" y="142"/>
                  </a:lnTo>
                  <a:lnTo>
                    <a:pt x="300" y="142"/>
                  </a:lnTo>
                  <a:lnTo>
                    <a:pt x="300" y="142"/>
                  </a:lnTo>
                  <a:lnTo>
                    <a:pt x="302" y="146"/>
                  </a:lnTo>
                  <a:lnTo>
                    <a:pt x="304" y="148"/>
                  </a:lnTo>
                  <a:lnTo>
                    <a:pt x="308" y="148"/>
                  </a:lnTo>
                  <a:lnTo>
                    <a:pt x="308" y="148"/>
                  </a:lnTo>
                  <a:lnTo>
                    <a:pt x="312" y="148"/>
                  </a:lnTo>
                  <a:lnTo>
                    <a:pt x="314" y="148"/>
                  </a:lnTo>
                  <a:lnTo>
                    <a:pt x="314" y="146"/>
                  </a:lnTo>
                  <a:lnTo>
                    <a:pt x="316" y="144"/>
                  </a:lnTo>
                  <a:lnTo>
                    <a:pt x="316" y="144"/>
                  </a:lnTo>
                  <a:lnTo>
                    <a:pt x="318" y="144"/>
                  </a:lnTo>
                  <a:lnTo>
                    <a:pt x="320" y="146"/>
                  </a:lnTo>
                  <a:lnTo>
                    <a:pt x="320" y="146"/>
                  </a:lnTo>
                  <a:lnTo>
                    <a:pt x="318" y="146"/>
                  </a:lnTo>
                  <a:lnTo>
                    <a:pt x="318" y="146"/>
                  </a:lnTo>
                  <a:lnTo>
                    <a:pt x="318" y="148"/>
                  </a:lnTo>
                  <a:lnTo>
                    <a:pt x="318" y="148"/>
                  </a:lnTo>
                  <a:lnTo>
                    <a:pt x="322" y="150"/>
                  </a:lnTo>
                  <a:lnTo>
                    <a:pt x="322" y="150"/>
                  </a:lnTo>
                  <a:lnTo>
                    <a:pt x="322" y="150"/>
                  </a:lnTo>
                  <a:lnTo>
                    <a:pt x="314" y="150"/>
                  </a:lnTo>
                  <a:lnTo>
                    <a:pt x="314" y="154"/>
                  </a:lnTo>
                  <a:lnTo>
                    <a:pt x="326" y="154"/>
                  </a:lnTo>
                  <a:lnTo>
                    <a:pt x="326" y="154"/>
                  </a:lnTo>
                  <a:lnTo>
                    <a:pt x="328" y="148"/>
                  </a:lnTo>
                  <a:lnTo>
                    <a:pt x="328" y="148"/>
                  </a:lnTo>
                  <a:lnTo>
                    <a:pt x="334" y="150"/>
                  </a:lnTo>
                  <a:lnTo>
                    <a:pt x="340" y="152"/>
                  </a:lnTo>
                  <a:lnTo>
                    <a:pt x="340" y="152"/>
                  </a:lnTo>
                  <a:lnTo>
                    <a:pt x="344" y="148"/>
                  </a:lnTo>
                  <a:lnTo>
                    <a:pt x="344" y="148"/>
                  </a:lnTo>
                  <a:lnTo>
                    <a:pt x="352" y="146"/>
                  </a:lnTo>
                  <a:lnTo>
                    <a:pt x="360" y="148"/>
                  </a:lnTo>
                  <a:lnTo>
                    <a:pt x="360" y="148"/>
                  </a:lnTo>
                  <a:lnTo>
                    <a:pt x="360" y="150"/>
                  </a:lnTo>
                  <a:lnTo>
                    <a:pt x="360" y="150"/>
                  </a:lnTo>
                  <a:lnTo>
                    <a:pt x="352" y="150"/>
                  </a:lnTo>
                  <a:lnTo>
                    <a:pt x="344" y="152"/>
                  </a:lnTo>
                  <a:lnTo>
                    <a:pt x="344" y="152"/>
                  </a:lnTo>
                  <a:lnTo>
                    <a:pt x="344" y="156"/>
                  </a:lnTo>
                  <a:lnTo>
                    <a:pt x="344" y="156"/>
                  </a:lnTo>
                  <a:lnTo>
                    <a:pt x="342" y="156"/>
                  </a:lnTo>
                  <a:lnTo>
                    <a:pt x="340" y="154"/>
                  </a:lnTo>
                  <a:lnTo>
                    <a:pt x="340" y="154"/>
                  </a:lnTo>
                  <a:lnTo>
                    <a:pt x="336" y="156"/>
                  </a:lnTo>
                  <a:lnTo>
                    <a:pt x="334" y="156"/>
                  </a:lnTo>
                  <a:lnTo>
                    <a:pt x="334" y="156"/>
                  </a:lnTo>
                  <a:lnTo>
                    <a:pt x="322" y="160"/>
                  </a:lnTo>
                  <a:lnTo>
                    <a:pt x="318" y="162"/>
                  </a:lnTo>
                  <a:lnTo>
                    <a:pt x="318" y="164"/>
                  </a:lnTo>
                  <a:lnTo>
                    <a:pt x="320" y="166"/>
                  </a:lnTo>
                  <a:lnTo>
                    <a:pt x="320" y="166"/>
                  </a:lnTo>
                  <a:lnTo>
                    <a:pt x="324" y="168"/>
                  </a:lnTo>
                  <a:lnTo>
                    <a:pt x="330" y="170"/>
                  </a:lnTo>
                  <a:lnTo>
                    <a:pt x="330" y="170"/>
                  </a:lnTo>
                  <a:lnTo>
                    <a:pt x="330" y="168"/>
                  </a:lnTo>
                  <a:lnTo>
                    <a:pt x="332" y="166"/>
                  </a:lnTo>
                  <a:lnTo>
                    <a:pt x="332" y="166"/>
                  </a:lnTo>
                  <a:lnTo>
                    <a:pt x="334" y="168"/>
                  </a:lnTo>
                  <a:lnTo>
                    <a:pt x="338" y="170"/>
                  </a:lnTo>
                  <a:lnTo>
                    <a:pt x="338" y="170"/>
                  </a:lnTo>
                  <a:lnTo>
                    <a:pt x="346" y="168"/>
                  </a:lnTo>
                  <a:lnTo>
                    <a:pt x="346" y="168"/>
                  </a:lnTo>
                  <a:lnTo>
                    <a:pt x="358" y="168"/>
                  </a:lnTo>
                  <a:lnTo>
                    <a:pt x="358" y="168"/>
                  </a:lnTo>
                  <a:lnTo>
                    <a:pt x="360" y="168"/>
                  </a:lnTo>
                  <a:lnTo>
                    <a:pt x="364" y="170"/>
                  </a:lnTo>
                  <a:lnTo>
                    <a:pt x="364" y="170"/>
                  </a:lnTo>
                  <a:lnTo>
                    <a:pt x="368" y="168"/>
                  </a:lnTo>
                  <a:lnTo>
                    <a:pt x="374" y="166"/>
                  </a:lnTo>
                  <a:lnTo>
                    <a:pt x="374" y="166"/>
                  </a:lnTo>
                  <a:lnTo>
                    <a:pt x="376" y="168"/>
                  </a:lnTo>
                  <a:lnTo>
                    <a:pt x="376" y="168"/>
                  </a:lnTo>
                  <a:lnTo>
                    <a:pt x="380" y="170"/>
                  </a:lnTo>
                  <a:lnTo>
                    <a:pt x="380" y="170"/>
                  </a:lnTo>
                  <a:lnTo>
                    <a:pt x="384" y="168"/>
                  </a:lnTo>
                  <a:lnTo>
                    <a:pt x="386" y="164"/>
                  </a:lnTo>
                  <a:lnTo>
                    <a:pt x="386" y="164"/>
                  </a:lnTo>
                  <a:lnTo>
                    <a:pt x="390" y="166"/>
                  </a:lnTo>
                  <a:lnTo>
                    <a:pt x="392" y="168"/>
                  </a:lnTo>
                  <a:lnTo>
                    <a:pt x="392" y="168"/>
                  </a:lnTo>
                  <a:lnTo>
                    <a:pt x="392" y="170"/>
                  </a:lnTo>
                  <a:lnTo>
                    <a:pt x="392" y="170"/>
                  </a:lnTo>
                  <a:lnTo>
                    <a:pt x="398" y="170"/>
                  </a:lnTo>
                  <a:lnTo>
                    <a:pt x="398" y="170"/>
                  </a:lnTo>
                  <a:lnTo>
                    <a:pt x="400" y="168"/>
                  </a:lnTo>
                  <a:lnTo>
                    <a:pt x="404" y="166"/>
                  </a:lnTo>
                  <a:lnTo>
                    <a:pt x="404" y="166"/>
                  </a:lnTo>
                  <a:lnTo>
                    <a:pt x="404" y="166"/>
                  </a:lnTo>
                  <a:lnTo>
                    <a:pt x="406" y="168"/>
                  </a:lnTo>
                  <a:lnTo>
                    <a:pt x="406" y="168"/>
                  </a:lnTo>
                  <a:lnTo>
                    <a:pt x="406" y="170"/>
                  </a:lnTo>
                  <a:lnTo>
                    <a:pt x="406" y="170"/>
                  </a:lnTo>
                  <a:lnTo>
                    <a:pt x="402" y="170"/>
                  </a:lnTo>
                  <a:lnTo>
                    <a:pt x="402" y="170"/>
                  </a:lnTo>
                  <a:lnTo>
                    <a:pt x="402" y="174"/>
                  </a:lnTo>
                  <a:lnTo>
                    <a:pt x="396" y="176"/>
                  </a:lnTo>
                  <a:lnTo>
                    <a:pt x="396" y="176"/>
                  </a:lnTo>
                  <a:lnTo>
                    <a:pt x="396" y="180"/>
                  </a:lnTo>
                  <a:lnTo>
                    <a:pt x="396" y="180"/>
                  </a:lnTo>
                  <a:lnTo>
                    <a:pt x="388" y="180"/>
                  </a:lnTo>
                  <a:lnTo>
                    <a:pt x="378" y="180"/>
                  </a:lnTo>
                  <a:lnTo>
                    <a:pt x="378" y="180"/>
                  </a:lnTo>
                  <a:lnTo>
                    <a:pt x="374" y="176"/>
                  </a:lnTo>
                  <a:lnTo>
                    <a:pt x="374" y="176"/>
                  </a:lnTo>
                  <a:lnTo>
                    <a:pt x="358" y="180"/>
                  </a:lnTo>
                  <a:lnTo>
                    <a:pt x="358" y="180"/>
                  </a:lnTo>
                  <a:lnTo>
                    <a:pt x="356" y="182"/>
                  </a:lnTo>
                  <a:lnTo>
                    <a:pt x="356" y="182"/>
                  </a:lnTo>
                  <a:lnTo>
                    <a:pt x="352" y="184"/>
                  </a:lnTo>
                  <a:lnTo>
                    <a:pt x="344" y="184"/>
                  </a:lnTo>
                  <a:lnTo>
                    <a:pt x="332" y="182"/>
                  </a:lnTo>
                  <a:lnTo>
                    <a:pt x="332" y="182"/>
                  </a:lnTo>
                  <a:lnTo>
                    <a:pt x="334" y="184"/>
                  </a:lnTo>
                  <a:lnTo>
                    <a:pt x="332" y="188"/>
                  </a:lnTo>
                  <a:lnTo>
                    <a:pt x="332" y="190"/>
                  </a:lnTo>
                  <a:lnTo>
                    <a:pt x="332" y="190"/>
                  </a:lnTo>
                  <a:lnTo>
                    <a:pt x="332" y="194"/>
                  </a:lnTo>
                  <a:lnTo>
                    <a:pt x="334" y="194"/>
                  </a:lnTo>
                  <a:lnTo>
                    <a:pt x="334" y="194"/>
                  </a:lnTo>
                  <a:lnTo>
                    <a:pt x="334" y="198"/>
                  </a:lnTo>
                  <a:lnTo>
                    <a:pt x="334" y="198"/>
                  </a:lnTo>
                  <a:lnTo>
                    <a:pt x="340" y="200"/>
                  </a:lnTo>
                  <a:lnTo>
                    <a:pt x="340" y="200"/>
                  </a:lnTo>
                  <a:lnTo>
                    <a:pt x="340" y="204"/>
                  </a:lnTo>
                  <a:lnTo>
                    <a:pt x="340" y="204"/>
                  </a:lnTo>
                  <a:lnTo>
                    <a:pt x="346" y="206"/>
                  </a:lnTo>
                  <a:lnTo>
                    <a:pt x="354" y="208"/>
                  </a:lnTo>
                  <a:lnTo>
                    <a:pt x="354" y="208"/>
                  </a:lnTo>
                  <a:lnTo>
                    <a:pt x="358" y="208"/>
                  </a:lnTo>
                  <a:lnTo>
                    <a:pt x="358" y="208"/>
                  </a:lnTo>
                  <a:lnTo>
                    <a:pt x="364" y="208"/>
                  </a:lnTo>
                  <a:lnTo>
                    <a:pt x="370" y="210"/>
                  </a:lnTo>
                  <a:lnTo>
                    <a:pt x="370" y="210"/>
                  </a:lnTo>
                  <a:lnTo>
                    <a:pt x="372" y="216"/>
                  </a:lnTo>
                  <a:lnTo>
                    <a:pt x="374" y="222"/>
                  </a:lnTo>
                  <a:lnTo>
                    <a:pt x="374" y="222"/>
                  </a:lnTo>
                  <a:lnTo>
                    <a:pt x="376" y="222"/>
                  </a:lnTo>
                  <a:lnTo>
                    <a:pt x="380" y="222"/>
                  </a:lnTo>
                  <a:lnTo>
                    <a:pt x="382" y="224"/>
                  </a:lnTo>
                  <a:lnTo>
                    <a:pt x="382" y="224"/>
                  </a:lnTo>
                  <a:lnTo>
                    <a:pt x="384" y="224"/>
                  </a:lnTo>
                  <a:lnTo>
                    <a:pt x="384" y="226"/>
                  </a:lnTo>
                  <a:lnTo>
                    <a:pt x="384" y="226"/>
                  </a:lnTo>
                  <a:lnTo>
                    <a:pt x="390" y="226"/>
                  </a:lnTo>
                  <a:lnTo>
                    <a:pt x="396" y="224"/>
                  </a:lnTo>
                  <a:lnTo>
                    <a:pt x="396" y="224"/>
                  </a:lnTo>
                  <a:lnTo>
                    <a:pt x="396" y="222"/>
                  </a:lnTo>
                  <a:lnTo>
                    <a:pt x="396" y="222"/>
                  </a:lnTo>
                  <a:lnTo>
                    <a:pt x="400" y="220"/>
                  </a:lnTo>
                  <a:lnTo>
                    <a:pt x="400" y="220"/>
                  </a:lnTo>
                  <a:lnTo>
                    <a:pt x="404" y="220"/>
                  </a:lnTo>
                  <a:lnTo>
                    <a:pt x="406" y="222"/>
                  </a:lnTo>
                  <a:lnTo>
                    <a:pt x="406" y="222"/>
                  </a:lnTo>
                  <a:lnTo>
                    <a:pt x="420" y="222"/>
                  </a:lnTo>
                  <a:lnTo>
                    <a:pt x="420" y="220"/>
                  </a:lnTo>
                  <a:lnTo>
                    <a:pt x="420" y="220"/>
                  </a:lnTo>
                  <a:lnTo>
                    <a:pt x="428" y="218"/>
                  </a:lnTo>
                  <a:lnTo>
                    <a:pt x="428" y="218"/>
                  </a:lnTo>
                  <a:lnTo>
                    <a:pt x="434" y="218"/>
                  </a:lnTo>
                  <a:lnTo>
                    <a:pt x="436" y="214"/>
                  </a:lnTo>
                  <a:lnTo>
                    <a:pt x="436" y="214"/>
                  </a:lnTo>
                  <a:lnTo>
                    <a:pt x="436" y="214"/>
                  </a:lnTo>
                  <a:lnTo>
                    <a:pt x="440" y="214"/>
                  </a:lnTo>
                  <a:lnTo>
                    <a:pt x="440" y="214"/>
                  </a:lnTo>
                  <a:lnTo>
                    <a:pt x="446" y="212"/>
                  </a:lnTo>
                  <a:lnTo>
                    <a:pt x="452" y="208"/>
                  </a:lnTo>
                  <a:lnTo>
                    <a:pt x="452" y="208"/>
                  </a:lnTo>
                  <a:lnTo>
                    <a:pt x="458" y="208"/>
                  </a:lnTo>
                  <a:lnTo>
                    <a:pt x="462" y="206"/>
                  </a:lnTo>
                  <a:lnTo>
                    <a:pt x="462" y="206"/>
                  </a:lnTo>
                  <a:lnTo>
                    <a:pt x="466" y="200"/>
                  </a:lnTo>
                  <a:lnTo>
                    <a:pt x="466" y="200"/>
                  </a:lnTo>
                  <a:lnTo>
                    <a:pt x="468" y="200"/>
                  </a:lnTo>
                  <a:lnTo>
                    <a:pt x="472" y="200"/>
                  </a:lnTo>
                  <a:lnTo>
                    <a:pt x="472" y="200"/>
                  </a:lnTo>
                  <a:lnTo>
                    <a:pt x="478" y="194"/>
                  </a:lnTo>
                  <a:lnTo>
                    <a:pt x="478" y="192"/>
                  </a:lnTo>
                  <a:lnTo>
                    <a:pt x="478" y="192"/>
                  </a:lnTo>
                  <a:lnTo>
                    <a:pt x="482" y="194"/>
                  </a:lnTo>
                  <a:lnTo>
                    <a:pt x="484" y="194"/>
                  </a:lnTo>
                  <a:lnTo>
                    <a:pt x="484" y="194"/>
                  </a:lnTo>
                  <a:lnTo>
                    <a:pt x="480" y="204"/>
                  </a:lnTo>
                  <a:lnTo>
                    <a:pt x="480" y="204"/>
                  </a:lnTo>
                  <a:lnTo>
                    <a:pt x="482" y="206"/>
                  </a:lnTo>
                  <a:lnTo>
                    <a:pt x="482" y="206"/>
                  </a:lnTo>
                  <a:lnTo>
                    <a:pt x="492" y="208"/>
                  </a:lnTo>
                  <a:lnTo>
                    <a:pt x="492" y="208"/>
                  </a:lnTo>
                  <a:lnTo>
                    <a:pt x="492" y="212"/>
                  </a:lnTo>
                  <a:lnTo>
                    <a:pt x="492" y="212"/>
                  </a:lnTo>
                  <a:lnTo>
                    <a:pt x="496" y="212"/>
                  </a:lnTo>
                  <a:lnTo>
                    <a:pt x="496" y="212"/>
                  </a:lnTo>
                  <a:lnTo>
                    <a:pt x="498" y="210"/>
                  </a:lnTo>
                  <a:lnTo>
                    <a:pt x="498" y="210"/>
                  </a:lnTo>
                  <a:lnTo>
                    <a:pt x="502" y="212"/>
                  </a:lnTo>
                  <a:lnTo>
                    <a:pt x="508" y="214"/>
                  </a:lnTo>
                  <a:lnTo>
                    <a:pt x="508" y="214"/>
                  </a:lnTo>
                  <a:lnTo>
                    <a:pt x="510" y="214"/>
                  </a:lnTo>
                  <a:lnTo>
                    <a:pt x="512" y="212"/>
                  </a:lnTo>
                  <a:lnTo>
                    <a:pt x="512" y="212"/>
                  </a:lnTo>
                  <a:lnTo>
                    <a:pt x="514" y="216"/>
                  </a:lnTo>
                  <a:lnTo>
                    <a:pt x="516" y="216"/>
                  </a:lnTo>
                  <a:lnTo>
                    <a:pt x="518" y="216"/>
                  </a:lnTo>
                  <a:lnTo>
                    <a:pt x="518" y="216"/>
                  </a:lnTo>
                  <a:lnTo>
                    <a:pt x="520" y="216"/>
                  </a:lnTo>
                  <a:lnTo>
                    <a:pt x="520" y="212"/>
                  </a:lnTo>
                  <a:lnTo>
                    <a:pt x="520" y="212"/>
                  </a:lnTo>
                  <a:lnTo>
                    <a:pt x="528" y="214"/>
                  </a:lnTo>
                  <a:lnTo>
                    <a:pt x="530" y="210"/>
                  </a:lnTo>
                  <a:lnTo>
                    <a:pt x="530" y="210"/>
                  </a:lnTo>
                  <a:lnTo>
                    <a:pt x="534" y="210"/>
                  </a:lnTo>
                  <a:lnTo>
                    <a:pt x="536" y="208"/>
                  </a:lnTo>
                  <a:lnTo>
                    <a:pt x="536" y="208"/>
                  </a:lnTo>
                  <a:lnTo>
                    <a:pt x="538" y="206"/>
                  </a:lnTo>
                  <a:lnTo>
                    <a:pt x="538" y="204"/>
                  </a:lnTo>
                  <a:lnTo>
                    <a:pt x="538" y="204"/>
                  </a:lnTo>
                  <a:lnTo>
                    <a:pt x="536" y="204"/>
                  </a:lnTo>
                  <a:lnTo>
                    <a:pt x="536" y="204"/>
                  </a:lnTo>
                  <a:lnTo>
                    <a:pt x="536" y="200"/>
                  </a:lnTo>
                  <a:lnTo>
                    <a:pt x="536" y="200"/>
                  </a:lnTo>
                  <a:lnTo>
                    <a:pt x="532" y="200"/>
                  </a:lnTo>
                  <a:lnTo>
                    <a:pt x="528" y="200"/>
                  </a:lnTo>
                  <a:lnTo>
                    <a:pt x="528" y="200"/>
                  </a:lnTo>
                  <a:lnTo>
                    <a:pt x="526" y="202"/>
                  </a:lnTo>
                  <a:lnTo>
                    <a:pt x="526" y="204"/>
                  </a:lnTo>
                  <a:lnTo>
                    <a:pt x="526" y="204"/>
                  </a:lnTo>
                  <a:lnTo>
                    <a:pt x="522" y="204"/>
                  </a:lnTo>
                  <a:lnTo>
                    <a:pt x="522" y="204"/>
                  </a:lnTo>
                  <a:lnTo>
                    <a:pt x="520" y="202"/>
                  </a:lnTo>
                  <a:lnTo>
                    <a:pt x="518" y="198"/>
                  </a:lnTo>
                  <a:lnTo>
                    <a:pt x="518" y="198"/>
                  </a:lnTo>
                  <a:lnTo>
                    <a:pt x="514" y="196"/>
                  </a:lnTo>
                  <a:lnTo>
                    <a:pt x="514" y="192"/>
                  </a:lnTo>
                  <a:lnTo>
                    <a:pt x="514" y="192"/>
                  </a:lnTo>
                  <a:lnTo>
                    <a:pt x="520" y="192"/>
                  </a:lnTo>
                  <a:lnTo>
                    <a:pt x="520" y="192"/>
                  </a:lnTo>
                  <a:lnTo>
                    <a:pt x="524" y="198"/>
                  </a:lnTo>
                  <a:lnTo>
                    <a:pt x="524" y="198"/>
                  </a:lnTo>
                  <a:lnTo>
                    <a:pt x="530" y="198"/>
                  </a:lnTo>
                  <a:lnTo>
                    <a:pt x="538" y="198"/>
                  </a:lnTo>
                  <a:lnTo>
                    <a:pt x="538" y="198"/>
                  </a:lnTo>
                  <a:lnTo>
                    <a:pt x="538" y="196"/>
                  </a:lnTo>
                  <a:lnTo>
                    <a:pt x="538" y="196"/>
                  </a:lnTo>
                  <a:lnTo>
                    <a:pt x="532" y="194"/>
                  </a:lnTo>
                  <a:lnTo>
                    <a:pt x="532" y="194"/>
                  </a:lnTo>
                  <a:lnTo>
                    <a:pt x="530" y="192"/>
                  </a:lnTo>
                  <a:lnTo>
                    <a:pt x="532" y="192"/>
                  </a:lnTo>
                  <a:lnTo>
                    <a:pt x="536" y="190"/>
                  </a:lnTo>
                  <a:lnTo>
                    <a:pt x="536" y="190"/>
                  </a:lnTo>
                  <a:lnTo>
                    <a:pt x="536" y="190"/>
                  </a:lnTo>
                  <a:lnTo>
                    <a:pt x="538" y="188"/>
                  </a:lnTo>
                  <a:lnTo>
                    <a:pt x="538" y="188"/>
                  </a:lnTo>
                  <a:lnTo>
                    <a:pt x="540" y="192"/>
                  </a:lnTo>
                  <a:lnTo>
                    <a:pt x="546" y="194"/>
                  </a:lnTo>
                  <a:lnTo>
                    <a:pt x="546" y="194"/>
                  </a:lnTo>
                  <a:lnTo>
                    <a:pt x="546" y="198"/>
                  </a:lnTo>
                  <a:lnTo>
                    <a:pt x="546" y="198"/>
                  </a:lnTo>
                  <a:lnTo>
                    <a:pt x="548" y="198"/>
                  </a:lnTo>
                  <a:lnTo>
                    <a:pt x="550" y="200"/>
                  </a:lnTo>
                  <a:lnTo>
                    <a:pt x="550" y="200"/>
                  </a:lnTo>
                  <a:lnTo>
                    <a:pt x="552" y="198"/>
                  </a:lnTo>
                  <a:lnTo>
                    <a:pt x="552" y="198"/>
                  </a:lnTo>
                  <a:lnTo>
                    <a:pt x="552" y="198"/>
                  </a:lnTo>
                  <a:lnTo>
                    <a:pt x="552" y="194"/>
                  </a:lnTo>
                  <a:lnTo>
                    <a:pt x="552" y="194"/>
                  </a:lnTo>
                  <a:close/>
                  <a:moveTo>
                    <a:pt x="610" y="134"/>
                  </a:moveTo>
                  <a:lnTo>
                    <a:pt x="610" y="134"/>
                  </a:lnTo>
                  <a:lnTo>
                    <a:pt x="610" y="124"/>
                  </a:lnTo>
                  <a:lnTo>
                    <a:pt x="608" y="122"/>
                  </a:lnTo>
                  <a:lnTo>
                    <a:pt x="608" y="122"/>
                  </a:lnTo>
                  <a:lnTo>
                    <a:pt x="608" y="120"/>
                  </a:lnTo>
                  <a:lnTo>
                    <a:pt x="610" y="116"/>
                  </a:lnTo>
                  <a:lnTo>
                    <a:pt x="610" y="116"/>
                  </a:lnTo>
                  <a:lnTo>
                    <a:pt x="606" y="114"/>
                  </a:lnTo>
                  <a:lnTo>
                    <a:pt x="606" y="114"/>
                  </a:lnTo>
                  <a:lnTo>
                    <a:pt x="596" y="120"/>
                  </a:lnTo>
                  <a:lnTo>
                    <a:pt x="596" y="120"/>
                  </a:lnTo>
                  <a:lnTo>
                    <a:pt x="594" y="108"/>
                  </a:lnTo>
                  <a:lnTo>
                    <a:pt x="594" y="108"/>
                  </a:lnTo>
                  <a:lnTo>
                    <a:pt x="590" y="110"/>
                  </a:lnTo>
                  <a:lnTo>
                    <a:pt x="588" y="110"/>
                  </a:lnTo>
                  <a:lnTo>
                    <a:pt x="584" y="104"/>
                  </a:lnTo>
                  <a:lnTo>
                    <a:pt x="582" y="104"/>
                  </a:lnTo>
                  <a:lnTo>
                    <a:pt x="584" y="100"/>
                  </a:lnTo>
                  <a:lnTo>
                    <a:pt x="584" y="100"/>
                  </a:lnTo>
                  <a:lnTo>
                    <a:pt x="596" y="100"/>
                  </a:lnTo>
                  <a:lnTo>
                    <a:pt x="596" y="100"/>
                  </a:lnTo>
                  <a:lnTo>
                    <a:pt x="596" y="96"/>
                  </a:lnTo>
                  <a:lnTo>
                    <a:pt x="596" y="96"/>
                  </a:lnTo>
                  <a:lnTo>
                    <a:pt x="594" y="96"/>
                  </a:lnTo>
                  <a:lnTo>
                    <a:pt x="594" y="96"/>
                  </a:lnTo>
                  <a:lnTo>
                    <a:pt x="596" y="90"/>
                  </a:lnTo>
                  <a:lnTo>
                    <a:pt x="596" y="90"/>
                  </a:lnTo>
                  <a:lnTo>
                    <a:pt x="592" y="90"/>
                  </a:lnTo>
                  <a:lnTo>
                    <a:pt x="592" y="90"/>
                  </a:lnTo>
                  <a:lnTo>
                    <a:pt x="590" y="86"/>
                  </a:lnTo>
                  <a:lnTo>
                    <a:pt x="590" y="86"/>
                  </a:lnTo>
                  <a:lnTo>
                    <a:pt x="584" y="86"/>
                  </a:lnTo>
                  <a:lnTo>
                    <a:pt x="578" y="86"/>
                  </a:lnTo>
                  <a:lnTo>
                    <a:pt x="578" y="88"/>
                  </a:lnTo>
                  <a:lnTo>
                    <a:pt x="578" y="88"/>
                  </a:lnTo>
                  <a:lnTo>
                    <a:pt x="572" y="88"/>
                  </a:lnTo>
                  <a:lnTo>
                    <a:pt x="572" y="88"/>
                  </a:lnTo>
                  <a:lnTo>
                    <a:pt x="576" y="86"/>
                  </a:lnTo>
                  <a:lnTo>
                    <a:pt x="576" y="86"/>
                  </a:lnTo>
                  <a:lnTo>
                    <a:pt x="580" y="84"/>
                  </a:lnTo>
                  <a:lnTo>
                    <a:pt x="580" y="84"/>
                  </a:lnTo>
                  <a:lnTo>
                    <a:pt x="584" y="82"/>
                  </a:lnTo>
                  <a:lnTo>
                    <a:pt x="584" y="82"/>
                  </a:lnTo>
                  <a:lnTo>
                    <a:pt x="586" y="80"/>
                  </a:lnTo>
                  <a:lnTo>
                    <a:pt x="586" y="78"/>
                  </a:lnTo>
                  <a:lnTo>
                    <a:pt x="584" y="76"/>
                  </a:lnTo>
                  <a:lnTo>
                    <a:pt x="580" y="76"/>
                  </a:lnTo>
                  <a:lnTo>
                    <a:pt x="580" y="76"/>
                  </a:lnTo>
                  <a:lnTo>
                    <a:pt x="578" y="80"/>
                  </a:lnTo>
                  <a:lnTo>
                    <a:pt x="576" y="82"/>
                  </a:lnTo>
                  <a:lnTo>
                    <a:pt x="576" y="82"/>
                  </a:lnTo>
                  <a:lnTo>
                    <a:pt x="566" y="84"/>
                  </a:lnTo>
                  <a:lnTo>
                    <a:pt x="562" y="86"/>
                  </a:lnTo>
                  <a:lnTo>
                    <a:pt x="566" y="88"/>
                  </a:lnTo>
                  <a:lnTo>
                    <a:pt x="566" y="88"/>
                  </a:lnTo>
                  <a:lnTo>
                    <a:pt x="564" y="90"/>
                  </a:lnTo>
                  <a:lnTo>
                    <a:pt x="564" y="90"/>
                  </a:lnTo>
                  <a:lnTo>
                    <a:pt x="560" y="90"/>
                  </a:lnTo>
                  <a:lnTo>
                    <a:pt x="554" y="88"/>
                  </a:lnTo>
                  <a:lnTo>
                    <a:pt x="554" y="88"/>
                  </a:lnTo>
                  <a:lnTo>
                    <a:pt x="552" y="84"/>
                  </a:lnTo>
                  <a:lnTo>
                    <a:pt x="552" y="84"/>
                  </a:lnTo>
                  <a:lnTo>
                    <a:pt x="544" y="90"/>
                  </a:lnTo>
                  <a:lnTo>
                    <a:pt x="540" y="96"/>
                  </a:lnTo>
                  <a:lnTo>
                    <a:pt x="540" y="100"/>
                  </a:lnTo>
                  <a:lnTo>
                    <a:pt x="540" y="100"/>
                  </a:lnTo>
                  <a:lnTo>
                    <a:pt x="542" y="102"/>
                  </a:lnTo>
                  <a:lnTo>
                    <a:pt x="542" y="102"/>
                  </a:lnTo>
                  <a:lnTo>
                    <a:pt x="548" y="104"/>
                  </a:lnTo>
                  <a:lnTo>
                    <a:pt x="548" y="104"/>
                  </a:lnTo>
                  <a:lnTo>
                    <a:pt x="554" y="106"/>
                  </a:lnTo>
                  <a:lnTo>
                    <a:pt x="554" y="106"/>
                  </a:lnTo>
                  <a:lnTo>
                    <a:pt x="556" y="108"/>
                  </a:lnTo>
                  <a:lnTo>
                    <a:pt x="554" y="110"/>
                  </a:lnTo>
                  <a:lnTo>
                    <a:pt x="554" y="110"/>
                  </a:lnTo>
                  <a:lnTo>
                    <a:pt x="554" y="116"/>
                  </a:lnTo>
                  <a:lnTo>
                    <a:pt x="554" y="116"/>
                  </a:lnTo>
                  <a:lnTo>
                    <a:pt x="552" y="118"/>
                  </a:lnTo>
                  <a:lnTo>
                    <a:pt x="544" y="118"/>
                  </a:lnTo>
                  <a:lnTo>
                    <a:pt x="532" y="118"/>
                  </a:lnTo>
                  <a:lnTo>
                    <a:pt x="532" y="118"/>
                  </a:lnTo>
                  <a:lnTo>
                    <a:pt x="528" y="108"/>
                  </a:lnTo>
                  <a:lnTo>
                    <a:pt x="528" y="108"/>
                  </a:lnTo>
                  <a:lnTo>
                    <a:pt x="524" y="110"/>
                  </a:lnTo>
                  <a:lnTo>
                    <a:pt x="524" y="110"/>
                  </a:lnTo>
                  <a:lnTo>
                    <a:pt x="522" y="110"/>
                  </a:lnTo>
                  <a:lnTo>
                    <a:pt x="520" y="110"/>
                  </a:lnTo>
                  <a:lnTo>
                    <a:pt x="520" y="110"/>
                  </a:lnTo>
                  <a:lnTo>
                    <a:pt x="520" y="112"/>
                  </a:lnTo>
                  <a:lnTo>
                    <a:pt x="520" y="114"/>
                  </a:lnTo>
                  <a:lnTo>
                    <a:pt x="520" y="114"/>
                  </a:lnTo>
                  <a:lnTo>
                    <a:pt x="522" y="118"/>
                  </a:lnTo>
                  <a:lnTo>
                    <a:pt x="522" y="118"/>
                  </a:lnTo>
                  <a:lnTo>
                    <a:pt x="520" y="120"/>
                  </a:lnTo>
                  <a:lnTo>
                    <a:pt x="520" y="120"/>
                  </a:lnTo>
                  <a:lnTo>
                    <a:pt x="524" y="124"/>
                  </a:lnTo>
                  <a:lnTo>
                    <a:pt x="524" y="124"/>
                  </a:lnTo>
                  <a:lnTo>
                    <a:pt x="528" y="130"/>
                  </a:lnTo>
                  <a:lnTo>
                    <a:pt x="528" y="130"/>
                  </a:lnTo>
                  <a:lnTo>
                    <a:pt x="534" y="130"/>
                  </a:lnTo>
                  <a:lnTo>
                    <a:pt x="534" y="130"/>
                  </a:lnTo>
                  <a:lnTo>
                    <a:pt x="538" y="134"/>
                  </a:lnTo>
                  <a:lnTo>
                    <a:pt x="540" y="134"/>
                  </a:lnTo>
                  <a:lnTo>
                    <a:pt x="540" y="134"/>
                  </a:lnTo>
                  <a:lnTo>
                    <a:pt x="540" y="130"/>
                  </a:lnTo>
                  <a:lnTo>
                    <a:pt x="540" y="130"/>
                  </a:lnTo>
                  <a:lnTo>
                    <a:pt x="546" y="128"/>
                  </a:lnTo>
                  <a:lnTo>
                    <a:pt x="546" y="128"/>
                  </a:lnTo>
                  <a:lnTo>
                    <a:pt x="550" y="134"/>
                  </a:lnTo>
                  <a:lnTo>
                    <a:pt x="550" y="134"/>
                  </a:lnTo>
                  <a:lnTo>
                    <a:pt x="554" y="138"/>
                  </a:lnTo>
                  <a:lnTo>
                    <a:pt x="554" y="138"/>
                  </a:lnTo>
                  <a:lnTo>
                    <a:pt x="558" y="138"/>
                  </a:lnTo>
                  <a:lnTo>
                    <a:pt x="558" y="138"/>
                  </a:lnTo>
                  <a:lnTo>
                    <a:pt x="564" y="144"/>
                  </a:lnTo>
                  <a:lnTo>
                    <a:pt x="564" y="144"/>
                  </a:lnTo>
                  <a:lnTo>
                    <a:pt x="564" y="148"/>
                  </a:lnTo>
                  <a:lnTo>
                    <a:pt x="564" y="148"/>
                  </a:lnTo>
                  <a:lnTo>
                    <a:pt x="570" y="156"/>
                  </a:lnTo>
                  <a:lnTo>
                    <a:pt x="570" y="156"/>
                  </a:lnTo>
                  <a:lnTo>
                    <a:pt x="572" y="156"/>
                  </a:lnTo>
                  <a:lnTo>
                    <a:pt x="578" y="156"/>
                  </a:lnTo>
                  <a:lnTo>
                    <a:pt x="578" y="156"/>
                  </a:lnTo>
                  <a:lnTo>
                    <a:pt x="582" y="152"/>
                  </a:lnTo>
                  <a:lnTo>
                    <a:pt x="586" y="146"/>
                  </a:lnTo>
                  <a:lnTo>
                    <a:pt x="586" y="146"/>
                  </a:lnTo>
                  <a:lnTo>
                    <a:pt x="590" y="146"/>
                  </a:lnTo>
                  <a:lnTo>
                    <a:pt x="590" y="146"/>
                  </a:lnTo>
                  <a:lnTo>
                    <a:pt x="594" y="144"/>
                  </a:lnTo>
                  <a:lnTo>
                    <a:pt x="594" y="144"/>
                  </a:lnTo>
                  <a:lnTo>
                    <a:pt x="600" y="142"/>
                  </a:lnTo>
                  <a:lnTo>
                    <a:pt x="608" y="140"/>
                  </a:lnTo>
                  <a:lnTo>
                    <a:pt x="608" y="140"/>
                  </a:lnTo>
                  <a:lnTo>
                    <a:pt x="608" y="136"/>
                  </a:lnTo>
                  <a:lnTo>
                    <a:pt x="610" y="134"/>
                  </a:lnTo>
                  <a:close/>
                  <a:moveTo>
                    <a:pt x="614" y="204"/>
                  </a:moveTo>
                  <a:lnTo>
                    <a:pt x="602" y="194"/>
                  </a:lnTo>
                  <a:lnTo>
                    <a:pt x="602" y="194"/>
                  </a:lnTo>
                  <a:lnTo>
                    <a:pt x="596" y="194"/>
                  </a:lnTo>
                  <a:lnTo>
                    <a:pt x="594" y="192"/>
                  </a:lnTo>
                  <a:lnTo>
                    <a:pt x="594" y="192"/>
                  </a:lnTo>
                  <a:lnTo>
                    <a:pt x="592" y="192"/>
                  </a:lnTo>
                  <a:lnTo>
                    <a:pt x="590" y="194"/>
                  </a:lnTo>
                  <a:lnTo>
                    <a:pt x="590" y="194"/>
                  </a:lnTo>
                  <a:lnTo>
                    <a:pt x="590" y="190"/>
                  </a:lnTo>
                  <a:lnTo>
                    <a:pt x="590" y="190"/>
                  </a:lnTo>
                  <a:lnTo>
                    <a:pt x="586" y="190"/>
                  </a:lnTo>
                  <a:lnTo>
                    <a:pt x="586" y="190"/>
                  </a:lnTo>
                  <a:lnTo>
                    <a:pt x="584" y="192"/>
                  </a:lnTo>
                  <a:lnTo>
                    <a:pt x="584" y="192"/>
                  </a:lnTo>
                  <a:lnTo>
                    <a:pt x="584" y="198"/>
                  </a:lnTo>
                  <a:lnTo>
                    <a:pt x="584" y="198"/>
                  </a:lnTo>
                  <a:lnTo>
                    <a:pt x="582" y="196"/>
                  </a:lnTo>
                  <a:lnTo>
                    <a:pt x="582" y="196"/>
                  </a:lnTo>
                  <a:lnTo>
                    <a:pt x="582" y="196"/>
                  </a:lnTo>
                  <a:lnTo>
                    <a:pt x="578" y="196"/>
                  </a:lnTo>
                  <a:lnTo>
                    <a:pt x="578" y="196"/>
                  </a:lnTo>
                  <a:lnTo>
                    <a:pt x="578" y="196"/>
                  </a:lnTo>
                  <a:lnTo>
                    <a:pt x="576" y="204"/>
                  </a:lnTo>
                  <a:lnTo>
                    <a:pt x="574" y="208"/>
                  </a:lnTo>
                  <a:lnTo>
                    <a:pt x="572" y="210"/>
                  </a:lnTo>
                  <a:lnTo>
                    <a:pt x="572" y="210"/>
                  </a:lnTo>
                  <a:lnTo>
                    <a:pt x="568" y="210"/>
                  </a:lnTo>
                  <a:lnTo>
                    <a:pt x="568" y="210"/>
                  </a:lnTo>
                  <a:lnTo>
                    <a:pt x="566" y="212"/>
                  </a:lnTo>
                  <a:lnTo>
                    <a:pt x="566" y="212"/>
                  </a:lnTo>
                  <a:lnTo>
                    <a:pt x="568" y="214"/>
                  </a:lnTo>
                  <a:lnTo>
                    <a:pt x="570" y="216"/>
                  </a:lnTo>
                  <a:lnTo>
                    <a:pt x="570" y="216"/>
                  </a:lnTo>
                  <a:lnTo>
                    <a:pt x="572" y="214"/>
                  </a:lnTo>
                  <a:lnTo>
                    <a:pt x="574" y="214"/>
                  </a:lnTo>
                  <a:lnTo>
                    <a:pt x="574" y="216"/>
                  </a:lnTo>
                  <a:lnTo>
                    <a:pt x="574" y="216"/>
                  </a:lnTo>
                  <a:lnTo>
                    <a:pt x="576" y="218"/>
                  </a:lnTo>
                  <a:lnTo>
                    <a:pt x="576" y="218"/>
                  </a:lnTo>
                  <a:lnTo>
                    <a:pt x="578" y="216"/>
                  </a:lnTo>
                  <a:lnTo>
                    <a:pt x="580" y="214"/>
                  </a:lnTo>
                  <a:lnTo>
                    <a:pt x="582" y="214"/>
                  </a:lnTo>
                  <a:lnTo>
                    <a:pt x="582" y="214"/>
                  </a:lnTo>
                  <a:lnTo>
                    <a:pt x="582" y="216"/>
                  </a:lnTo>
                  <a:lnTo>
                    <a:pt x="582" y="218"/>
                  </a:lnTo>
                  <a:lnTo>
                    <a:pt x="582" y="220"/>
                  </a:lnTo>
                  <a:lnTo>
                    <a:pt x="582" y="220"/>
                  </a:lnTo>
                  <a:lnTo>
                    <a:pt x="586" y="222"/>
                  </a:lnTo>
                  <a:lnTo>
                    <a:pt x="588" y="226"/>
                  </a:lnTo>
                  <a:lnTo>
                    <a:pt x="588" y="226"/>
                  </a:lnTo>
                  <a:lnTo>
                    <a:pt x="590" y="226"/>
                  </a:lnTo>
                  <a:lnTo>
                    <a:pt x="592" y="226"/>
                  </a:lnTo>
                  <a:lnTo>
                    <a:pt x="592" y="226"/>
                  </a:lnTo>
                  <a:lnTo>
                    <a:pt x="592" y="226"/>
                  </a:lnTo>
                  <a:lnTo>
                    <a:pt x="594" y="226"/>
                  </a:lnTo>
                  <a:lnTo>
                    <a:pt x="596" y="226"/>
                  </a:lnTo>
                  <a:lnTo>
                    <a:pt x="596" y="226"/>
                  </a:lnTo>
                  <a:lnTo>
                    <a:pt x="598" y="224"/>
                  </a:lnTo>
                  <a:lnTo>
                    <a:pt x="598" y="224"/>
                  </a:lnTo>
                  <a:lnTo>
                    <a:pt x="598" y="224"/>
                  </a:lnTo>
                  <a:lnTo>
                    <a:pt x="598" y="224"/>
                  </a:lnTo>
                  <a:lnTo>
                    <a:pt x="598" y="220"/>
                  </a:lnTo>
                  <a:lnTo>
                    <a:pt x="598" y="220"/>
                  </a:lnTo>
                  <a:lnTo>
                    <a:pt x="604" y="222"/>
                  </a:lnTo>
                  <a:lnTo>
                    <a:pt x="610" y="220"/>
                  </a:lnTo>
                  <a:lnTo>
                    <a:pt x="610" y="220"/>
                  </a:lnTo>
                  <a:lnTo>
                    <a:pt x="616" y="220"/>
                  </a:lnTo>
                  <a:lnTo>
                    <a:pt x="616" y="220"/>
                  </a:lnTo>
                  <a:lnTo>
                    <a:pt x="618" y="216"/>
                  </a:lnTo>
                  <a:lnTo>
                    <a:pt x="618" y="216"/>
                  </a:lnTo>
                  <a:lnTo>
                    <a:pt x="614" y="216"/>
                  </a:lnTo>
                  <a:lnTo>
                    <a:pt x="614" y="216"/>
                  </a:lnTo>
                  <a:lnTo>
                    <a:pt x="614" y="210"/>
                  </a:lnTo>
                  <a:lnTo>
                    <a:pt x="614" y="204"/>
                  </a:lnTo>
                  <a:lnTo>
                    <a:pt x="614" y="204"/>
                  </a:lnTo>
                  <a:close/>
                  <a:moveTo>
                    <a:pt x="134" y="582"/>
                  </a:moveTo>
                  <a:lnTo>
                    <a:pt x="134" y="582"/>
                  </a:lnTo>
                  <a:lnTo>
                    <a:pt x="136" y="578"/>
                  </a:lnTo>
                  <a:lnTo>
                    <a:pt x="136" y="576"/>
                  </a:lnTo>
                  <a:lnTo>
                    <a:pt x="136" y="576"/>
                  </a:lnTo>
                  <a:lnTo>
                    <a:pt x="132" y="576"/>
                  </a:lnTo>
                  <a:lnTo>
                    <a:pt x="132" y="576"/>
                  </a:lnTo>
                  <a:lnTo>
                    <a:pt x="134" y="574"/>
                  </a:lnTo>
                  <a:lnTo>
                    <a:pt x="134" y="572"/>
                  </a:lnTo>
                  <a:lnTo>
                    <a:pt x="134" y="572"/>
                  </a:lnTo>
                  <a:lnTo>
                    <a:pt x="132" y="570"/>
                  </a:lnTo>
                  <a:lnTo>
                    <a:pt x="130" y="570"/>
                  </a:lnTo>
                  <a:lnTo>
                    <a:pt x="130" y="570"/>
                  </a:lnTo>
                  <a:lnTo>
                    <a:pt x="124" y="574"/>
                  </a:lnTo>
                  <a:lnTo>
                    <a:pt x="124" y="574"/>
                  </a:lnTo>
                  <a:lnTo>
                    <a:pt x="124" y="576"/>
                  </a:lnTo>
                  <a:lnTo>
                    <a:pt x="126" y="576"/>
                  </a:lnTo>
                  <a:lnTo>
                    <a:pt x="126" y="578"/>
                  </a:lnTo>
                  <a:lnTo>
                    <a:pt x="126" y="578"/>
                  </a:lnTo>
                  <a:lnTo>
                    <a:pt x="124" y="576"/>
                  </a:lnTo>
                  <a:lnTo>
                    <a:pt x="124" y="578"/>
                  </a:lnTo>
                  <a:lnTo>
                    <a:pt x="126" y="584"/>
                  </a:lnTo>
                  <a:lnTo>
                    <a:pt x="126" y="584"/>
                  </a:lnTo>
                  <a:lnTo>
                    <a:pt x="130" y="588"/>
                  </a:lnTo>
                  <a:lnTo>
                    <a:pt x="138" y="592"/>
                  </a:lnTo>
                  <a:lnTo>
                    <a:pt x="138" y="592"/>
                  </a:lnTo>
                  <a:lnTo>
                    <a:pt x="138" y="590"/>
                  </a:lnTo>
                  <a:lnTo>
                    <a:pt x="138" y="590"/>
                  </a:lnTo>
                  <a:lnTo>
                    <a:pt x="136" y="586"/>
                  </a:lnTo>
                  <a:lnTo>
                    <a:pt x="134" y="586"/>
                  </a:lnTo>
                  <a:lnTo>
                    <a:pt x="134" y="586"/>
                  </a:lnTo>
                  <a:lnTo>
                    <a:pt x="138" y="584"/>
                  </a:lnTo>
                  <a:lnTo>
                    <a:pt x="138" y="584"/>
                  </a:lnTo>
                  <a:lnTo>
                    <a:pt x="134" y="582"/>
                  </a:lnTo>
                  <a:lnTo>
                    <a:pt x="134" y="582"/>
                  </a:lnTo>
                  <a:close/>
                  <a:moveTo>
                    <a:pt x="470" y="122"/>
                  </a:moveTo>
                  <a:lnTo>
                    <a:pt x="470" y="122"/>
                  </a:lnTo>
                  <a:lnTo>
                    <a:pt x="474" y="124"/>
                  </a:lnTo>
                  <a:lnTo>
                    <a:pt x="474" y="124"/>
                  </a:lnTo>
                  <a:lnTo>
                    <a:pt x="476" y="126"/>
                  </a:lnTo>
                  <a:lnTo>
                    <a:pt x="480" y="126"/>
                  </a:lnTo>
                  <a:lnTo>
                    <a:pt x="480" y="126"/>
                  </a:lnTo>
                  <a:lnTo>
                    <a:pt x="482" y="124"/>
                  </a:lnTo>
                  <a:lnTo>
                    <a:pt x="482" y="124"/>
                  </a:lnTo>
                  <a:lnTo>
                    <a:pt x="480" y="116"/>
                  </a:lnTo>
                  <a:lnTo>
                    <a:pt x="480" y="116"/>
                  </a:lnTo>
                  <a:lnTo>
                    <a:pt x="478" y="114"/>
                  </a:lnTo>
                  <a:lnTo>
                    <a:pt x="474" y="112"/>
                  </a:lnTo>
                  <a:lnTo>
                    <a:pt x="474" y="112"/>
                  </a:lnTo>
                  <a:lnTo>
                    <a:pt x="472" y="108"/>
                  </a:lnTo>
                  <a:lnTo>
                    <a:pt x="472" y="104"/>
                  </a:lnTo>
                  <a:lnTo>
                    <a:pt x="462" y="96"/>
                  </a:lnTo>
                  <a:lnTo>
                    <a:pt x="462" y="96"/>
                  </a:lnTo>
                  <a:lnTo>
                    <a:pt x="458" y="96"/>
                  </a:lnTo>
                  <a:lnTo>
                    <a:pt x="458" y="96"/>
                  </a:lnTo>
                  <a:lnTo>
                    <a:pt x="456" y="108"/>
                  </a:lnTo>
                  <a:lnTo>
                    <a:pt x="460" y="120"/>
                  </a:lnTo>
                  <a:lnTo>
                    <a:pt x="460" y="120"/>
                  </a:lnTo>
                  <a:lnTo>
                    <a:pt x="470" y="122"/>
                  </a:lnTo>
                  <a:lnTo>
                    <a:pt x="470" y="122"/>
                  </a:lnTo>
                  <a:close/>
                  <a:moveTo>
                    <a:pt x="238" y="144"/>
                  </a:moveTo>
                  <a:lnTo>
                    <a:pt x="238" y="146"/>
                  </a:lnTo>
                  <a:lnTo>
                    <a:pt x="240" y="146"/>
                  </a:lnTo>
                  <a:lnTo>
                    <a:pt x="240" y="146"/>
                  </a:lnTo>
                  <a:lnTo>
                    <a:pt x="242" y="152"/>
                  </a:lnTo>
                  <a:lnTo>
                    <a:pt x="244" y="156"/>
                  </a:lnTo>
                  <a:lnTo>
                    <a:pt x="246" y="158"/>
                  </a:lnTo>
                  <a:lnTo>
                    <a:pt x="246" y="158"/>
                  </a:lnTo>
                  <a:lnTo>
                    <a:pt x="250" y="158"/>
                  </a:lnTo>
                  <a:lnTo>
                    <a:pt x="254" y="158"/>
                  </a:lnTo>
                  <a:lnTo>
                    <a:pt x="260" y="154"/>
                  </a:lnTo>
                  <a:lnTo>
                    <a:pt x="268" y="144"/>
                  </a:lnTo>
                  <a:lnTo>
                    <a:pt x="268" y="144"/>
                  </a:lnTo>
                  <a:lnTo>
                    <a:pt x="270" y="144"/>
                  </a:lnTo>
                  <a:lnTo>
                    <a:pt x="272" y="148"/>
                  </a:lnTo>
                  <a:lnTo>
                    <a:pt x="272" y="148"/>
                  </a:lnTo>
                  <a:lnTo>
                    <a:pt x="280" y="148"/>
                  </a:lnTo>
                  <a:lnTo>
                    <a:pt x="286" y="146"/>
                  </a:lnTo>
                  <a:lnTo>
                    <a:pt x="286" y="146"/>
                  </a:lnTo>
                  <a:lnTo>
                    <a:pt x="290" y="146"/>
                  </a:lnTo>
                  <a:lnTo>
                    <a:pt x="290" y="144"/>
                  </a:lnTo>
                  <a:lnTo>
                    <a:pt x="290" y="144"/>
                  </a:lnTo>
                  <a:lnTo>
                    <a:pt x="292" y="142"/>
                  </a:lnTo>
                  <a:lnTo>
                    <a:pt x="292" y="140"/>
                  </a:lnTo>
                  <a:lnTo>
                    <a:pt x="292" y="140"/>
                  </a:lnTo>
                  <a:lnTo>
                    <a:pt x="296" y="138"/>
                  </a:lnTo>
                  <a:lnTo>
                    <a:pt x="296" y="138"/>
                  </a:lnTo>
                  <a:lnTo>
                    <a:pt x="296" y="134"/>
                  </a:lnTo>
                  <a:lnTo>
                    <a:pt x="296" y="132"/>
                  </a:lnTo>
                  <a:lnTo>
                    <a:pt x="296" y="132"/>
                  </a:lnTo>
                  <a:lnTo>
                    <a:pt x="296" y="128"/>
                  </a:lnTo>
                  <a:lnTo>
                    <a:pt x="296" y="128"/>
                  </a:lnTo>
                  <a:lnTo>
                    <a:pt x="300" y="128"/>
                  </a:lnTo>
                  <a:lnTo>
                    <a:pt x="300" y="128"/>
                  </a:lnTo>
                  <a:lnTo>
                    <a:pt x="300" y="124"/>
                  </a:lnTo>
                  <a:lnTo>
                    <a:pt x="302" y="120"/>
                  </a:lnTo>
                  <a:lnTo>
                    <a:pt x="302" y="120"/>
                  </a:lnTo>
                  <a:lnTo>
                    <a:pt x="308" y="118"/>
                  </a:lnTo>
                  <a:lnTo>
                    <a:pt x="308" y="116"/>
                  </a:lnTo>
                  <a:lnTo>
                    <a:pt x="316" y="108"/>
                  </a:lnTo>
                  <a:lnTo>
                    <a:pt x="316" y="108"/>
                  </a:lnTo>
                  <a:lnTo>
                    <a:pt x="324" y="106"/>
                  </a:lnTo>
                  <a:lnTo>
                    <a:pt x="324" y="106"/>
                  </a:lnTo>
                  <a:lnTo>
                    <a:pt x="330" y="104"/>
                  </a:lnTo>
                  <a:lnTo>
                    <a:pt x="334" y="100"/>
                  </a:lnTo>
                  <a:lnTo>
                    <a:pt x="334" y="100"/>
                  </a:lnTo>
                  <a:lnTo>
                    <a:pt x="338" y="100"/>
                  </a:lnTo>
                  <a:lnTo>
                    <a:pt x="340" y="102"/>
                  </a:lnTo>
                  <a:lnTo>
                    <a:pt x="342" y="100"/>
                  </a:lnTo>
                  <a:lnTo>
                    <a:pt x="342" y="100"/>
                  </a:lnTo>
                  <a:lnTo>
                    <a:pt x="350" y="100"/>
                  </a:lnTo>
                  <a:lnTo>
                    <a:pt x="350" y="100"/>
                  </a:lnTo>
                  <a:lnTo>
                    <a:pt x="354" y="96"/>
                  </a:lnTo>
                  <a:lnTo>
                    <a:pt x="354" y="96"/>
                  </a:lnTo>
                  <a:lnTo>
                    <a:pt x="354" y="92"/>
                  </a:lnTo>
                  <a:lnTo>
                    <a:pt x="354" y="92"/>
                  </a:lnTo>
                  <a:lnTo>
                    <a:pt x="350" y="90"/>
                  </a:lnTo>
                  <a:lnTo>
                    <a:pt x="346" y="88"/>
                  </a:lnTo>
                  <a:lnTo>
                    <a:pt x="346" y="88"/>
                  </a:lnTo>
                  <a:lnTo>
                    <a:pt x="346" y="86"/>
                  </a:lnTo>
                  <a:lnTo>
                    <a:pt x="344" y="82"/>
                  </a:lnTo>
                  <a:lnTo>
                    <a:pt x="344" y="82"/>
                  </a:lnTo>
                  <a:lnTo>
                    <a:pt x="330" y="78"/>
                  </a:lnTo>
                  <a:lnTo>
                    <a:pt x="322" y="78"/>
                  </a:lnTo>
                  <a:lnTo>
                    <a:pt x="316" y="78"/>
                  </a:lnTo>
                  <a:lnTo>
                    <a:pt x="316" y="78"/>
                  </a:lnTo>
                  <a:lnTo>
                    <a:pt x="314" y="80"/>
                  </a:lnTo>
                  <a:lnTo>
                    <a:pt x="314" y="80"/>
                  </a:lnTo>
                  <a:lnTo>
                    <a:pt x="298" y="78"/>
                  </a:lnTo>
                  <a:lnTo>
                    <a:pt x="284" y="72"/>
                  </a:lnTo>
                  <a:lnTo>
                    <a:pt x="284" y="72"/>
                  </a:lnTo>
                  <a:lnTo>
                    <a:pt x="280" y="68"/>
                  </a:lnTo>
                  <a:lnTo>
                    <a:pt x="274" y="66"/>
                  </a:lnTo>
                  <a:lnTo>
                    <a:pt x="274" y="66"/>
                  </a:lnTo>
                  <a:lnTo>
                    <a:pt x="268" y="70"/>
                  </a:lnTo>
                  <a:lnTo>
                    <a:pt x="268" y="70"/>
                  </a:lnTo>
                  <a:lnTo>
                    <a:pt x="260" y="72"/>
                  </a:lnTo>
                  <a:lnTo>
                    <a:pt x="252" y="72"/>
                  </a:lnTo>
                  <a:lnTo>
                    <a:pt x="250" y="74"/>
                  </a:lnTo>
                  <a:lnTo>
                    <a:pt x="250" y="74"/>
                  </a:lnTo>
                  <a:lnTo>
                    <a:pt x="244" y="76"/>
                  </a:lnTo>
                  <a:lnTo>
                    <a:pt x="244" y="76"/>
                  </a:lnTo>
                  <a:lnTo>
                    <a:pt x="234" y="80"/>
                  </a:lnTo>
                  <a:lnTo>
                    <a:pt x="234" y="80"/>
                  </a:lnTo>
                  <a:lnTo>
                    <a:pt x="236" y="86"/>
                  </a:lnTo>
                  <a:lnTo>
                    <a:pt x="238" y="92"/>
                  </a:lnTo>
                  <a:lnTo>
                    <a:pt x="236" y="96"/>
                  </a:lnTo>
                  <a:lnTo>
                    <a:pt x="236" y="96"/>
                  </a:lnTo>
                  <a:lnTo>
                    <a:pt x="236" y="102"/>
                  </a:lnTo>
                  <a:lnTo>
                    <a:pt x="236" y="108"/>
                  </a:lnTo>
                  <a:lnTo>
                    <a:pt x="238" y="108"/>
                  </a:lnTo>
                  <a:lnTo>
                    <a:pt x="238" y="108"/>
                  </a:lnTo>
                  <a:lnTo>
                    <a:pt x="238" y="110"/>
                  </a:lnTo>
                  <a:lnTo>
                    <a:pt x="238" y="110"/>
                  </a:lnTo>
                  <a:lnTo>
                    <a:pt x="232" y="110"/>
                  </a:lnTo>
                  <a:lnTo>
                    <a:pt x="232" y="110"/>
                  </a:lnTo>
                  <a:lnTo>
                    <a:pt x="234" y="118"/>
                  </a:lnTo>
                  <a:lnTo>
                    <a:pt x="236" y="122"/>
                  </a:lnTo>
                  <a:lnTo>
                    <a:pt x="234" y="126"/>
                  </a:lnTo>
                  <a:lnTo>
                    <a:pt x="234" y="126"/>
                  </a:lnTo>
                  <a:lnTo>
                    <a:pt x="230" y="130"/>
                  </a:lnTo>
                  <a:lnTo>
                    <a:pt x="230" y="130"/>
                  </a:lnTo>
                  <a:lnTo>
                    <a:pt x="228" y="134"/>
                  </a:lnTo>
                  <a:lnTo>
                    <a:pt x="228" y="138"/>
                  </a:lnTo>
                  <a:lnTo>
                    <a:pt x="228" y="138"/>
                  </a:lnTo>
                  <a:lnTo>
                    <a:pt x="232" y="140"/>
                  </a:lnTo>
                  <a:lnTo>
                    <a:pt x="232" y="140"/>
                  </a:lnTo>
                  <a:lnTo>
                    <a:pt x="234" y="142"/>
                  </a:lnTo>
                  <a:lnTo>
                    <a:pt x="238" y="144"/>
                  </a:lnTo>
                  <a:lnTo>
                    <a:pt x="238" y="14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2" name="Freeform 237"/>
            <p:cNvSpPr>
              <a:spLocks noChangeAspect="1"/>
            </p:cNvSpPr>
            <p:nvPr/>
          </p:nvSpPr>
          <p:spPr bwMode="gray">
            <a:xfrm>
              <a:off x="6608179" y="4019658"/>
              <a:ext cx="119153" cy="131597"/>
            </a:xfrm>
            <a:custGeom>
              <a:avLst/>
              <a:gdLst/>
              <a:ahLst/>
              <a:cxnLst>
                <a:cxn ang="0">
                  <a:pos x="6" y="60"/>
                </a:cxn>
                <a:cxn ang="0">
                  <a:pos x="6" y="60"/>
                </a:cxn>
                <a:cxn ang="0">
                  <a:pos x="8" y="66"/>
                </a:cxn>
                <a:cxn ang="0">
                  <a:pos x="10" y="66"/>
                </a:cxn>
                <a:cxn ang="0">
                  <a:pos x="10" y="66"/>
                </a:cxn>
                <a:cxn ang="0">
                  <a:pos x="12" y="74"/>
                </a:cxn>
                <a:cxn ang="0">
                  <a:pos x="12" y="74"/>
                </a:cxn>
                <a:cxn ang="0">
                  <a:pos x="18" y="72"/>
                </a:cxn>
                <a:cxn ang="0">
                  <a:pos x="18" y="72"/>
                </a:cxn>
                <a:cxn ang="0">
                  <a:pos x="18" y="78"/>
                </a:cxn>
                <a:cxn ang="0">
                  <a:pos x="18" y="78"/>
                </a:cxn>
                <a:cxn ang="0">
                  <a:pos x="24" y="78"/>
                </a:cxn>
                <a:cxn ang="0">
                  <a:pos x="26" y="80"/>
                </a:cxn>
                <a:cxn ang="0">
                  <a:pos x="32" y="72"/>
                </a:cxn>
                <a:cxn ang="0">
                  <a:pos x="36" y="70"/>
                </a:cxn>
                <a:cxn ang="0">
                  <a:pos x="38" y="66"/>
                </a:cxn>
                <a:cxn ang="0">
                  <a:pos x="46" y="66"/>
                </a:cxn>
                <a:cxn ang="0">
                  <a:pos x="52" y="68"/>
                </a:cxn>
                <a:cxn ang="0">
                  <a:pos x="54" y="62"/>
                </a:cxn>
                <a:cxn ang="0">
                  <a:pos x="56" y="60"/>
                </a:cxn>
                <a:cxn ang="0">
                  <a:pos x="62" y="58"/>
                </a:cxn>
                <a:cxn ang="0">
                  <a:pos x="66" y="54"/>
                </a:cxn>
                <a:cxn ang="0">
                  <a:pos x="68" y="48"/>
                </a:cxn>
                <a:cxn ang="0">
                  <a:pos x="68" y="40"/>
                </a:cxn>
                <a:cxn ang="0">
                  <a:pos x="70" y="34"/>
                </a:cxn>
                <a:cxn ang="0">
                  <a:pos x="70" y="26"/>
                </a:cxn>
                <a:cxn ang="0">
                  <a:pos x="68" y="18"/>
                </a:cxn>
                <a:cxn ang="0">
                  <a:pos x="66" y="12"/>
                </a:cxn>
                <a:cxn ang="0">
                  <a:pos x="66" y="4"/>
                </a:cxn>
                <a:cxn ang="0">
                  <a:pos x="60" y="6"/>
                </a:cxn>
                <a:cxn ang="0">
                  <a:pos x="56" y="2"/>
                </a:cxn>
                <a:cxn ang="0">
                  <a:pos x="52" y="0"/>
                </a:cxn>
                <a:cxn ang="0">
                  <a:pos x="48" y="6"/>
                </a:cxn>
                <a:cxn ang="0">
                  <a:pos x="48" y="12"/>
                </a:cxn>
                <a:cxn ang="0">
                  <a:pos x="44" y="14"/>
                </a:cxn>
                <a:cxn ang="0">
                  <a:pos x="40" y="10"/>
                </a:cxn>
                <a:cxn ang="0">
                  <a:pos x="38" y="8"/>
                </a:cxn>
                <a:cxn ang="0">
                  <a:pos x="30" y="6"/>
                </a:cxn>
                <a:cxn ang="0">
                  <a:pos x="26" y="10"/>
                </a:cxn>
                <a:cxn ang="0">
                  <a:pos x="20" y="14"/>
                </a:cxn>
                <a:cxn ang="0">
                  <a:pos x="16" y="14"/>
                </a:cxn>
                <a:cxn ang="0">
                  <a:pos x="10" y="14"/>
                </a:cxn>
                <a:cxn ang="0">
                  <a:pos x="4" y="18"/>
                </a:cxn>
                <a:cxn ang="0">
                  <a:pos x="0" y="20"/>
                </a:cxn>
                <a:cxn ang="0">
                  <a:pos x="0" y="28"/>
                </a:cxn>
                <a:cxn ang="0">
                  <a:pos x="0" y="38"/>
                </a:cxn>
                <a:cxn ang="0">
                  <a:pos x="4" y="44"/>
                </a:cxn>
                <a:cxn ang="0">
                  <a:pos x="6" y="52"/>
                </a:cxn>
                <a:cxn ang="0">
                  <a:pos x="6" y="60"/>
                </a:cxn>
              </a:cxnLst>
              <a:rect l="0" t="0" r="r" b="b"/>
              <a:pathLst>
                <a:path w="70" h="80">
                  <a:moveTo>
                    <a:pt x="6" y="60"/>
                  </a:moveTo>
                  <a:lnTo>
                    <a:pt x="6" y="60"/>
                  </a:lnTo>
                  <a:lnTo>
                    <a:pt x="8" y="66"/>
                  </a:lnTo>
                  <a:lnTo>
                    <a:pt x="10" y="66"/>
                  </a:lnTo>
                  <a:lnTo>
                    <a:pt x="10" y="66"/>
                  </a:lnTo>
                  <a:lnTo>
                    <a:pt x="12" y="74"/>
                  </a:lnTo>
                  <a:lnTo>
                    <a:pt x="12" y="74"/>
                  </a:lnTo>
                  <a:lnTo>
                    <a:pt x="18" y="72"/>
                  </a:lnTo>
                  <a:lnTo>
                    <a:pt x="18" y="72"/>
                  </a:lnTo>
                  <a:lnTo>
                    <a:pt x="18" y="78"/>
                  </a:lnTo>
                  <a:lnTo>
                    <a:pt x="18" y="78"/>
                  </a:lnTo>
                  <a:lnTo>
                    <a:pt x="24" y="78"/>
                  </a:lnTo>
                  <a:lnTo>
                    <a:pt x="26" y="80"/>
                  </a:lnTo>
                  <a:lnTo>
                    <a:pt x="32" y="72"/>
                  </a:lnTo>
                  <a:lnTo>
                    <a:pt x="36" y="70"/>
                  </a:lnTo>
                  <a:lnTo>
                    <a:pt x="38" y="66"/>
                  </a:lnTo>
                  <a:lnTo>
                    <a:pt x="46" y="66"/>
                  </a:lnTo>
                  <a:lnTo>
                    <a:pt x="52" y="68"/>
                  </a:lnTo>
                  <a:lnTo>
                    <a:pt x="54" y="62"/>
                  </a:lnTo>
                  <a:lnTo>
                    <a:pt x="56" y="60"/>
                  </a:lnTo>
                  <a:lnTo>
                    <a:pt x="62" y="58"/>
                  </a:lnTo>
                  <a:lnTo>
                    <a:pt x="66" y="54"/>
                  </a:lnTo>
                  <a:lnTo>
                    <a:pt x="68" y="48"/>
                  </a:lnTo>
                  <a:lnTo>
                    <a:pt x="68" y="40"/>
                  </a:lnTo>
                  <a:lnTo>
                    <a:pt x="70" y="34"/>
                  </a:lnTo>
                  <a:lnTo>
                    <a:pt x="70" y="26"/>
                  </a:lnTo>
                  <a:lnTo>
                    <a:pt x="68" y="18"/>
                  </a:lnTo>
                  <a:lnTo>
                    <a:pt x="66" y="12"/>
                  </a:lnTo>
                  <a:lnTo>
                    <a:pt x="66" y="4"/>
                  </a:lnTo>
                  <a:lnTo>
                    <a:pt x="60" y="6"/>
                  </a:lnTo>
                  <a:lnTo>
                    <a:pt x="56" y="2"/>
                  </a:lnTo>
                  <a:lnTo>
                    <a:pt x="52" y="0"/>
                  </a:lnTo>
                  <a:lnTo>
                    <a:pt x="48" y="6"/>
                  </a:lnTo>
                  <a:lnTo>
                    <a:pt x="48" y="12"/>
                  </a:lnTo>
                  <a:lnTo>
                    <a:pt x="44" y="14"/>
                  </a:lnTo>
                  <a:lnTo>
                    <a:pt x="40" y="10"/>
                  </a:lnTo>
                  <a:lnTo>
                    <a:pt x="38" y="8"/>
                  </a:lnTo>
                  <a:lnTo>
                    <a:pt x="30" y="6"/>
                  </a:lnTo>
                  <a:lnTo>
                    <a:pt x="26" y="10"/>
                  </a:lnTo>
                  <a:lnTo>
                    <a:pt x="20" y="14"/>
                  </a:lnTo>
                  <a:lnTo>
                    <a:pt x="16" y="14"/>
                  </a:lnTo>
                  <a:lnTo>
                    <a:pt x="10" y="14"/>
                  </a:lnTo>
                  <a:lnTo>
                    <a:pt x="4" y="18"/>
                  </a:lnTo>
                  <a:lnTo>
                    <a:pt x="0" y="20"/>
                  </a:lnTo>
                  <a:lnTo>
                    <a:pt x="0" y="28"/>
                  </a:lnTo>
                  <a:lnTo>
                    <a:pt x="0" y="38"/>
                  </a:lnTo>
                  <a:lnTo>
                    <a:pt x="4" y="44"/>
                  </a:lnTo>
                  <a:lnTo>
                    <a:pt x="6" y="52"/>
                  </a:lnTo>
                  <a:lnTo>
                    <a:pt x="6" y="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3" name="Freeform 239"/>
            <p:cNvSpPr>
              <a:spLocks noChangeAspect="1"/>
            </p:cNvSpPr>
            <p:nvPr/>
          </p:nvSpPr>
          <p:spPr bwMode="gray">
            <a:xfrm>
              <a:off x="6387118" y="3677505"/>
              <a:ext cx="194408" cy="450722"/>
            </a:xfrm>
            <a:custGeom>
              <a:avLst/>
              <a:gdLst/>
              <a:ahLst/>
              <a:cxnLst>
                <a:cxn ang="0">
                  <a:pos x="90" y="260"/>
                </a:cxn>
                <a:cxn ang="0">
                  <a:pos x="92" y="234"/>
                </a:cxn>
                <a:cxn ang="0">
                  <a:pos x="76" y="202"/>
                </a:cxn>
                <a:cxn ang="0">
                  <a:pos x="78" y="186"/>
                </a:cxn>
                <a:cxn ang="0">
                  <a:pos x="72" y="158"/>
                </a:cxn>
                <a:cxn ang="0">
                  <a:pos x="72" y="138"/>
                </a:cxn>
                <a:cxn ang="0">
                  <a:pos x="84" y="132"/>
                </a:cxn>
                <a:cxn ang="0">
                  <a:pos x="90" y="122"/>
                </a:cxn>
                <a:cxn ang="0">
                  <a:pos x="106" y="122"/>
                </a:cxn>
                <a:cxn ang="0">
                  <a:pos x="114" y="104"/>
                </a:cxn>
                <a:cxn ang="0">
                  <a:pos x="100" y="88"/>
                </a:cxn>
                <a:cxn ang="0">
                  <a:pos x="90" y="82"/>
                </a:cxn>
                <a:cxn ang="0">
                  <a:pos x="90" y="72"/>
                </a:cxn>
                <a:cxn ang="0">
                  <a:pos x="86" y="58"/>
                </a:cxn>
                <a:cxn ang="0">
                  <a:pos x="74" y="64"/>
                </a:cxn>
                <a:cxn ang="0">
                  <a:pos x="70" y="56"/>
                </a:cxn>
                <a:cxn ang="0">
                  <a:pos x="72" y="42"/>
                </a:cxn>
                <a:cxn ang="0">
                  <a:pos x="78" y="22"/>
                </a:cxn>
                <a:cxn ang="0">
                  <a:pos x="76" y="6"/>
                </a:cxn>
                <a:cxn ang="0">
                  <a:pos x="66" y="0"/>
                </a:cxn>
                <a:cxn ang="0">
                  <a:pos x="56" y="16"/>
                </a:cxn>
                <a:cxn ang="0">
                  <a:pos x="44" y="30"/>
                </a:cxn>
                <a:cxn ang="0">
                  <a:pos x="28" y="44"/>
                </a:cxn>
                <a:cxn ang="0">
                  <a:pos x="30" y="52"/>
                </a:cxn>
                <a:cxn ang="0">
                  <a:pos x="14" y="64"/>
                </a:cxn>
                <a:cxn ang="0">
                  <a:pos x="16" y="88"/>
                </a:cxn>
                <a:cxn ang="0">
                  <a:pos x="10" y="98"/>
                </a:cxn>
                <a:cxn ang="0">
                  <a:pos x="4" y="104"/>
                </a:cxn>
                <a:cxn ang="0">
                  <a:pos x="6" y="114"/>
                </a:cxn>
                <a:cxn ang="0">
                  <a:pos x="0" y="120"/>
                </a:cxn>
                <a:cxn ang="0">
                  <a:pos x="4" y="128"/>
                </a:cxn>
                <a:cxn ang="0">
                  <a:pos x="6" y="124"/>
                </a:cxn>
                <a:cxn ang="0">
                  <a:pos x="8" y="122"/>
                </a:cxn>
                <a:cxn ang="0">
                  <a:pos x="14" y="122"/>
                </a:cxn>
                <a:cxn ang="0">
                  <a:pos x="16" y="132"/>
                </a:cxn>
                <a:cxn ang="0">
                  <a:pos x="20" y="140"/>
                </a:cxn>
                <a:cxn ang="0">
                  <a:pos x="18" y="148"/>
                </a:cxn>
                <a:cxn ang="0">
                  <a:pos x="24" y="154"/>
                </a:cxn>
                <a:cxn ang="0">
                  <a:pos x="26" y="162"/>
                </a:cxn>
                <a:cxn ang="0">
                  <a:pos x="20" y="190"/>
                </a:cxn>
                <a:cxn ang="0">
                  <a:pos x="22" y="192"/>
                </a:cxn>
                <a:cxn ang="0">
                  <a:pos x="26" y="192"/>
                </a:cxn>
                <a:cxn ang="0">
                  <a:pos x="38" y="194"/>
                </a:cxn>
                <a:cxn ang="0">
                  <a:pos x="40" y="188"/>
                </a:cxn>
                <a:cxn ang="0">
                  <a:pos x="42" y="188"/>
                </a:cxn>
                <a:cxn ang="0">
                  <a:pos x="50" y="176"/>
                </a:cxn>
                <a:cxn ang="0">
                  <a:pos x="60" y="180"/>
                </a:cxn>
                <a:cxn ang="0">
                  <a:pos x="60" y="184"/>
                </a:cxn>
                <a:cxn ang="0">
                  <a:pos x="66" y="186"/>
                </a:cxn>
                <a:cxn ang="0">
                  <a:pos x="68" y="200"/>
                </a:cxn>
                <a:cxn ang="0">
                  <a:pos x="74" y="224"/>
                </a:cxn>
                <a:cxn ang="0">
                  <a:pos x="78" y="230"/>
                </a:cxn>
                <a:cxn ang="0">
                  <a:pos x="82" y="258"/>
                </a:cxn>
                <a:cxn ang="0">
                  <a:pos x="80" y="260"/>
                </a:cxn>
                <a:cxn ang="0">
                  <a:pos x="86" y="274"/>
                </a:cxn>
              </a:cxnLst>
              <a:rect l="0" t="0" r="r" b="b"/>
              <a:pathLst>
                <a:path w="114" h="274">
                  <a:moveTo>
                    <a:pt x="86" y="274"/>
                  </a:moveTo>
                  <a:lnTo>
                    <a:pt x="88" y="268"/>
                  </a:lnTo>
                  <a:lnTo>
                    <a:pt x="90" y="260"/>
                  </a:lnTo>
                  <a:lnTo>
                    <a:pt x="96" y="252"/>
                  </a:lnTo>
                  <a:lnTo>
                    <a:pt x="96" y="244"/>
                  </a:lnTo>
                  <a:lnTo>
                    <a:pt x="92" y="234"/>
                  </a:lnTo>
                  <a:lnTo>
                    <a:pt x="84" y="226"/>
                  </a:lnTo>
                  <a:lnTo>
                    <a:pt x="80" y="214"/>
                  </a:lnTo>
                  <a:lnTo>
                    <a:pt x="76" y="202"/>
                  </a:lnTo>
                  <a:lnTo>
                    <a:pt x="84" y="198"/>
                  </a:lnTo>
                  <a:lnTo>
                    <a:pt x="84" y="192"/>
                  </a:lnTo>
                  <a:lnTo>
                    <a:pt x="78" y="186"/>
                  </a:lnTo>
                  <a:lnTo>
                    <a:pt x="72" y="178"/>
                  </a:lnTo>
                  <a:lnTo>
                    <a:pt x="70" y="166"/>
                  </a:lnTo>
                  <a:lnTo>
                    <a:pt x="72" y="158"/>
                  </a:lnTo>
                  <a:lnTo>
                    <a:pt x="72" y="152"/>
                  </a:lnTo>
                  <a:lnTo>
                    <a:pt x="70" y="144"/>
                  </a:lnTo>
                  <a:lnTo>
                    <a:pt x="72" y="138"/>
                  </a:lnTo>
                  <a:lnTo>
                    <a:pt x="76" y="138"/>
                  </a:lnTo>
                  <a:lnTo>
                    <a:pt x="80" y="132"/>
                  </a:lnTo>
                  <a:lnTo>
                    <a:pt x="84" y="132"/>
                  </a:lnTo>
                  <a:lnTo>
                    <a:pt x="84" y="128"/>
                  </a:lnTo>
                  <a:lnTo>
                    <a:pt x="86" y="122"/>
                  </a:lnTo>
                  <a:lnTo>
                    <a:pt x="90" y="122"/>
                  </a:lnTo>
                  <a:lnTo>
                    <a:pt x="94" y="124"/>
                  </a:lnTo>
                  <a:lnTo>
                    <a:pt x="104" y="124"/>
                  </a:lnTo>
                  <a:lnTo>
                    <a:pt x="106" y="122"/>
                  </a:lnTo>
                  <a:lnTo>
                    <a:pt x="106" y="116"/>
                  </a:lnTo>
                  <a:lnTo>
                    <a:pt x="112" y="108"/>
                  </a:lnTo>
                  <a:lnTo>
                    <a:pt x="114" y="104"/>
                  </a:lnTo>
                  <a:lnTo>
                    <a:pt x="104" y="102"/>
                  </a:lnTo>
                  <a:lnTo>
                    <a:pt x="102" y="96"/>
                  </a:lnTo>
                  <a:lnTo>
                    <a:pt x="100" y="88"/>
                  </a:lnTo>
                  <a:lnTo>
                    <a:pt x="96" y="88"/>
                  </a:lnTo>
                  <a:lnTo>
                    <a:pt x="90" y="86"/>
                  </a:lnTo>
                  <a:lnTo>
                    <a:pt x="90" y="82"/>
                  </a:lnTo>
                  <a:lnTo>
                    <a:pt x="94" y="76"/>
                  </a:lnTo>
                  <a:lnTo>
                    <a:pt x="94" y="72"/>
                  </a:lnTo>
                  <a:lnTo>
                    <a:pt x="90" y="72"/>
                  </a:lnTo>
                  <a:lnTo>
                    <a:pt x="88" y="66"/>
                  </a:lnTo>
                  <a:lnTo>
                    <a:pt x="88" y="62"/>
                  </a:lnTo>
                  <a:lnTo>
                    <a:pt x="86" y="58"/>
                  </a:lnTo>
                  <a:lnTo>
                    <a:pt x="82" y="58"/>
                  </a:lnTo>
                  <a:lnTo>
                    <a:pt x="76" y="60"/>
                  </a:lnTo>
                  <a:lnTo>
                    <a:pt x="74" y="64"/>
                  </a:lnTo>
                  <a:lnTo>
                    <a:pt x="72" y="64"/>
                  </a:lnTo>
                  <a:lnTo>
                    <a:pt x="70" y="62"/>
                  </a:lnTo>
                  <a:lnTo>
                    <a:pt x="70" y="56"/>
                  </a:lnTo>
                  <a:lnTo>
                    <a:pt x="68" y="52"/>
                  </a:lnTo>
                  <a:lnTo>
                    <a:pt x="68" y="48"/>
                  </a:lnTo>
                  <a:lnTo>
                    <a:pt x="72" y="42"/>
                  </a:lnTo>
                  <a:lnTo>
                    <a:pt x="76" y="36"/>
                  </a:lnTo>
                  <a:lnTo>
                    <a:pt x="78" y="26"/>
                  </a:lnTo>
                  <a:lnTo>
                    <a:pt x="78" y="22"/>
                  </a:lnTo>
                  <a:lnTo>
                    <a:pt x="76" y="18"/>
                  </a:lnTo>
                  <a:lnTo>
                    <a:pt x="78" y="10"/>
                  </a:lnTo>
                  <a:lnTo>
                    <a:pt x="76" y="6"/>
                  </a:lnTo>
                  <a:lnTo>
                    <a:pt x="74" y="0"/>
                  </a:lnTo>
                  <a:lnTo>
                    <a:pt x="70" y="0"/>
                  </a:lnTo>
                  <a:lnTo>
                    <a:pt x="66" y="0"/>
                  </a:lnTo>
                  <a:lnTo>
                    <a:pt x="66" y="10"/>
                  </a:lnTo>
                  <a:lnTo>
                    <a:pt x="60" y="18"/>
                  </a:lnTo>
                  <a:lnTo>
                    <a:pt x="56" y="16"/>
                  </a:lnTo>
                  <a:lnTo>
                    <a:pt x="48" y="16"/>
                  </a:lnTo>
                  <a:lnTo>
                    <a:pt x="44" y="26"/>
                  </a:lnTo>
                  <a:lnTo>
                    <a:pt x="44" y="30"/>
                  </a:lnTo>
                  <a:lnTo>
                    <a:pt x="38" y="36"/>
                  </a:lnTo>
                  <a:lnTo>
                    <a:pt x="34" y="40"/>
                  </a:lnTo>
                  <a:lnTo>
                    <a:pt x="28" y="44"/>
                  </a:lnTo>
                  <a:lnTo>
                    <a:pt x="26" y="46"/>
                  </a:lnTo>
                  <a:lnTo>
                    <a:pt x="30" y="48"/>
                  </a:lnTo>
                  <a:lnTo>
                    <a:pt x="30" y="52"/>
                  </a:lnTo>
                  <a:lnTo>
                    <a:pt x="24" y="60"/>
                  </a:lnTo>
                  <a:lnTo>
                    <a:pt x="22" y="68"/>
                  </a:lnTo>
                  <a:lnTo>
                    <a:pt x="14" y="64"/>
                  </a:lnTo>
                  <a:lnTo>
                    <a:pt x="14" y="76"/>
                  </a:lnTo>
                  <a:lnTo>
                    <a:pt x="16" y="82"/>
                  </a:lnTo>
                  <a:lnTo>
                    <a:pt x="16" y="88"/>
                  </a:lnTo>
                  <a:lnTo>
                    <a:pt x="16" y="92"/>
                  </a:lnTo>
                  <a:lnTo>
                    <a:pt x="14" y="96"/>
                  </a:lnTo>
                  <a:lnTo>
                    <a:pt x="10" y="98"/>
                  </a:lnTo>
                  <a:lnTo>
                    <a:pt x="6" y="96"/>
                  </a:lnTo>
                  <a:lnTo>
                    <a:pt x="2" y="96"/>
                  </a:lnTo>
                  <a:lnTo>
                    <a:pt x="4" y="104"/>
                  </a:lnTo>
                  <a:lnTo>
                    <a:pt x="6" y="108"/>
                  </a:lnTo>
                  <a:lnTo>
                    <a:pt x="6" y="114"/>
                  </a:lnTo>
                  <a:lnTo>
                    <a:pt x="6" y="114"/>
                  </a:lnTo>
                  <a:lnTo>
                    <a:pt x="2" y="112"/>
                  </a:lnTo>
                  <a:lnTo>
                    <a:pt x="0" y="116"/>
                  </a:lnTo>
                  <a:lnTo>
                    <a:pt x="0" y="120"/>
                  </a:lnTo>
                  <a:lnTo>
                    <a:pt x="0" y="120"/>
                  </a:lnTo>
                  <a:lnTo>
                    <a:pt x="2" y="128"/>
                  </a:lnTo>
                  <a:lnTo>
                    <a:pt x="4" y="128"/>
                  </a:lnTo>
                  <a:lnTo>
                    <a:pt x="4" y="128"/>
                  </a:lnTo>
                  <a:lnTo>
                    <a:pt x="6" y="126"/>
                  </a:lnTo>
                  <a:lnTo>
                    <a:pt x="6" y="124"/>
                  </a:lnTo>
                  <a:lnTo>
                    <a:pt x="6" y="124"/>
                  </a:lnTo>
                  <a:lnTo>
                    <a:pt x="8" y="124"/>
                  </a:lnTo>
                  <a:lnTo>
                    <a:pt x="8" y="122"/>
                  </a:lnTo>
                  <a:lnTo>
                    <a:pt x="8" y="122"/>
                  </a:lnTo>
                  <a:lnTo>
                    <a:pt x="14" y="122"/>
                  </a:lnTo>
                  <a:lnTo>
                    <a:pt x="14" y="122"/>
                  </a:lnTo>
                  <a:lnTo>
                    <a:pt x="14" y="130"/>
                  </a:lnTo>
                  <a:lnTo>
                    <a:pt x="16" y="132"/>
                  </a:lnTo>
                  <a:lnTo>
                    <a:pt x="16" y="132"/>
                  </a:lnTo>
                  <a:lnTo>
                    <a:pt x="16" y="138"/>
                  </a:lnTo>
                  <a:lnTo>
                    <a:pt x="16" y="138"/>
                  </a:lnTo>
                  <a:lnTo>
                    <a:pt x="20" y="140"/>
                  </a:lnTo>
                  <a:lnTo>
                    <a:pt x="20" y="140"/>
                  </a:lnTo>
                  <a:lnTo>
                    <a:pt x="18" y="146"/>
                  </a:lnTo>
                  <a:lnTo>
                    <a:pt x="18" y="148"/>
                  </a:lnTo>
                  <a:lnTo>
                    <a:pt x="20" y="152"/>
                  </a:lnTo>
                  <a:lnTo>
                    <a:pt x="20" y="152"/>
                  </a:lnTo>
                  <a:lnTo>
                    <a:pt x="24" y="154"/>
                  </a:lnTo>
                  <a:lnTo>
                    <a:pt x="24" y="154"/>
                  </a:lnTo>
                  <a:lnTo>
                    <a:pt x="26" y="162"/>
                  </a:lnTo>
                  <a:lnTo>
                    <a:pt x="26" y="162"/>
                  </a:lnTo>
                  <a:lnTo>
                    <a:pt x="24" y="168"/>
                  </a:lnTo>
                  <a:lnTo>
                    <a:pt x="22" y="174"/>
                  </a:lnTo>
                  <a:lnTo>
                    <a:pt x="20" y="190"/>
                  </a:lnTo>
                  <a:lnTo>
                    <a:pt x="20" y="190"/>
                  </a:lnTo>
                  <a:lnTo>
                    <a:pt x="22" y="192"/>
                  </a:lnTo>
                  <a:lnTo>
                    <a:pt x="22" y="192"/>
                  </a:lnTo>
                  <a:lnTo>
                    <a:pt x="24" y="192"/>
                  </a:lnTo>
                  <a:lnTo>
                    <a:pt x="26" y="192"/>
                  </a:lnTo>
                  <a:lnTo>
                    <a:pt x="26" y="192"/>
                  </a:lnTo>
                  <a:lnTo>
                    <a:pt x="28" y="194"/>
                  </a:lnTo>
                  <a:lnTo>
                    <a:pt x="28" y="194"/>
                  </a:lnTo>
                  <a:lnTo>
                    <a:pt x="38" y="194"/>
                  </a:lnTo>
                  <a:lnTo>
                    <a:pt x="38" y="194"/>
                  </a:lnTo>
                  <a:lnTo>
                    <a:pt x="38" y="190"/>
                  </a:lnTo>
                  <a:lnTo>
                    <a:pt x="40" y="188"/>
                  </a:lnTo>
                  <a:lnTo>
                    <a:pt x="40" y="188"/>
                  </a:lnTo>
                  <a:lnTo>
                    <a:pt x="42" y="188"/>
                  </a:lnTo>
                  <a:lnTo>
                    <a:pt x="42" y="188"/>
                  </a:lnTo>
                  <a:lnTo>
                    <a:pt x="46" y="186"/>
                  </a:lnTo>
                  <a:lnTo>
                    <a:pt x="48" y="184"/>
                  </a:lnTo>
                  <a:lnTo>
                    <a:pt x="50" y="176"/>
                  </a:lnTo>
                  <a:lnTo>
                    <a:pt x="52" y="174"/>
                  </a:lnTo>
                  <a:lnTo>
                    <a:pt x="52" y="174"/>
                  </a:lnTo>
                  <a:lnTo>
                    <a:pt x="60" y="180"/>
                  </a:lnTo>
                  <a:lnTo>
                    <a:pt x="60" y="180"/>
                  </a:lnTo>
                  <a:lnTo>
                    <a:pt x="60" y="182"/>
                  </a:lnTo>
                  <a:lnTo>
                    <a:pt x="60" y="184"/>
                  </a:lnTo>
                  <a:lnTo>
                    <a:pt x="60" y="184"/>
                  </a:lnTo>
                  <a:lnTo>
                    <a:pt x="66" y="186"/>
                  </a:lnTo>
                  <a:lnTo>
                    <a:pt x="66" y="186"/>
                  </a:lnTo>
                  <a:lnTo>
                    <a:pt x="64" y="196"/>
                  </a:lnTo>
                  <a:lnTo>
                    <a:pt x="64" y="196"/>
                  </a:lnTo>
                  <a:lnTo>
                    <a:pt x="68" y="200"/>
                  </a:lnTo>
                  <a:lnTo>
                    <a:pt x="68" y="200"/>
                  </a:lnTo>
                  <a:lnTo>
                    <a:pt x="74" y="224"/>
                  </a:lnTo>
                  <a:lnTo>
                    <a:pt x="74" y="224"/>
                  </a:lnTo>
                  <a:lnTo>
                    <a:pt x="74" y="228"/>
                  </a:lnTo>
                  <a:lnTo>
                    <a:pt x="74" y="228"/>
                  </a:lnTo>
                  <a:lnTo>
                    <a:pt x="78" y="230"/>
                  </a:lnTo>
                  <a:lnTo>
                    <a:pt x="78" y="230"/>
                  </a:lnTo>
                  <a:lnTo>
                    <a:pt x="80" y="244"/>
                  </a:lnTo>
                  <a:lnTo>
                    <a:pt x="82" y="258"/>
                  </a:lnTo>
                  <a:lnTo>
                    <a:pt x="82" y="258"/>
                  </a:lnTo>
                  <a:lnTo>
                    <a:pt x="80" y="260"/>
                  </a:lnTo>
                  <a:lnTo>
                    <a:pt x="80" y="260"/>
                  </a:lnTo>
                  <a:lnTo>
                    <a:pt x="82" y="262"/>
                  </a:lnTo>
                  <a:lnTo>
                    <a:pt x="82" y="262"/>
                  </a:lnTo>
                  <a:lnTo>
                    <a:pt x="86" y="274"/>
                  </a:lnTo>
                  <a:lnTo>
                    <a:pt x="86" y="27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4" name="Freeform 241"/>
            <p:cNvSpPr>
              <a:spLocks noChangeAspect="1"/>
            </p:cNvSpPr>
            <p:nvPr/>
          </p:nvSpPr>
          <p:spPr bwMode="gray">
            <a:xfrm>
              <a:off x="4800496" y="3160983"/>
              <a:ext cx="136399" cy="95409"/>
            </a:xfrm>
            <a:custGeom>
              <a:avLst/>
              <a:gdLst/>
              <a:ahLst/>
              <a:cxnLst>
                <a:cxn ang="0">
                  <a:pos x="80" y="4"/>
                </a:cxn>
                <a:cxn ang="0">
                  <a:pos x="74" y="0"/>
                </a:cxn>
                <a:cxn ang="0">
                  <a:pos x="66" y="2"/>
                </a:cxn>
                <a:cxn ang="0">
                  <a:pos x="62" y="4"/>
                </a:cxn>
                <a:cxn ang="0">
                  <a:pos x="56" y="0"/>
                </a:cxn>
                <a:cxn ang="0">
                  <a:pos x="52" y="0"/>
                </a:cxn>
                <a:cxn ang="0">
                  <a:pos x="48" y="4"/>
                </a:cxn>
                <a:cxn ang="0">
                  <a:pos x="40" y="8"/>
                </a:cxn>
                <a:cxn ang="0">
                  <a:pos x="34" y="8"/>
                </a:cxn>
                <a:cxn ang="0">
                  <a:pos x="28" y="8"/>
                </a:cxn>
                <a:cxn ang="0">
                  <a:pos x="24" y="8"/>
                </a:cxn>
                <a:cxn ang="0">
                  <a:pos x="20" y="8"/>
                </a:cxn>
                <a:cxn ang="0">
                  <a:pos x="16" y="8"/>
                </a:cxn>
                <a:cxn ang="0">
                  <a:pos x="14" y="6"/>
                </a:cxn>
                <a:cxn ang="0">
                  <a:pos x="16" y="4"/>
                </a:cxn>
                <a:cxn ang="0">
                  <a:pos x="14" y="2"/>
                </a:cxn>
                <a:cxn ang="0">
                  <a:pos x="10" y="0"/>
                </a:cxn>
                <a:cxn ang="0">
                  <a:pos x="6" y="8"/>
                </a:cxn>
                <a:cxn ang="0">
                  <a:pos x="2" y="10"/>
                </a:cxn>
                <a:cxn ang="0">
                  <a:pos x="2" y="12"/>
                </a:cxn>
                <a:cxn ang="0">
                  <a:pos x="2" y="20"/>
                </a:cxn>
                <a:cxn ang="0">
                  <a:pos x="4" y="22"/>
                </a:cxn>
                <a:cxn ang="0">
                  <a:pos x="10" y="24"/>
                </a:cxn>
                <a:cxn ang="0">
                  <a:pos x="10" y="26"/>
                </a:cxn>
                <a:cxn ang="0">
                  <a:pos x="6" y="32"/>
                </a:cxn>
                <a:cxn ang="0">
                  <a:pos x="4" y="36"/>
                </a:cxn>
                <a:cxn ang="0">
                  <a:pos x="8" y="40"/>
                </a:cxn>
                <a:cxn ang="0">
                  <a:pos x="8" y="42"/>
                </a:cxn>
                <a:cxn ang="0">
                  <a:pos x="8" y="44"/>
                </a:cxn>
                <a:cxn ang="0">
                  <a:pos x="8" y="46"/>
                </a:cxn>
                <a:cxn ang="0">
                  <a:pos x="10" y="50"/>
                </a:cxn>
                <a:cxn ang="0">
                  <a:pos x="10" y="56"/>
                </a:cxn>
                <a:cxn ang="0">
                  <a:pos x="20" y="58"/>
                </a:cxn>
                <a:cxn ang="0">
                  <a:pos x="24" y="58"/>
                </a:cxn>
                <a:cxn ang="0">
                  <a:pos x="26" y="54"/>
                </a:cxn>
                <a:cxn ang="0">
                  <a:pos x="30" y="50"/>
                </a:cxn>
                <a:cxn ang="0">
                  <a:pos x="36" y="52"/>
                </a:cxn>
                <a:cxn ang="0">
                  <a:pos x="40" y="54"/>
                </a:cxn>
                <a:cxn ang="0">
                  <a:pos x="40" y="56"/>
                </a:cxn>
                <a:cxn ang="0">
                  <a:pos x="46" y="56"/>
                </a:cxn>
                <a:cxn ang="0">
                  <a:pos x="52" y="56"/>
                </a:cxn>
                <a:cxn ang="0">
                  <a:pos x="50" y="54"/>
                </a:cxn>
                <a:cxn ang="0">
                  <a:pos x="52" y="50"/>
                </a:cxn>
                <a:cxn ang="0">
                  <a:pos x="56" y="50"/>
                </a:cxn>
                <a:cxn ang="0">
                  <a:pos x="56" y="48"/>
                </a:cxn>
                <a:cxn ang="0">
                  <a:pos x="60" y="46"/>
                </a:cxn>
                <a:cxn ang="0">
                  <a:pos x="64" y="48"/>
                </a:cxn>
                <a:cxn ang="0">
                  <a:pos x="72" y="48"/>
                </a:cxn>
                <a:cxn ang="0">
                  <a:pos x="70" y="42"/>
                </a:cxn>
                <a:cxn ang="0">
                  <a:pos x="66" y="40"/>
                </a:cxn>
                <a:cxn ang="0">
                  <a:pos x="70" y="34"/>
                </a:cxn>
                <a:cxn ang="0">
                  <a:pos x="70" y="34"/>
                </a:cxn>
                <a:cxn ang="0">
                  <a:pos x="70" y="28"/>
                </a:cxn>
                <a:cxn ang="0">
                  <a:pos x="80" y="20"/>
                </a:cxn>
                <a:cxn ang="0">
                  <a:pos x="80" y="16"/>
                </a:cxn>
                <a:cxn ang="0">
                  <a:pos x="80" y="4"/>
                </a:cxn>
              </a:cxnLst>
              <a:rect l="0" t="0" r="r" b="b"/>
              <a:pathLst>
                <a:path w="80" h="58">
                  <a:moveTo>
                    <a:pt x="80" y="4"/>
                  </a:moveTo>
                  <a:lnTo>
                    <a:pt x="80" y="4"/>
                  </a:lnTo>
                  <a:lnTo>
                    <a:pt x="74" y="0"/>
                  </a:lnTo>
                  <a:lnTo>
                    <a:pt x="74" y="0"/>
                  </a:lnTo>
                  <a:lnTo>
                    <a:pt x="70" y="0"/>
                  </a:lnTo>
                  <a:lnTo>
                    <a:pt x="66" y="2"/>
                  </a:lnTo>
                  <a:lnTo>
                    <a:pt x="66" y="2"/>
                  </a:lnTo>
                  <a:lnTo>
                    <a:pt x="62" y="4"/>
                  </a:lnTo>
                  <a:lnTo>
                    <a:pt x="60" y="2"/>
                  </a:lnTo>
                  <a:lnTo>
                    <a:pt x="56" y="0"/>
                  </a:lnTo>
                  <a:lnTo>
                    <a:pt x="56" y="0"/>
                  </a:lnTo>
                  <a:lnTo>
                    <a:pt x="52" y="0"/>
                  </a:lnTo>
                  <a:lnTo>
                    <a:pt x="48" y="4"/>
                  </a:lnTo>
                  <a:lnTo>
                    <a:pt x="48" y="4"/>
                  </a:lnTo>
                  <a:lnTo>
                    <a:pt x="44" y="6"/>
                  </a:lnTo>
                  <a:lnTo>
                    <a:pt x="40" y="8"/>
                  </a:lnTo>
                  <a:lnTo>
                    <a:pt x="40" y="8"/>
                  </a:lnTo>
                  <a:lnTo>
                    <a:pt x="34" y="8"/>
                  </a:lnTo>
                  <a:lnTo>
                    <a:pt x="28" y="8"/>
                  </a:lnTo>
                  <a:lnTo>
                    <a:pt x="28" y="8"/>
                  </a:lnTo>
                  <a:lnTo>
                    <a:pt x="26" y="6"/>
                  </a:lnTo>
                  <a:lnTo>
                    <a:pt x="24" y="8"/>
                  </a:lnTo>
                  <a:lnTo>
                    <a:pt x="24" y="8"/>
                  </a:lnTo>
                  <a:lnTo>
                    <a:pt x="20" y="8"/>
                  </a:lnTo>
                  <a:lnTo>
                    <a:pt x="20" y="8"/>
                  </a:lnTo>
                  <a:lnTo>
                    <a:pt x="16" y="8"/>
                  </a:lnTo>
                  <a:lnTo>
                    <a:pt x="14" y="8"/>
                  </a:lnTo>
                  <a:lnTo>
                    <a:pt x="14" y="6"/>
                  </a:lnTo>
                  <a:lnTo>
                    <a:pt x="16" y="4"/>
                  </a:lnTo>
                  <a:lnTo>
                    <a:pt x="16" y="4"/>
                  </a:lnTo>
                  <a:lnTo>
                    <a:pt x="16" y="2"/>
                  </a:lnTo>
                  <a:lnTo>
                    <a:pt x="14" y="2"/>
                  </a:lnTo>
                  <a:lnTo>
                    <a:pt x="10" y="0"/>
                  </a:lnTo>
                  <a:lnTo>
                    <a:pt x="10" y="0"/>
                  </a:lnTo>
                  <a:lnTo>
                    <a:pt x="10" y="4"/>
                  </a:lnTo>
                  <a:lnTo>
                    <a:pt x="6" y="8"/>
                  </a:lnTo>
                  <a:lnTo>
                    <a:pt x="6" y="8"/>
                  </a:lnTo>
                  <a:lnTo>
                    <a:pt x="2" y="10"/>
                  </a:lnTo>
                  <a:lnTo>
                    <a:pt x="2" y="12"/>
                  </a:lnTo>
                  <a:lnTo>
                    <a:pt x="2" y="12"/>
                  </a:lnTo>
                  <a:lnTo>
                    <a:pt x="0" y="16"/>
                  </a:lnTo>
                  <a:lnTo>
                    <a:pt x="2" y="20"/>
                  </a:lnTo>
                  <a:lnTo>
                    <a:pt x="2" y="20"/>
                  </a:lnTo>
                  <a:lnTo>
                    <a:pt x="4" y="22"/>
                  </a:lnTo>
                  <a:lnTo>
                    <a:pt x="10" y="24"/>
                  </a:lnTo>
                  <a:lnTo>
                    <a:pt x="10" y="24"/>
                  </a:lnTo>
                  <a:lnTo>
                    <a:pt x="10" y="24"/>
                  </a:lnTo>
                  <a:lnTo>
                    <a:pt x="10" y="26"/>
                  </a:lnTo>
                  <a:lnTo>
                    <a:pt x="6" y="32"/>
                  </a:lnTo>
                  <a:lnTo>
                    <a:pt x="6" y="32"/>
                  </a:lnTo>
                  <a:lnTo>
                    <a:pt x="4" y="36"/>
                  </a:lnTo>
                  <a:lnTo>
                    <a:pt x="4" y="36"/>
                  </a:lnTo>
                  <a:lnTo>
                    <a:pt x="4" y="36"/>
                  </a:lnTo>
                  <a:lnTo>
                    <a:pt x="8" y="40"/>
                  </a:lnTo>
                  <a:lnTo>
                    <a:pt x="8" y="40"/>
                  </a:lnTo>
                  <a:lnTo>
                    <a:pt x="8" y="42"/>
                  </a:lnTo>
                  <a:lnTo>
                    <a:pt x="8" y="44"/>
                  </a:lnTo>
                  <a:lnTo>
                    <a:pt x="8" y="44"/>
                  </a:lnTo>
                  <a:lnTo>
                    <a:pt x="8" y="46"/>
                  </a:lnTo>
                  <a:lnTo>
                    <a:pt x="8" y="46"/>
                  </a:lnTo>
                  <a:lnTo>
                    <a:pt x="12" y="50"/>
                  </a:lnTo>
                  <a:lnTo>
                    <a:pt x="10" y="50"/>
                  </a:lnTo>
                  <a:lnTo>
                    <a:pt x="10" y="56"/>
                  </a:lnTo>
                  <a:lnTo>
                    <a:pt x="10" y="56"/>
                  </a:lnTo>
                  <a:lnTo>
                    <a:pt x="14" y="56"/>
                  </a:lnTo>
                  <a:lnTo>
                    <a:pt x="20" y="58"/>
                  </a:lnTo>
                  <a:lnTo>
                    <a:pt x="20" y="58"/>
                  </a:lnTo>
                  <a:lnTo>
                    <a:pt x="24" y="58"/>
                  </a:lnTo>
                  <a:lnTo>
                    <a:pt x="26" y="54"/>
                  </a:lnTo>
                  <a:lnTo>
                    <a:pt x="26" y="54"/>
                  </a:lnTo>
                  <a:lnTo>
                    <a:pt x="28" y="52"/>
                  </a:lnTo>
                  <a:lnTo>
                    <a:pt x="30" y="50"/>
                  </a:lnTo>
                  <a:lnTo>
                    <a:pt x="36" y="52"/>
                  </a:lnTo>
                  <a:lnTo>
                    <a:pt x="36" y="52"/>
                  </a:lnTo>
                  <a:lnTo>
                    <a:pt x="38" y="52"/>
                  </a:lnTo>
                  <a:lnTo>
                    <a:pt x="40" y="54"/>
                  </a:lnTo>
                  <a:lnTo>
                    <a:pt x="40" y="56"/>
                  </a:lnTo>
                  <a:lnTo>
                    <a:pt x="40" y="56"/>
                  </a:lnTo>
                  <a:lnTo>
                    <a:pt x="46" y="56"/>
                  </a:lnTo>
                  <a:lnTo>
                    <a:pt x="46" y="56"/>
                  </a:lnTo>
                  <a:lnTo>
                    <a:pt x="50" y="56"/>
                  </a:lnTo>
                  <a:lnTo>
                    <a:pt x="52" y="56"/>
                  </a:lnTo>
                  <a:lnTo>
                    <a:pt x="50" y="54"/>
                  </a:lnTo>
                  <a:lnTo>
                    <a:pt x="50" y="54"/>
                  </a:lnTo>
                  <a:lnTo>
                    <a:pt x="50" y="52"/>
                  </a:lnTo>
                  <a:lnTo>
                    <a:pt x="52" y="50"/>
                  </a:lnTo>
                  <a:lnTo>
                    <a:pt x="56" y="50"/>
                  </a:lnTo>
                  <a:lnTo>
                    <a:pt x="56" y="50"/>
                  </a:lnTo>
                  <a:lnTo>
                    <a:pt x="56" y="50"/>
                  </a:lnTo>
                  <a:lnTo>
                    <a:pt x="56" y="48"/>
                  </a:lnTo>
                  <a:lnTo>
                    <a:pt x="56" y="48"/>
                  </a:lnTo>
                  <a:lnTo>
                    <a:pt x="60" y="46"/>
                  </a:lnTo>
                  <a:lnTo>
                    <a:pt x="64" y="48"/>
                  </a:lnTo>
                  <a:lnTo>
                    <a:pt x="64" y="48"/>
                  </a:lnTo>
                  <a:lnTo>
                    <a:pt x="68" y="48"/>
                  </a:lnTo>
                  <a:lnTo>
                    <a:pt x="72" y="48"/>
                  </a:lnTo>
                  <a:lnTo>
                    <a:pt x="72" y="48"/>
                  </a:lnTo>
                  <a:lnTo>
                    <a:pt x="70" y="42"/>
                  </a:lnTo>
                  <a:lnTo>
                    <a:pt x="70" y="42"/>
                  </a:lnTo>
                  <a:lnTo>
                    <a:pt x="66" y="40"/>
                  </a:lnTo>
                  <a:lnTo>
                    <a:pt x="66" y="40"/>
                  </a:lnTo>
                  <a:lnTo>
                    <a:pt x="70" y="34"/>
                  </a:lnTo>
                  <a:lnTo>
                    <a:pt x="70" y="34"/>
                  </a:lnTo>
                  <a:lnTo>
                    <a:pt x="70" y="34"/>
                  </a:lnTo>
                  <a:lnTo>
                    <a:pt x="70" y="34"/>
                  </a:lnTo>
                  <a:lnTo>
                    <a:pt x="70" y="28"/>
                  </a:lnTo>
                  <a:lnTo>
                    <a:pt x="70" y="28"/>
                  </a:lnTo>
                  <a:lnTo>
                    <a:pt x="80" y="20"/>
                  </a:lnTo>
                  <a:lnTo>
                    <a:pt x="80" y="20"/>
                  </a:lnTo>
                  <a:lnTo>
                    <a:pt x="80" y="16"/>
                  </a:lnTo>
                  <a:lnTo>
                    <a:pt x="80" y="12"/>
                  </a:lnTo>
                  <a:lnTo>
                    <a:pt x="80" y="4"/>
                  </a:lnTo>
                  <a:lnTo>
                    <a:pt x="80"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5" name="Freeform 242"/>
            <p:cNvSpPr>
              <a:spLocks noChangeAspect="1"/>
            </p:cNvSpPr>
            <p:nvPr/>
          </p:nvSpPr>
          <p:spPr bwMode="gray">
            <a:xfrm>
              <a:off x="6870003" y="4299303"/>
              <a:ext cx="34491" cy="23030"/>
            </a:xfrm>
            <a:custGeom>
              <a:avLst/>
              <a:gdLst/>
              <a:ahLst/>
              <a:cxnLst>
                <a:cxn ang="0">
                  <a:pos x="0" y="8"/>
                </a:cxn>
                <a:cxn ang="0">
                  <a:pos x="6" y="14"/>
                </a:cxn>
                <a:cxn ang="0">
                  <a:pos x="10" y="14"/>
                </a:cxn>
                <a:cxn ang="0">
                  <a:pos x="12" y="12"/>
                </a:cxn>
                <a:cxn ang="0">
                  <a:pos x="14" y="8"/>
                </a:cxn>
                <a:cxn ang="0">
                  <a:pos x="18" y="10"/>
                </a:cxn>
                <a:cxn ang="0">
                  <a:pos x="20" y="10"/>
                </a:cxn>
                <a:cxn ang="0">
                  <a:pos x="16" y="0"/>
                </a:cxn>
                <a:cxn ang="0">
                  <a:pos x="16" y="0"/>
                </a:cxn>
                <a:cxn ang="0">
                  <a:pos x="12" y="0"/>
                </a:cxn>
                <a:cxn ang="0">
                  <a:pos x="12" y="0"/>
                </a:cxn>
                <a:cxn ang="0">
                  <a:pos x="10" y="4"/>
                </a:cxn>
                <a:cxn ang="0">
                  <a:pos x="8" y="8"/>
                </a:cxn>
                <a:cxn ang="0">
                  <a:pos x="8" y="8"/>
                </a:cxn>
                <a:cxn ang="0">
                  <a:pos x="0" y="6"/>
                </a:cxn>
                <a:cxn ang="0">
                  <a:pos x="0" y="8"/>
                </a:cxn>
              </a:cxnLst>
              <a:rect l="0" t="0" r="r" b="b"/>
              <a:pathLst>
                <a:path w="20" h="14">
                  <a:moveTo>
                    <a:pt x="0" y="8"/>
                  </a:moveTo>
                  <a:lnTo>
                    <a:pt x="6" y="14"/>
                  </a:lnTo>
                  <a:lnTo>
                    <a:pt x="10" y="14"/>
                  </a:lnTo>
                  <a:lnTo>
                    <a:pt x="12" y="12"/>
                  </a:lnTo>
                  <a:lnTo>
                    <a:pt x="14" y="8"/>
                  </a:lnTo>
                  <a:lnTo>
                    <a:pt x="18" y="10"/>
                  </a:lnTo>
                  <a:lnTo>
                    <a:pt x="20" y="10"/>
                  </a:lnTo>
                  <a:lnTo>
                    <a:pt x="16" y="0"/>
                  </a:lnTo>
                  <a:lnTo>
                    <a:pt x="16" y="0"/>
                  </a:lnTo>
                  <a:lnTo>
                    <a:pt x="12" y="0"/>
                  </a:lnTo>
                  <a:lnTo>
                    <a:pt x="12" y="0"/>
                  </a:lnTo>
                  <a:lnTo>
                    <a:pt x="10" y="4"/>
                  </a:lnTo>
                  <a:lnTo>
                    <a:pt x="8" y="8"/>
                  </a:lnTo>
                  <a:lnTo>
                    <a:pt x="8" y="8"/>
                  </a:lnTo>
                  <a:lnTo>
                    <a:pt x="0" y="6"/>
                  </a:lnTo>
                  <a:lnTo>
                    <a:pt x="0" y="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6" name="Freeform 243"/>
            <p:cNvSpPr>
              <a:spLocks noChangeAspect="1"/>
            </p:cNvSpPr>
            <p:nvPr/>
          </p:nvSpPr>
          <p:spPr bwMode="gray">
            <a:xfrm>
              <a:off x="3053957" y="4467090"/>
              <a:ext cx="12543" cy="13160"/>
            </a:xfrm>
            <a:custGeom>
              <a:avLst/>
              <a:gdLst/>
              <a:ahLst/>
              <a:cxnLst>
                <a:cxn ang="0">
                  <a:pos x="6" y="0"/>
                </a:cxn>
                <a:cxn ang="0">
                  <a:pos x="6" y="0"/>
                </a:cxn>
                <a:cxn ang="0">
                  <a:pos x="8" y="0"/>
                </a:cxn>
                <a:cxn ang="0">
                  <a:pos x="8" y="2"/>
                </a:cxn>
                <a:cxn ang="0">
                  <a:pos x="8" y="2"/>
                </a:cxn>
                <a:cxn ang="0">
                  <a:pos x="2" y="4"/>
                </a:cxn>
                <a:cxn ang="0">
                  <a:pos x="2" y="4"/>
                </a:cxn>
                <a:cxn ang="0">
                  <a:pos x="2" y="6"/>
                </a:cxn>
                <a:cxn ang="0">
                  <a:pos x="0" y="8"/>
                </a:cxn>
                <a:cxn ang="0">
                  <a:pos x="0" y="8"/>
                </a:cxn>
                <a:cxn ang="0">
                  <a:pos x="0" y="8"/>
                </a:cxn>
                <a:cxn ang="0">
                  <a:pos x="0" y="6"/>
                </a:cxn>
                <a:cxn ang="0">
                  <a:pos x="2" y="4"/>
                </a:cxn>
                <a:cxn ang="0">
                  <a:pos x="6" y="0"/>
                </a:cxn>
                <a:cxn ang="0">
                  <a:pos x="6" y="0"/>
                </a:cxn>
              </a:cxnLst>
              <a:rect l="0" t="0" r="r" b="b"/>
              <a:pathLst>
                <a:path w="8" h="8">
                  <a:moveTo>
                    <a:pt x="6" y="0"/>
                  </a:moveTo>
                  <a:lnTo>
                    <a:pt x="6" y="0"/>
                  </a:lnTo>
                  <a:lnTo>
                    <a:pt x="8" y="0"/>
                  </a:lnTo>
                  <a:lnTo>
                    <a:pt x="8" y="2"/>
                  </a:lnTo>
                  <a:lnTo>
                    <a:pt x="8" y="2"/>
                  </a:lnTo>
                  <a:lnTo>
                    <a:pt x="2" y="4"/>
                  </a:lnTo>
                  <a:lnTo>
                    <a:pt x="2" y="4"/>
                  </a:lnTo>
                  <a:lnTo>
                    <a:pt x="2" y="6"/>
                  </a:lnTo>
                  <a:lnTo>
                    <a:pt x="0" y="8"/>
                  </a:lnTo>
                  <a:lnTo>
                    <a:pt x="0" y="8"/>
                  </a:lnTo>
                  <a:lnTo>
                    <a:pt x="0" y="8"/>
                  </a:lnTo>
                  <a:lnTo>
                    <a:pt x="0" y="6"/>
                  </a:lnTo>
                  <a:lnTo>
                    <a:pt x="2" y="4"/>
                  </a:lnTo>
                  <a:lnTo>
                    <a:pt x="6" y="0"/>
                  </a:lnTo>
                  <a:lnTo>
                    <a:pt x="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7" name="Freeform 244"/>
            <p:cNvSpPr>
              <a:spLocks noChangeAspect="1"/>
            </p:cNvSpPr>
            <p:nvPr/>
          </p:nvSpPr>
          <p:spPr bwMode="gray">
            <a:xfrm>
              <a:off x="3127643" y="4463799"/>
              <a:ext cx="1568" cy="3290"/>
            </a:xfrm>
            <a:custGeom>
              <a:avLst/>
              <a:gdLst/>
              <a:ahLst/>
              <a:cxnLst>
                <a:cxn ang="0">
                  <a:pos x="0" y="0"/>
                </a:cxn>
                <a:cxn ang="0">
                  <a:pos x="0" y="0"/>
                </a:cxn>
                <a:cxn ang="0">
                  <a:pos x="0" y="2"/>
                </a:cxn>
                <a:cxn ang="0">
                  <a:pos x="0" y="2"/>
                </a:cxn>
                <a:cxn ang="0">
                  <a:pos x="0" y="2"/>
                </a:cxn>
                <a:cxn ang="0">
                  <a:pos x="0" y="2"/>
                </a:cxn>
                <a:cxn ang="0">
                  <a:pos x="0" y="0"/>
                </a:cxn>
                <a:cxn ang="0">
                  <a:pos x="0" y="0"/>
                </a:cxn>
              </a:cxnLst>
              <a:rect l="0" t="0" r="r" b="b"/>
              <a:pathLst>
                <a:path h="2">
                  <a:moveTo>
                    <a:pt x="0" y="0"/>
                  </a:moveTo>
                  <a:lnTo>
                    <a:pt x="0" y="0"/>
                  </a:lnTo>
                  <a:lnTo>
                    <a:pt x="0" y="2"/>
                  </a:lnTo>
                  <a:lnTo>
                    <a:pt x="0" y="2"/>
                  </a:lnTo>
                  <a:lnTo>
                    <a:pt x="0" y="2"/>
                  </a:lnTo>
                  <a:lnTo>
                    <a:pt x="0" y="2"/>
                  </a:lnTo>
                  <a:lnTo>
                    <a:pt x="0" y="0"/>
                  </a:lnTo>
                  <a:lnTo>
                    <a:pt x="0"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8" name="Freeform 245"/>
            <p:cNvSpPr>
              <a:spLocks noChangeAspect="1"/>
            </p:cNvSpPr>
            <p:nvPr/>
          </p:nvSpPr>
          <p:spPr bwMode="gray">
            <a:xfrm>
              <a:off x="3008489" y="4483539"/>
              <a:ext cx="40763" cy="6580"/>
            </a:xfrm>
            <a:custGeom>
              <a:avLst/>
              <a:gdLst/>
              <a:ahLst/>
              <a:cxnLst>
                <a:cxn ang="0">
                  <a:pos x="24" y="0"/>
                </a:cxn>
                <a:cxn ang="0">
                  <a:pos x="24" y="4"/>
                </a:cxn>
                <a:cxn ang="0">
                  <a:pos x="24" y="4"/>
                </a:cxn>
                <a:cxn ang="0">
                  <a:pos x="12" y="2"/>
                </a:cxn>
                <a:cxn ang="0">
                  <a:pos x="0" y="4"/>
                </a:cxn>
                <a:cxn ang="0">
                  <a:pos x="2" y="0"/>
                </a:cxn>
                <a:cxn ang="0">
                  <a:pos x="2" y="0"/>
                </a:cxn>
                <a:cxn ang="0">
                  <a:pos x="12" y="2"/>
                </a:cxn>
                <a:cxn ang="0">
                  <a:pos x="18" y="2"/>
                </a:cxn>
                <a:cxn ang="0">
                  <a:pos x="22" y="2"/>
                </a:cxn>
                <a:cxn ang="0">
                  <a:pos x="22" y="2"/>
                </a:cxn>
                <a:cxn ang="0">
                  <a:pos x="24" y="0"/>
                </a:cxn>
                <a:cxn ang="0">
                  <a:pos x="24" y="0"/>
                </a:cxn>
              </a:cxnLst>
              <a:rect l="0" t="0" r="r" b="b"/>
              <a:pathLst>
                <a:path w="24" h="4">
                  <a:moveTo>
                    <a:pt x="24" y="0"/>
                  </a:moveTo>
                  <a:lnTo>
                    <a:pt x="24" y="4"/>
                  </a:lnTo>
                  <a:lnTo>
                    <a:pt x="24" y="4"/>
                  </a:lnTo>
                  <a:lnTo>
                    <a:pt x="12" y="2"/>
                  </a:lnTo>
                  <a:lnTo>
                    <a:pt x="0" y="4"/>
                  </a:lnTo>
                  <a:lnTo>
                    <a:pt x="2" y="0"/>
                  </a:lnTo>
                  <a:lnTo>
                    <a:pt x="2" y="0"/>
                  </a:lnTo>
                  <a:lnTo>
                    <a:pt x="12" y="2"/>
                  </a:lnTo>
                  <a:lnTo>
                    <a:pt x="18" y="2"/>
                  </a:lnTo>
                  <a:lnTo>
                    <a:pt x="22" y="2"/>
                  </a:lnTo>
                  <a:lnTo>
                    <a:pt x="22" y="2"/>
                  </a:lnTo>
                  <a:lnTo>
                    <a:pt x="24" y="0"/>
                  </a:lnTo>
                  <a:lnTo>
                    <a:pt x="2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89" name="Freeform 246"/>
            <p:cNvSpPr>
              <a:spLocks noChangeAspect="1"/>
            </p:cNvSpPr>
            <p:nvPr/>
          </p:nvSpPr>
          <p:spPr bwMode="gray">
            <a:xfrm>
              <a:off x="2585181" y="4289433"/>
              <a:ext cx="909329" cy="1079100"/>
            </a:xfrm>
            <a:custGeom>
              <a:avLst/>
              <a:gdLst/>
              <a:ahLst/>
              <a:cxnLst>
                <a:cxn ang="0">
                  <a:pos x="386" y="490"/>
                </a:cxn>
                <a:cxn ang="0">
                  <a:pos x="406" y="478"/>
                </a:cxn>
                <a:cxn ang="0">
                  <a:pos x="436" y="470"/>
                </a:cxn>
                <a:cxn ang="0">
                  <a:pos x="442" y="444"/>
                </a:cxn>
                <a:cxn ang="0">
                  <a:pos x="460" y="414"/>
                </a:cxn>
                <a:cxn ang="0">
                  <a:pos x="476" y="360"/>
                </a:cxn>
                <a:cxn ang="0">
                  <a:pos x="476" y="304"/>
                </a:cxn>
                <a:cxn ang="0">
                  <a:pos x="496" y="286"/>
                </a:cxn>
                <a:cxn ang="0">
                  <a:pos x="526" y="246"/>
                </a:cxn>
                <a:cxn ang="0">
                  <a:pos x="534" y="202"/>
                </a:cxn>
                <a:cxn ang="0">
                  <a:pos x="514" y="168"/>
                </a:cxn>
                <a:cxn ang="0">
                  <a:pos x="498" y="162"/>
                </a:cxn>
                <a:cxn ang="0">
                  <a:pos x="450" y="134"/>
                </a:cxn>
                <a:cxn ang="0">
                  <a:pos x="408" y="134"/>
                </a:cxn>
                <a:cxn ang="0">
                  <a:pos x="400" y="116"/>
                </a:cxn>
                <a:cxn ang="0">
                  <a:pos x="384" y="104"/>
                </a:cxn>
                <a:cxn ang="0">
                  <a:pos x="354" y="106"/>
                </a:cxn>
                <a:cxn ang="0">
                  <a:pos x="332" y="110"/>
                </a:cxn>
                <a:cxn ang="0">
                  <a:pos x="350" y="96"/>
                </a:cxn>
                <a:cxn ang="0">
                  <a:pos x="336" y="80"/>
                </a:cxn>
                <a:cxn ang="0">
                  <a:pos x="318" y="104"/>
                </a:cxn>
                <a:cxn ang="0">
                  <a:pos x="306" y="106"/>
                </a:cxn>
                <a:cxn ang="0">
                  <a:pos x="304" y="102"/>
                </a:cxn>
                <a:cxn ang="0">
                  <a:pos x="320" y="74"/>
                </a:cxn>
                <a:cxn ang="0">
                  <a:pos x="332" y="64"/>
                </a:cxn>
                <a:cxn ang="0">
                  <a:pos x="330" y="50"/>
                </a:cxn>
                <a:cxn ang="0">
                  <a:pos x="312" y="12"/>
                </a:cxn>
                <a:cxn ang="0">
                  <a:pos x="270" y="56"/>
                </a:cxn>
                <a:cxn ang="0">
                  <a:pos x="222" y="58"/>
                </a:cxn>
                <a:cxn ang="0">
                  <a:pos x="202" y="70"/>
                </a:cxn>
                <a:cxn ang="0">
                  <a:pos x="198" y="26"/>
                </a:cxn>
                <a:cxn ang="0">
                  <a:pos x="192" y="2"/>
                </a:cxn>
                <a:cxn ang="0">
                  <a:pos x="164" y="20"/>
                </a:cxn>
                <a:cxn ang="0">
                  <a:pos x="136" y="20"/>
                </a:cxn>
                <a:cxn ang="0">
                  <a:pos x="130" y="46"/>
                </a:cxn>
                <a:cxn ang="0">
                  <a:pos x="142" y="56"/>
                </a:cxn>
                <a:cxn ang="0">
                  <a:pos x="106" y="72"/>
                </a:cxn>
                <a:cxn ang="0">
                  <a:pos x="68" y="82"/>
                </a:cxn>
                <a:cxn ang="0">
                  <a:pos x="48" y="158"/>
                </a:cxn>
                <a:cxn ang="0">
                  <a:pos x="6" y="194"/>
                </a:cxn>
                <a:cxn ang="0">
                  <a:pos x="4" y="224"/>
                </a:cxn>
                <a:cxn ang="0">
                  <a:pos x="46" y="240"/>
                </a:cxn>
                <a:cxn ang="0">
                  <a:pos x="74" y="284"/>
                </a:cxn>
                <a:cxn ang="0">
                  <a:pos x="116" y="274"/>
                </a:cxn>
                <a:cxn ang="0">
                  <a:pos x="148" y="296"/>
                </a:cxn>
                <a:cxn ang="0">
                  <a:pos x="186" y="316"/>
                </a:cxn>
                <a:cxn ang="0">
                  <a:pos x="210" y="364"/>
                </a:cxn>
                <a:cxn ang="0">
                  <a:pos x="218" y="416"/>
                </a:cxn>
                <a:cxn ang="0">
                  <a:pos x="246" y="452"/>
                </a:cxn>
                <a:cxn ang="0">
                  <a:pos x="260" y="486"/>
                </a:cxn>
                <a:cxn ang="0">
                  <a:pos x="270" y="514"/>
                </a:cxn>
                <a:cxn ang="0">
                  <a:pos x="260" y="550"/>
                </a:cxn>
                <a:cxn ang="0">
                  <a:pos x="234" y="584"/>
                </a:cxn>
                <a:cxn ang="0">
                  <a:pos x="262" y="620"/>
                </a:cxn>
                <a:cxn ang="0">
                  <a:pos x="288" y="650"/>
                </a:cxn>
                <a:cxn ang="0">
                  <a:pos x="306" y="614"/>
                </a:cxn>
                <a:cxn ang="0">
                  <a:pos x="314" y="620"/>
                </a:cxn>
                <a:cxn ang="0">
                  <a:pos x="340" y="576"/>
                </a:cxn>
                <a:cxn ang="0">
                  <a:pos x="342" y="542"/>
                </a:cxn>
                <a:cxn ang="0">
                  <a:pos x="342" y="518"/>
                </a:cxn>
              </a:cxnLst>
              <a:rect l="0" t="0" r="r" b="b"/>
              <a:pathLst>
                <a:path w="536" h="656">
                  <a:moveTo>
                    <a:pt x="342" y="516"/>
                  </a:moveTo>
                  <a:lnTo>
                    <a:pt x="342" y="516"/>
                  </a:lnTo>
                  <a:lnTo>
                    <a:pt x="350" y="512"/>
                  </a:lnTo>
                  <a:lnTo>
                    <a:pt x="356" y="508"/>
                  </a:lnTo>
                  <a:lnTo>
                    <a:pt x="356" y="508"/>
                  </a:lnTo>
                  <a:lnTo>
                    <a:pt x="360" y="504"/>
                  </a:lnTo>
                  <a:lnTo>
                    <a:pt x="360" y="504"/>
                  </a:lnTo>
                  <a:lnTo>
                    <a:pt x="366" y="502"/>
                  </a:lnTo>
                  <a:lnTo>
                    <a:pt x="372" y="500"/>
                  </a:lnTo>
                  <a:lnTo>
                    <a:pt x="372" y="500"/>
                  </a:lnTo>
                  <a:lnTo>
                    <a:pt x="374" y="496"/>
                  </a:lnTo>
                  <a:lnTo>
                    <a:pt x="374" y="492"/>
                  </a:lnTo>
                  <a:lnTo>
                    <a:pt x="374" y="492"/>
                  </a:lnTo>
                  <a:lnTo>
                    <a:pt x="380" y="490"/>
                  </a:lnTo>
                  <a:lnTo>
                    <a:pt x="386" y="490"/>
                  </a:lnTo>
                  <a:lnTo>
                    <a:pt x="386" y="490"/>
                  </a:lnTo>
                  <a:lnTo>
                    <a:pt x="388" y="488"/>
                  </a:lnTo>
                  <a:lnTo>
                    <a:pt x="388" y="488"/>
                  </a:lnTo>
                  <a:lnTo>
                    <a:pt x="392" y="486"/>
                  </a:lnTo>
                  <a:lnTo>
                    <a:pt x="398" y="486"/>
                  </a:lnTo>
                  <a:lnTo>
                    <a:pt x="398" y="486"/>
                  </a:lnTo>
                  <a:lnTo>
                    <a:pt x="396" y="480"/>
                  </a:lnTo>
                  <a:lnTo>
                    <a:pt x="396" y="480"/>
                  </a:lnTo>
                  <a:lnTo>
                    <a:pt x="398" y="480"/>
                  </a:lnTo>
                  <a:lnTo>
                    <a:pt x="398" y="480"/>
                  </a:lnTo>
                  <a:lnTo>
                    <a:pt x="402" y="476"/>
                  </a:lnTo>
                  <a:lnTo>
                    <a:pt x="402" y="476"/>
                  </a:lnTo>
                  <a:lnTo>
                    <a:pt x="404" y="478"/>
                  </a:lnTo>
                  <a:lnTo>
                    <a:pt x="406" y="478"/>
                  </a:lnTo>
                  <a:lnTo>
                    <a:pt x="406" y="478"/>
                  </a:lnTo>
                  <a:lnTo>
                    <a:pt x="410" y="474"/>
                  </a:lnTo>
                  <a:lnTo>
                    <a:pt x="410" y="474"/>
                  </a:lnTo>
                  <a:lnTo>
                    <a:pt x="414" y="474"/>
                  </a:lnTo>
                  <a:lnTo>
                    <a:pt x="420" y="474"/>
                  </a:lnTo>
                  <a:lnTo>
                    <a:pt x="420" y="474"/>
                  </a:lnTo>
                  <a:lnTo>
                    <a:pt x="420" y="470"/>
                  </a:lnTo>
                  <a:lnTo>
                    <a:pt x="420" y="470"/>
                  </a:lnTo>
                  <a:lnTo>
                    <a:pt x="422" y="470"/>
                  </a:lnTo>
                  <a:lnTo>
                    <a:pt x="422" y="472"/>
                  </a:lnTo>
                  <a:lnTo>
                    <a:pt x="422" y="472"/>
                  </a:lnTo>
                  <a:lnTo>
                    <a:pt x="424" y="474"/>
                  </a:lnTo>
                  <a:lnTo>
                    <a:pt x="424" y="474"/>
                  </a:lnTo>
                  <a:lnTo>
                    <a:pt x="432" y="474"/>
                  </a:lnTo>
                  <a:lnTo>
                    <a:pt x="432" y="474"/>
                  </a:lnTo>
                  <a:lnTo>
                    <a:pt x="436" y="470"/>
                  </a:lnTo>
                  <a:lnTo>
                    <a:pt x="436" y="470"/>
                  </a:lnTo>
                  <a:lnTo>
                    <a:pt x="436" y="464"/>
                  </a:lnTo>
                  <a:lnTo>
                    <a:pt x="442" y="460"/>
                  </a:lnTo>
                  <a:lnTo>
                    <a:pt x="442" y="460"/>
                  </a:lnTo>
                  <a:lnTo>
                    <a:pt x="442" y="458"/>
                  </a:lnTo>
                  <a:lnTo>
                    <a:pt x="444" y="456"/>
                  </a:lnTo>
                  <a:lnTo>
                    <a:pt x="442" y="456"/>
                  </a:lnTo>
                  <a:lnTo>
                    <a:pt x="442" y="456"/>
                  </a:lnTo>
                  <a:lnTo>
                    <a:pt x="442" y="448"/>
                  </a:lnTo>
                  <a:lnTo>
                    <a:pt x="442" y="448"/>
                  </a:lnTo>
                  <a:lnTo>
                    <a:pt x="440" y="448"/>
                  </a:lnTo>
                  <a:lnTo>
                    <a:pt x="442" y="448"/>
                  </a:lnTo>
                  <a:lnTo>
                    <a:pt x="442" y="448"/>
                  </a:lnTo>
                  <a:lnTo>
                    <a:pt x="442" y="444"/>
                  </a:lnTo>
                  <a:lnTo>
                    <a:pt x="442" y="444"/>
                  </a:lnTo>
                  <a:lnTo>
                    <a:pt x="446" y="442"/>
                  </a:lnTo>
                  <a:lnTo>
                    <a:pt x="446" y="442"/>
                  </a:lnTo>
                  <a:lnTo>
                    <a:pt x="446" y="438"/>
                  </a:lnTo>
                  <a:lnTo>
                    <a:pt x="446" y="434"/>
                  </a:lnTo>
                  <a:lnTo>
                    <a:pt x="446" y="434"/>
                  </a:lnTo>
                  <a:lnTo>
                    <a:pt x="450" y="430"/>
                  </a:lnTo>
                  <a:lnTo>
                    <a:pt x="454" y="426"/>
                  </a:lnTo>
                  <a:lnTo>
                    <a:pt x="454" y="426"/>
                  </a:lnTo>
                  <a:lnTo>
                    <a:pt x="454" y="422"/>
                  </a:lnTo>
                  <a:lnTo>
                    <a:pt x="454" y="422"/>
                  </a:lnTo>
                  <a:lnTo>
                    <a:pt x="456" y="420"/>
                  </a:lnTo>
                  <a:lnTo>
                    <a:pt x="456" y="420"/>
                  </a:lnTo>
                  <a:lnTo>
                    <a:pt x="456" y="418"/>
                  </a:lnTo>
                  <a:lnTo>
                    <a:pt x="456" y="418"/>
                  </a:lnTo>
                  <a:lnTo>
                    <a:pt x="460" y="414"/>
                  </a:lnTo>
                  <a:lnTo>
                    <a:pt x="466" y="410"/>
                  </a:lnTo>
                  <a:lnTo>
                    <a:pt x="466" y="410"/>
                  </a:lnTo>
                  <a:lnTo>
                    <a:pt x="466" y="402"/>
                  </a:lnTo>
                  <a:lnTo>
                    <a:pt x="466" y="392"/>
                  </a:lnTo>
                  <a:lnTo>
                    <a:pt x="466" y="392"/>
                  </a:lnTo>
                  <a:lnTo>
                    <a:pt x="470" y="388"/>
                  </a:lnTo>
                  <a:lnTo>
                    <a:pt x="474" y="384"/>
                  </a:lnTo>
                  <a:lnTo>
                    <a:pt x="474" y="384"/>
                  </a:lnTo>
                  <a:lnTo>
                    <a:pt x="472" y="376"/>
                  </a:lnTo>
                  <a:lnTo>
                    <a:pt x="470" y="370"/>
                  </a:lnTo>
                  <a:lnTo>
                    <a:pt x="472" y="366"/>
                  </a:lnTo>
                  <a:lnTo>
                    <a:pt x="472" y="366"/>
                  </a:lnTo>
                  <a:lnTo>
                    <a:pt x="476" y="364"/>
                  </a:lnTo>
                  <a:lnTo>
                    <a:pt x="476" y="364"/>
                  </a:lnTo>
                  <a:lnTo>
                    <a:pt x="476" y="360"/>
                  </a:lnTo>
                  <a:lnTo>
                    <a:pt x="476" y="354"/>
                  </a:lnTo>
                  <a:lnTo>
                    <a:pt x="476" y="354"/>
                  </a:lnTo>
                  <a:lnTo>
                    <a:pt x="476" y="350"/>
                  </a:lnTo>
                  <a:lnTo>
                    <a:pt x="478" y="346"/>
                  </a:lnTo>
                  <a:lnTo>
                    <a:pt x="476" y="340"/>
                  </a:lnTo>
                  <a:lnTo>
                    <a:pt x="476" y="340"/>
                  </a:lnTo>
                  <a:lnTo>
                    <a:pt x="474" y="328"/>
                  </a:lnTo>
                  <a:lnTo>
                    <a:pt x="476" y="318"/>
                  </a:lnTo>
                  <a:lnTo>
                    <a:pt x="476" y="318"/>
                  </a:lnTo>
                  <a:lnTo>
                    <a:pt x="472" y="316"/>
                  </a:lnTo>
                  <a:lnTo>
                    <a:pt x="472" y="316"/>
                  </a:lnTo>
                  <a:lnTo>
                    <a:pt x="476" y="312"/>
                  </a:lnTo>
                  <a:lnTo>
                    <a:pt x="476" y="312"/>
                  </a:lnTo>
                  <a:lnTo>
                    <a:pt x="476" y="308"/>
                  </a:lnTo>
                  <a:lnTo>
                    <a:pt x="476" y="304"/>
                  </a:lnTo>
                  <a:lnTo>
                    <a:pt x="476" y="304"/>
                  </a:lnTo>
                  <a:lnTo>
                    <a:pt x="478" y="302"/>
                  </a:lnTo>
                  <a:lnTo>
                    <a:pt x="480" y="300"/>
                  </a:lnTo>
                  <a:lnTo>
                    <a:pt x="480" y="300"/>
                  </a:lnTo>
                  <a:lnTo>
                    <a:pt x="480" y="292"/>
                  </a:lnTo>
                  <a:lnTo>
                    <a:pt x="480" y="292"/>
                  </a:lnTo>
                  <a:lnTo>
                    <a:pt x="486" y="294"/>
                  </a:lnTo>
                  <a:lnTo>
                    <a:pt x="488" y="298"/>
                  </a:lnTo>
                  <a:lnTo>
                    <a:pt x="488" y="298"/>
                  </a:lnTo>
                  <a:lnTo>
                    <a:pt x="492" y="292"/>
                  </a:lnTo>
                  <a:lnTo>
                    <a:pt x="492" y="292"/>
                  </a:lnTo>
                  <a:lnTo>
                    <a:pt x="492" y="288"/>
                  </a:lnTo>
                  <a:lnTo>
                    <a:pt x="492" y="288"/>
                  </a:lnTo>
                  <a:lnTo>
                    <a:pt x="496" y="286"/>
                  </a:lnTo>
                  <a:lnTo>
                    <a:pt x="496" y="286"/>
                  </a:lnTo>
                  <a:lnTo>
                    <a:pt x="496" y="282"/>
                  </a:lnTo>
                  <a:lnTo>
                    <a:pt x="498" y="278"/>
                  </a:lnTo>
                  <a:lnTo>
                    <a:pt x="498" y="278"/>
                  </a:lnTo>
                  <a:lnTo>
                    <a:pt x="500" y="274"/>
                  </a:lnTo>
                  <a:lnTo>
                    <a:pt x="502" y="270"/>
                  </a:lnTo>
                  <a:lnTo>
                    <a:pt x="502" y="270"/>
                  </a:lnTo>
                  <a:lnTo>
                    <a:pt x="504" y="264"/>
                  </a:lnTo>
                  <a:lnTo>
                    <a:pt x="504" y="264"/>
                  </a:lnTo>
                  <a:lnTo>
                    <a:pt x="514" y="254"/>
                  </a:lnTo>
                  <a:lnTo>
                    <a:pt x="514" y="254"/>
                  </a:lnTo>
                  <a:lnTo>
                    <a:pt x="518" y="254"/>
                  </a:lnTo>
                  <a:lnTo>
                    <a:pt x="518" y="254"/>
                  </a:lnTo>
                  <a:lnTo>
                    <a:pt x="520" y="250"/>
                  </a:lnTo>
                  <a:lnTo>
                    <a:pt x="520" y="250"/>
                  </a:lnTo>
                  <a:lnTo>
                    <a:pt x="526" y="246"/>
                  </a:lnTo>
                  <a:lnTo>
                    <a:pt x="526" y="246"/>
                  </a:lnTo>
                  <a:lnTo>
                    <a:pt x="526" y="242"/>
                  </a:lnTo>
                  <a:lnTo>
                    <a:pt x="526" y="242"/>
                  </a:lnTo>
                  <a:lnTo>
                    <a:pt x="528" y="240"/>
                  </a:lnTo>
                  <a:lnTo>
                    <a:pt x="528" y="240"/>
                  </a:lnTo>
                  <a:lnTo>
                    <a:pt x="534" y="226"/>
                  </a:lnTo>
                  <a:lnTo>
                    <a:pt x="536" y="224"/>
                  </a:lnTo>
                  <a:lnTo>
                    <a:pt x="536" y="224"/>
                  </a:lnTo>
                  <a:lnTo>
                    <a:pt x="536" y="218"/>
                  </a:lnTo>
                  <a:lnTo>
                    <a:pt x="536" y="214"/>
                  </a:lnTo>
                  <a:lnTo>
                    <a:pt x="536" y="214"/>
                  </a:lnTo>
                  <a:lnTo>
                    <a:pt x="536" y="210"/>
                  </a:lnTo>
                  <a:lnTo>
                    <a:pt x="536" y="204"/>
                  </a:lnTo>
                  <a:lnTo>
                    <a:pt x="534" y="202"/>
                  </a:lnTo>
                  <a:lnTo>
                    <a:pt x="534" y="202"/>
                  </a:lnTo>
                  <a:lnTo>
                    <a:pt x="534" y="198"/>
                  </a:lnTo>
                  <a:lnTo>
                    <a:pt x="534" y="192"/>
                  </a:lnTo>
                  <a:lnTo>
                    <a:pt x="534" y="192"/>
                  </a:lnTo>
                  <a:lnTo>
                    <a:pt x="532" y="188"/>
                  </a:lnTo>
                  <a:lnTo>
                    <a:pt x="528" y="186"/>
                  </a:lnTo>
                  <a:lnTo>
                    <a:pt x="528" y="186"/>
                  </a:lnTo>
                  <a:lnTo>
                    <a:pt x="528" y="182"/>
                  </a:lnTo>
                  <a:lnTo>
                    <a:pt x="528" y="182"/>
                  </a:lnTo>
                  <a:lnTo>
                    <a:pt x="526" y="182"/>
                  </a:lnTo>
                  <a:lnTo>
                    <a:pt x="526" y="182"/>
                  </a:lnTo>
                  <a:lnTo>
                    <a:pt x="524" y="172"/>
                  </a:lnTo>
                  <a:lnTo>
                    <a:pt x="522" y="170"/>
                  </a:lnTo>
                  <a:lnTo>
                    <a:pt x="518" y="168"/>
                  </a:lnTo>
                  <a:lnTo>
                    <a:pt x="518" y="168"/>
                  </a:lnTo>
                  <a:lnTo>
                    <a:pt x="514" y="168"/>
                  </a:lnTo>
                  <a:lnTo>
                    <a:pt x="512" y="170"/>
                  </a:lnTo>
                  <a:lnTo>
                    <a:pt x="512" y="170"/>
                  </a:lnTo>
                  <a:lnTo>
                    <a:pt x="512" y="166"/>
                  </a:lnTo>
                  <a:lnTo>
                    <a:pt x="512" y="166"/>
                  </a:lnTo>
                  <a:lnTo>
                    <a:pt x="510" y="164"/>
                  </a:lnTo>
                  <a:lnTo>
                    <a:pt x="510" y="164"/>
                  </a:lnTo>
                  <a:lnTo>
                    <a:pt x="506" y="164"/>
                  </a:lnTo>
                  <a:lnTo>
                    <a:pt x="504" y="164"/>
                  </a:lnTo>
                  <a:lnTo>
                    <a:pt x="502" y="168"/>
                  </a:lnTo>
                  <a:lnTo>
                    <a:pt x="502" y="168"/>
                  </a:lnTo>
                  <a:lnTo>
                    <a:pt x="502" y="166"/>
                  </a:lnTo>
                  <a:lnTo>
                    <a:pt x="502" y="164"/>
                  </a:lnTo>
                  <a:lnTo>
                    <a:pt x="502" y="164"/>
                  </a:lnTo>
                  <a:lnTo>
                    <a:pt x="498" y="162"/>
                  </a:lnTo>
                  <a:lnTo>
                    <a:pt x="498" y="162"/>
                  </a:lnTo>
                  <a:lnTo>
                    <a:pt x="498" y="160"/>
                  </a:lnTo>
                  <a:lnTo>
                    <a:pt x="492" y="152"/>
                  </a:lnTo>
                  <a:lnTo>
                    <a:pt x="492" y="152"/>
                  </a:lnTo>
                  <a:lnTo>
                    <a:pt x="490" y="152"/>
                  </a:lnTo>
                  <a:lnTo>
                    <a:pt x="490" y="152"/>
                  </a:lnTo>
                  <a:lnTo>
                    <a:pt x="482" y="146"/>
                  </a:lnTo>
                  <a:lnTo>
                    <a:pt x="476" y="140"/>
                  </a:lnTo>
                  <a:lnTo>
                    <a:pt x="476" y="140"/>
                  </a:lnTo>
                  <a:lnTo>
                    <a:pt x="468" y="138"/>
                  </a:lnTo>
                  <a:lnTo>
                    <a:pt x="468" y="138"/>
                  </a:lnTo>
                  <a:lnTo>
                    <a:pt x="464" y="134"/>
                  </a:lnTo>
                  <a:lnTo>
                    <a:pt x="464" y="134"/>
                  </a:lnTo>
                  <a:lnTo>
                    <a:pt x="456" y="134"/>
                  </a:lnTo>
                  <a:lnTo>
                    <a:pt x="450" y="134"/>
                  </a:lnTo>
                  <a:lnTo>
                    <a:pt x="450" y="134"/>
                  </a:lnTo>
                  <a:lnTo>
                    <a:pt x="440" y="130"/>
                  </a:lnTo>
                  <a:lnTo>
                    <a:pt x="436" y="130"/>
                  </a:lnTo>
                  <a:lnTo>
                    <a:pt x="432" y="132"/>
                  </a:lnTo>
                  <a:lnTo>
                    <a:pt x="432" y="132"/>
                  </a:lnTo>
                  <a:lnTo>
                    <a:pt x="430" y="128"/>
                  </a:lnTo>
                  <a:lnTo>
                    <a:pt x="426" y="124"/>
                  </a:lnTo>
                  <a:lnTo>
                    <a:pt x="426" y="124"/>
                  </a:lnTo>
                  <a:lnTo>
                    <a:pt x="422" y="124"/>
                  </a:lnTo>
                  <a:lnTo>
                    <a:pt x="420" y="126"/>
                  </a:lnTo>
                  <a:lnTo>
                    <a:pt x="420" y="126"/>
                  </a:lnTo>
                  <a:lnTo>
                    <a:pt x="416" y="124"/>
                  </a:lnTo>
                  <a:lnTo>
                    <a:pt x="416" y="124"/>
                  </a:lnTo>
                  <a:lnTo>
                    <a:pt x="414" y="130"/>
                  </a:lnTo>
                  <a:lnTo>
                    <a:pt x="412" y="132"/>
                  </a:lnTo>
                  <a:lnTo>
                    <a:pt x="408" y="134"/>
                  </a:lnTo>
                  <a:lnTo>
                    <a:pt x="408" y="134"/>
                  </a:lnTo>
                  <a:lnTo>
                    <a:pt x="406" y="132"/>
                  </a:lnTo>
                  <a:lnTo>
                    <a:pt x="406" y="130"/>
                  </a:lnTo>
                  <a:lnTo>
                    <a:pt x="408" y="126"/>
                  </a:lnTo>
                  <a:lnTo>
                    <a:pt x="408" y="126"/>
                  </a:lnTo>
                  <a:lnTo>
                    <a:pt x="404" y="124"/>
                  </a:lnTo>
                  <a:lnTo>
                    <a:pt x="404" y="124"/>
                  </a:lnTo>
                  <a:lnTo>
                    <a:pt x="406" y="122"/>
                  </a:lnTo>
                  <a:lnTo>
                    <a:pt x="406" y="122"/>
                  </a:lnTo>
                  <a:lnTo>
                    <a:pt x="404" y="118"/>
                  </a:lnTo>
                  <a:lnTo>
                    <a:pt x="404" y="116"/>
                  </a:lnTo>
                  <a:lnTo>
                    <a:pt x="404" y="116"/>
                  </a:lnTo>
                  <a:lnTo>
                    <a:pt x="402" y="116"/>
                  </a:lnTo>
                  <a:lnTo>
                    <a:pt x="402" y="116"/>
                  </a:lnTo>
                  <a:lnTo>
                    <a:pt x="400" y="116"/>
                  </a:lnTo>
                  <a:lnTo>
                    <a:pt x="400" y="116"/>
                  </a:lnTo>
                  <a:lnTo>
                    <a:pt x="400" y="114"/>
                  </a:lnTo>
                  <a:lnTo>
                    <a:pt x="402" y="112"/>
                  </a:lnTo>
                  <a:lnTo>
                    <a:pt x="402" y="112"/>
                  </a:lnTo>
                  <a:lnTo>
                    <a:pt x="400" y="110"/>
                  </a:lnTo>
                  <a:lnTo>
                    <a:pt x="400" y="108"/>
                  </a:lnTo>
                  <a:lnTo>
                    <a:pt x="400" y="108"/>
                  </a:lnTo>
                  <a:lnTo>
                    <a:pt x="394" y="108"/>
                  </a:lnTo>
                  <a:lnTo>
                    <a:pt x="394" y="108"/>
                  </a:lnTo>
                  <a:lnTo>
                    <a:pt x="390" y="112"/>
                  </a:lnTo>
                  <a:lnTo>
                    <a:pt x="390" y="112"/>
                  </a:lnTo>
                  <a:lnTo>
                    <a:pt x="392" y="106"/>
                  </a:lnTo>
                  <a:lnTo>
                    <a:pt x="392" y="106"/>
                  </a:lnTo>
                  <a:lnTo>
                    <a:pt x="384" y="104"/>
                  </a:lnTo>
                  <a:lnTo>
                    <a:pt x="384" y="104"/>
                  </a:lnTo>
                  <a:lnTo>
                    <a:pt x="384" y="100"/>
                  </a:lnTo>
                  <a:lnTo>
                    <a:pt x="384" y="100"/>
                  </a:lnTo>
                  <a:lnTo>
                    <a:pt x="382" y="100"/>
                  </a:lnTo>
                  <a:lnTo>
                    <a:pt x="380" y="102"/>
                  </a:lnTo>
                  <a:lnTo>
                    <a:pt x="380" y="102"/>
                  </a:lnTo>
                  <a:lnTo>
                    <a:pt x="376" y="98"/>
                  </a:lnTo>
                  <a:lnTo>
                    <a:pt x="374" y="96"/>
                  </a:lnTo>
                  <a:lnTo>
                    <a:pt x="370" y="94"/>
                  </a:lnTo>
                  <a:lnTo>
                    <a:pt x="370" y="94"/>
                  </a:lnTo>
                  <a:lnTo>
                    <a:pt x="364" y="94"/>
                  </a:lnTo>
                  <a:lnTo>
                    <a:pt x="358" y="96"/>
                  </a:lnTo>
                  <a:lnTo>
                    <a:pt x="350" y="102"/>
                  </a:lnTo>
                  <a:lnTo>
                    <a:pt x="350" y="102"/>
                  </a:lnTo>
                  <a:lnTo>
                    <a:pt x="354" y="106"/>
                  </a:lnTo>
                  <a:lnTo>
                    <a:pt x="354" y="106"/>
                  </a:lnTo>
                  <a:lnTo>
                    <a:pt x="348" y="106"/>
                  </a:lnTo>
                  <a:lnTo>
                    <a:pt x="344" y="112"/>
                  </a:lnTo>
                  <a:lnTo>
                    <a:pt x="344" y="112"/>
                  </a:lnTo>
                  <a:lnTo>
                    <a:pt x="344" y="114"/>
                  </a:lnTo>
                  <a:lnTo>
                    <a:pt x="342" y="114"/>
                  </a:lnTo>
                  <a:lnTo>
                    <a:pt x="340" y="114"/>
                  </a:lnTo>
                  <a:lnTo>
                    <a:pt x="342" y="112"/>
                  </a:lnTo>
                  <a:lnTo>
                    <a:pt x="342" y="112"/>
                  </a:lnTo>
                  <a:lnTo>
                    <a:pt x="334" y="114"/>
                  </a:lnTo>
                  <a:lnTo>
                    <a:pt x="324" y="114"/>
                  </a:lnTo>
                  <a:lnTo>
                    <a:pt x="324" y="114"/>
                  </a:lnTo>
                  <a:lnTo>
                    <a:pt x="320" y="108"/>
                  </a:lnTo>
                  <a:lnTo>
                    <a:pt x="320" y="108"/>
                  </a:lnTo>
                  <a:lnTo>
                    <a:pt x="326" y="112"/>
                  </a:lnTo>
                  <a:lnTo>
                    <a:pt x="332" y="110"/>
                  </a:lnTo>
                  <a:lnTo>
                    <a:pt x="332" y="110"/>
                  </a:lnTo>
                  <a:lnTo>
                    <a:pt x="340" y="112"/>
                  </a:lnTo>
                  <a:lnTo>
                    <a:pt x="340" y="112"/>
                  </a:lnTo>
                  <a:lnTo>
                    <a:pt x="340" y="110"/>
                  </a:lnTo>
                  <a:lnTo>
                    <a:pt x="340" y="110"/>
                  </a:lnTo>
                  <a:lnTo>
                    <a:pt x="344" y="108"/>
                  </a:lnTo>
                  <a:lnTo>
                    <a:pt x="344" y="106"/>
                  </a:lnTo>
                  <a:lnTo>
                    <a:pt x="344" y="106"/>
                  </a:lnTo>
                  <a:lnTo>
                    <a:pt x="348" y="106"/>
                  </a:lnTo>
                  <a:lnTo>
                    <a:pt x="348" y="106"/>
                  </a:lnTo>
                  <a:lnTo>
                    <a:pt x="348" y="104"/>
                  </a:lnTo>
                  <a:lnTo>
                    <a:pt x="348" y="100"/>
                  </a:lnTo>
                  <a:lnTo>
                    <a:pt x="350" y="100"/>
                  </a:lnTo>
                  <a:lnTo>
                    <a:pt x="350" y="100"/>
                  </a:lnTo>
                  <a:lnTo>
                    <a:pt x="350" y="96"/>
                  </a:lnTo>
                  <a:lnTo>
                    <a:pt x="350" y="92"/>
                  </a:lnTo>
                  <a:lnTo>
                    <a:pt x="350" y="92"/>
                  </a:lnTo>
                  <a:lnTo>
                    <a:pt x="350" y="90"/>
                  </a:lnTo>
                  <a:lnTo>
                    <a:pt x="350" y="88"/>
                  </a:lnTo>
                  <a:lnTo>
                    <a:pt x="350" y="86"/>
                  </a:lnTo>
                  <a:lnTo>
                    <a:pt x="350" y="84"/>
                  </a:lnTo>
                  <a:lnTo>
                    <a:pt x="350" y="84"/>
                  </a:lnTo>
                  <a:lnTo>
                    <a:pt x="340" y="84"/>
                  </a:lnTo>
                  <a:lnTo>
                    <a:pt x="340" y="84"/>
                  </a:lnTo>
                  <a:lnTo>
                    <a:pt x="340" y="84"/>
                  </a:lnTo>
                  <a:lnTo>
                    <a:pt x="342" y="82"/>
                  </a:lnTo>
                  <a:lnTo>
                    <a:pt x="340" y="80"/>
                  </a:lnTo>
                  <a:lnTo>
                    <a:pt x="340" y="78"/>
                  </a:lnTo>
                  <a:lnTo>
                    <a:pt x="340" y="78"/>
                  </a:lnTo>
                  <a:lnTo>
                    <a:pt x="336" y="80"/>
                  </a:lnTo>
                  <a:lnTo>
                    <a:pt x="332" y="82"/>
                  </a:lnTo>
                  <a:lnTo>
                    <a:pt x="330" y="86"/>
                  </a:lnTo>
                  <a:lnTo>
                    <a:pt x="330" y="86"/>
                  </a:lnTo>
                  <a:lnTo>
                    <a:pt x="326" y="86"/>
                  </a:lnTo>
                  <a:lnTo>
                    <a:pt x="324" y="88"/>
                  </a:lnTo>
                  <a:lnTo>
                    <a:pt x="324" y="88"/>
                  </a:lnTo>
                  <a:lnTo>
                    <a:pt x="322" y="94"/>
                  </a:lnTo>
                  <a:lnTo>
                    <a:pt x="322" y="94"/>
                  </a:lnTo>
                  <a:lnTo>
                    <a:pt x="320" y="94"/>
                  </a:lnTo>
                  <a:lnTo>
                    <a:pt x="318" y="96"/>
                  </a:lnTo>
                  <a:lnTo>
                    <a:pt x="318" y="96"/>
                  </a:lnTo>
                  <a:lnTo>
                    <a:pt x="318" y="102"/>
                  </a:lnTo>
                  <a:lnTo>
                    <a:pt x="320" y="106"/>
                  </a:lnTo>
                  <a:lnTo>
                    <a:pt x="318" y="104"/>
                  </a:lnTo>
                  <a:lnTo>
                    <a:pt x="318" y="104"/>
                  </a:lnTo>
                  <a:lnTo>
                    <a:pt x="316" y="100"/>
                  </a:lnTo>
                  <a:lnTo>
                    <a:pt x="316" y="100"/>
                  </a:lnTo>
                  <a:lnTo>
                    <a:pt x="312" y="104"/>
                  </a:lnTo>
                  <a:lnTo>
                    <a:pt x="312" y="104"/>
                  </a:lnTo>
                  <a:lnTo>
                    <a:pt x="308" y="104"/>
                  </a:lnTo>
                  <a:lnTo>
                    <a:pt x="308" y="104"/>
                  </a:lnTo>
                  <a:lnTo>
                    <a:pt x="308" y="110"/>
                  </a:lnTo>
                  <a:lnTo>
                    <a:pt x="308" y="116"/>
                  </a:lnTo>
                  <a:lnTo>
                    <a:pt x="308" y="116"/>
                  </a:lnTo>
                  <a:lnTo>
                    <a:pt x="306" y="122"/>
                  </a:lnTo>
                  <a:lnTo>
                    <a:pt x="306" y="122"/>
                  </a:lnTo>
                  <a:lnTo>
                    <a:pt x="306" y="116"/>
                  </a:lnTo>
                  <a:lnTo>
                    <a:pt x="306" y="116"/>
                  </a:lnTo>
                  <a:lnTo>
                    <a:pt x="306" y="110"/>
                  </a:lnTo>
                  <a:lnTo>
                    <a:pt x="306" y="106"/>
                  </a:lnTo>
                  <a:lnTo>
                    <a:pt x="306" y="106"/>
                  </a:lnTo>
                  <a:lnTo>
                    <a:pt x="306" y="102"/>
                  </a:lnTo>
                  <a:lnTo>
                    <a:pt x="306" y="102"/>
                  </a:lnTo>
                  <a:lnTo>
                    <a:pt x="300" y="102"/>
                  </a:lnTo>
                  <a:lnTo>
                    <a:pt x="300" y="102"/>
                  </a:lnTo>
                  <a:lnTo>
                    <a:pt x="296" y="106"/>
                  </a:lnTo>
                  <a:lnTo>
                    <a:pt x="292" y="108"/>
                  </a:lnTo>
                  <a:lnTo>
                    <a:pt x="292" y="108"/>
                  </a:lnTo>
                  <a:lnTo>
                    <a:pt x="284" y="108"/>
                  </a:lnTo>
                  <a:lnTo>
                    <a:pt x="284" y="108"/>
                  </a:lnTo>
                  <a:lnTo>
                    <a:pt x="292" y="104"/>
                  </a:lnTo>
                  <a:lnTo>
                    <a:pt x="300" y="102"/>
                  </a:lnTo>
                  <a:lnTo>
                    <a:pt x="300" y="102"/>
                  </a:lnTo>
                  <a:lnTo>
                    <a:pt x="304" y="102"/>
                  </a:lnTo>
                  <a:lnTo>
                    <a:pt x="304" y="102"/>
                  </a:lnTo>
                  <a:lnTo>
                    <a:pt x="304" y="98"/>
                  </a:lnTo>
                  <a:lnTo>
                    <a:pt x="306" y="94"/>
                  </a:lnTo>
                  <a:lnTo>
                    <a:pt x="306" y="94"/>
                  </a:lnTo>
                  <a:lnTo>
                    <a:pt x="308" y="90"/>
                  </a:lnTo>
                  <a:lnTo>
                    <a:pt x="310" y="86"/>
                  </a:lnTo>
                  <a:lnTo>
                    <a:pt x="310" y="86"/>
                  </a:lnTo>
                  <a:lnTo>
                    <a:pt x="310" y="82"/>
                  </a:lnTo>
                  <a:lnTo>
                    <a:pt x="310" y="82"/>
                  </a:lnTo>
                  <a:lnTo>
                    <a:pt x="316" y="78"/>
                  </a:lnTo>
                  <a:lnTo>
                    <a:pt x="316" y="78"/>
                  </a:lnTo>
                  <a:lnTo>
                    <a:pt x="318" y="76"/>
                  </a:lnTo>
                  <a:lnTo>
                    <a:pt x="320" y="74"/>
                  </a:lnTo>
                  <a:lnTo>
                    <a:pt x="320" y="74"/>
                  </a:lnTo>
                  <a:lnTo>
                    <a:pt x="320" y="74"/>
                  </a:lnTo>
                  <a:lnTo>
                    <a:pt x="320" y="74"/>
                  </a:lnTo>
                  <a:lnTo>
                    <a:pt x="320" y="76"/>
                  </a:lnTo>
                  <a:lnTo>
                    <a:pt x="320" y="76"/>
                  </a:lnTo>
                  <a:lnTo>
                    <a:pt x="320" y="82"/>
                  </a:lnTo>
                  <a:lnTo>
                    <a:pt x="320" y="82"/>
                  </a:lnTo>
                  <a:lnTo>
                    <a:pt x="326" y="82"/>
                  </a:lnTo>
                  <a:lnTo>
                    <a:pt x="328" y="82"/>
                  </a:lnTo>
                  <a:lnTo>
                    <a:pt x="330" y="80"/>
                  </a:lnTo>
                  <a:lnTo>
                    <a:pt x="330" y="80"/>
                  </a:lnTo>
                  <a:lnTo>
                    <a:pt x="328" y="78"/>
                  </a:lnTo>
                  <a:lnTo>
                    <a:pt x="328" y="78"/>
                  </a:lnTo>
                  <a:lnTo>
                    <a:pt x="328" y="72"/>
                  </a:lnTo>
                  <a:lnTo>
                    <a:pt x="330" y="74"/>
                  </a:lnTo>
                  <a:lnTo>
                    <a:pt x="330" y="74"/>
                  </a:lnTo>
                  <a:lnTo>
                    <a:pt x="332" y="64"/>
                  </a:lnTo>
                  <a:lnTo>
                    <a:pt x="332" y="64"/>
                  </a:lnTo>
                  <a:lnTo>
                    <a:pt x="328" y="64"/>
                  </a:lnTo>
                  <a:lnTo>
                    <a:pt x="328" y="64"/>
                  </a:lnTo>
                  <a:lnTo>
                    <a:pt x="324" y="68"/>
                  </a:lnTo>
                  <a:lnTo>
                    <a:pt x="324" y="68"/>
                  </a:lnTo>
                  <a:lnTo>
                    <a:pt x="326" y="68"/>
                  </a:lnTo>
                  <a:lnTo>
                    <a:pt x="326" y="70"/>
                  </a:lnTo>
                  <a:lnTo>
                    <a:pt x="326" y="70"/>
                  </a:lnTo>
                  <a:lnTo>
                    <a:pt x="322" y="70"/>
                  </a:lnTo>
                  <a:lnTo>
                    <a:pt x="322" y="70"/>
                  </a:lnTo>
                  <a:lnTo>
                    <a:pt x="326" y="64"/>
                  </a:lnTo>
                  <a:lnTo>
                    <a:pt x="326" y="62"/>
                  </a:lnTo>
                  <a:lnTo>
                    <a:pt x="322" y="60"/>
                  </a:lnTo>
                  <a:lnTo>
                    <a:pt x="322" y="60"/>
                  </a:lnTo>
                  <a:lnTo>
                    <a:pt x="328" y="56"/>
                  </a:lnTo>
                  <a:lnTo>
                    <a:pt x="330" y="50"/>
                  </a:lnTo>
                  <a:lnTo>
                    <a:pt x="330" y="50"/>
                  </a:lnTo>
                  <a:lnTo>
                    <a:pt x="320" y="50"/>
                  </a:lnTo>
                  <a:lnTo>
                    <a:pt x="320" y="50"/>
                  </a:lnTo>
                  <a:lnTo>
                    <a:pt x="322" y="44"/>
                  </a:lnTo>
                  <a:lnTo>
                    <a:pt x="320" y="38"/>
                  </a:lnTo>
                  <a:lnTo>
                    <a:pt x="320" y="38"/>
                  </a:lnTo>
                  <a:lnTo>
                    <a:pt x="318" y="36"/>
                  </a:lnTo>
                  <a:lnTo>
                    <a:pt x="318" y="36"/>
                  </a:lnTo>
                  <a:lnTo>
                    <a:pt x="318" y="30"/>
                  </a:lnTo>
                  <a:lnTo>
                    <a:pt x="318" y="26"/>
                  </a:lnTo>
                  <a:lnTo>
                    <a:pt x="318" y="26"/>
                  </a:lnTo>
                  <a:lnTo>
                    <a:pt x="312" y="16"/>
                  </a:lnTo>
                  <a:lnTo>
                    <a:pt x="312" y="16"/>
                  </a:lnTo>
                  <a:lnTo>
                    <a:pt x="312" y="12"/>
                  </a:lnTo>
                  <a:lnTo>
                    <a:pt x="312" y="12"/>
                  </a:lnTo>
                  <a:lnTo>
                    <a:pt x="308" y="10"/>
                  </a:lnTo>
                  <a:lnTo>
                    <a:pt x="304" y="22"/>
                  </a:lnTo>
                  <a:lnTo>
                    <a:pt x="300" y="30"/>
                  </a:lnTo>
                  <a:lnTo>
                    <a:pt x="300" y="30"/>
                  </a:lnTo>
                  <a:lnTo>
                    <a:pt x="298" y="44"/>
                  </a:lnTo>
                  <a:lnTo>
                    <a:pt x="298" y="44"/>
                  </a:lnTo>
                  <a:lnTo>
                    <a:pt x="294" y="52"/>
                  </a:lnTo>
                  <a:lnTo>
                    <a:pt x="290" y="56"/>
                  </a:lnTo>
                  <a:lnTo>
                    <a:pt x="284" y="52"/>
                  </a:lnTo>
                  <a:lnTo>
                    <a:pt x="278" y="54"/>
                  </a:lnTo>
                  <a:lnTo>
                    <a:pt x="278" y="54"/>
                  </a:lnTo>
                  <a:lnTo>
                    <a:pt x="274" y="56"/>
                  </a:lnTo>
                  <a:lnTo>
                    <a:pt x="272" y="56"/>
                  </a:lnTo>
                  <a:lnTo>
                    <a:pt x="270" y="56"/>
                  </a:lnTo>
                  <a:lnTo>
                    <a:pt x="270" y="56"/>
                  </a:lnTo>
                  <a:lnTo>
                    <a:pt x="266" y="52"/>
                  </a:lnTo>
                  <a:lnTo>
                    <a:pt x="266" y="48"/>
                  </a:lnTo>
                  <a:lnTo>
                    <a:pt x="260" y="48"/>
                  </a:lnTo>
                  <a:lnTo>
                    <a:pt x="258" y="46"/>
                  </a:lnTo>
                  <a:lnTo>
                    <a:pt x="254" y="48"/>
                  </a:lnTo>
                  <a:lnTo>
                    <a:pt x="244" y="44"/>
                  </a:lnTo>
                  <a:lnTo>
                    <a:pt x="242" y="52"/>
                  </a:lnTo>
                  <a:lnTo>
                    <a:pt x="246" y="56"/>
                  </a:lnTo>
                  <a:lnTo>
                    <a:pt x="244" y="62"/>
                  </a:lnTo>
                  <a:lnTo>
                    <a:pt x="234" y="58"/>
                  </a:lnTo>
                  <a:lnTo>
                    <a:pt x="228" y="60"/>
                  </a:lnTo>
                  <a:lnTo>
                    <a:pt x="228" y="60"/>
                  </a:lnTo>
                  <a:lnTo>
                    <a:pt x="226" y="60"/>
                  </a:lnTo>
                  <a:lnTo>
                    <a:pt x="222" y="58"/>
                  </a:lnTo>
                  <a:lnTo>
                    <a:pt x="222" y="58"/>
                  </a:lnTo>
                  <a:lnTo>
                    <a:pt x="220" y="58"/>
                  </a:lnTo>
                  <a:lnTo>
                    <a:pt x="218" y="60"/>
                  </a:lnTo>
                  <a:lnTo>
                    <a:pt x="218" y="60"/>
                  </a:lnTo>
                  <a:lnTo>
                    <a:pt x="216" y="62"/>
                  </a:lnTo>
                  <a:lnTo>
                    <a:pt x="216" y="62"/>
                  </a:lnTo>
                  <a:lnTo>
                    <a:pt x="214" y="62"/>
                  </a:lnTo>
                  <a:lnTo>
                    <a:pt x="214" y="64"/>
                  </a:lnTo>
                  <a:lnTo>
                    <a:pt x="214" y="66"/>
                  </a:lnTo>
                  <a:lnTo>
                    <a:pt x="212" y="66"/>
                  </a:lnTo>
                  <a:lnTo>
                    <a:pt x="212" y="66"/>
                  </a:lnTo>
                  <a:lnTo>
                    <a:pt x="210" y="66"/>
                  </a:lnTo>
                  <a:lnTo>
                    <a:pt x="208" y="68"/>
                  </a:lnTo>
                  <a:lnTo>
                    <a:pt x="206" y="70"/>
                  </a:lnTo>
                  <a:lnTo>
                    <a:pt x="206" y="70"/>
                  </a:lnTo>
                  <a:lnTo>
                    <a:pt x="202" y="70"/>
                  </a:lnTo>
                  <a:lnTo>
                    <a:pt x="200" y="66"/>
                  </a:lnTo>
                  <a:lnTo>
                    <a:pt x="200" y="66"/>
                  </a:lnTo>
                  <a:lnTo>
                    <a:pt x="200" y="64"/>
                  </a:lnTo>
                  <a:lnTo>
                    <a:pt x="198" y="64"/>
                  </a:lnTo>
                  <a:lnTo>
                    <a:pt x="194" y="60"/>
                  </a:lnTo>
                  <a:lnTo>
                    <a:pt x="194" y="60"/>
                  </a:lnTo>
                  <a:lnTo>
                    <a:pt x="192" y="58"/>
                  </a:lnTo>
                  <a:lnTo>
                    <a:pt x="190" y="54"/>
                  </a:lnTo>
                  <a:lnTo>
                    <a:pt x="190" y="52"/>
                  </a:lnTo>
                  <a:lnTo>
                    <a:pt x="190" y="52"/>
                  </a:lnTo>
                  <a:lnTo>
                    <a:pt x="192" y="40"/>
                  </a:lnTo>
                  <a:lnTo>
                    <a:pt x="192" y="32"/>
                  </a:lnTo>
                  <a:lnTo>
                    <a:pt x="192" y="32"/>
                  </a:lnTo>
                  <a:lnTo>
                    <a:pt x="198" y="26"/>
                  </a:lnTo>
                  <a:lnTo>
                    <a:pt x="198" y="26"/>
                  </a:lnTo>
                  <a:lnTo>
                    <a:pt x="200" y="22"/>
                  </a:lnTo>
                  <a:lnTo>
                    <a:pt x="198" y="20"/>
                  </a:lnTo>
                  <a:lnTo>
                    <a:pt x="198" y="20"/>
                  </a:lnTo>
                  <a:lnTo>
                    <a:pt x="198" y="18"/>
                  </a:lnTo>
                  <a:lnTo>
                    <a:pt x="198" y="16"/>
                  </a:lnTo>
                  <a:lnTo>
                    <a:pt x="200" y="14"/>
                  </a:lnTo>
                  <a:lnTo>
                    <a:pt x="198" y="14"/>
                  </a:lnTo>
                  <a:lnTo>
                    <a:pt x="198" y="14"/>
                  </a:lnTo>
                  <a:lnTo>
                    <a:pt x="192" y="10"/>
                  </a:lnTo>
                  <a:lnTo>
                    <a:pt x="196" y="6"/>
                  </a:lnTo>
                  <a:lnTo>
                    <a:pt x="196" y="6"/>
                  </a:lnTo>
                  <a:lnTo>
                    <a:pt x="196" y="4"/>
                  </a:lnTo>
                  <a:lnTo>
                    <a:pt x="194" y="2"/>
                  </a:lnTo>
                  <a:lnTo>
                    <a:pt x="192" y="2"/>
                  </a:lnTo>
                  <a:lnTo>
                    <a:pt x="192" y="2"/>
                  </a:lnTo>
                  <a:lnTo>
                    <a:pt x="186" y="2"/>
                  </a:lnTo>
                  <a:lnTo>
                    <a:pt x="182" y="0"/>
                  </a:lnTo>
                  <a:lnTo>
                    <a:pt x="182" y="4"/>
                  </a:lnTo>
                  <a:lnTo>
                    <a:pt x="182" y="10"/>
                  </a:lnTo>
                  <a:lnTo>
                    <a:pt x="182" y="10"/>
                  </a:lnTo>
                  <a:lnTo>
                    <a:pt x="174" y="10"/>
                  </a:lnTo>
                  <a:lnTo>
                    <a:pt x="174" y="10"/>
                  </a:lnTo>
                  <a:lnTo>
                    <a:pt x="174" y="12"/>
                  </a:lnTo>
                  <a:lnTo>
                    <a:pt x="172" y="12"/>
                  </a:lnTo>
                  <a:lnTo>
                    <a:pt x="170" y="14"/>
                  </a:lnTo>
                  <a:lnTo>
                    <a:pt x="170" y="16"/>
                  </a:lnTo>
                  <a:lnTo>
                    <a:pt x="170" y="16"/>
                  </a:lnTo>
                  <a:lnTo>
                    <a:pt x="166" y="18"/>
                  </a:lnTo>
                  <a:lnTo>
                    <a:pt x="166" y="20"/>
                  </a:lnTo>
                  <a:lnTo>
                    <a:pt x="164" y="20"/>
                  </a:lnTo>
                  <a:lnTo>
                    <a:pt x="164" y="20"/>
                  </a:lnTo>
                  <a:lnTo>
                    <a:pt x="156" y="18"/>
                  </a:lnTo>
                  <a:lnTo>
                    <a:pt x="156" y="18"/>
                  </a:lnTo>
                  <a:lnTo>
                    <a:pt x="154" y="18"/>
                  </a:lnTo>
                  <a:lnTo>
                    <a:pt x="152" y="20"/>
                  </a:lnTo>
                  <a:lnTo>
                    <a:pt x="152" y="20"/>
                  </a:lnTo>
                  <a:lnTo>
                    <a:pt x="150" y="22"/>
                  </a:lnTo>
                  <a:lnTo>
                    <a:pt x="152" y="24"/>
                  </a:lnTo>
                  <a:lnTo>
                    <a:pt x="152" y="24"/>
                  </a:lnTo>
                  <a:lnTo>
                    <a:pt x="152" y="24"/>
                  </a:lnTo>
                  <a:lnTo>
                    <a:pt x="150" y="24"/>
                  </a:lnTo>
                  <a:lnTo>
                    <a:pt x="144" y="22"/>
                  </a:lnTo>
                  <a:lnTo>
                    <a:pt x="144" y="22"/>
                  </a:lnTo>
                  <a:lnTo>
                    <a:pt x="140" y="20"/>
                  </a:lnTo>
                  <a:lnTo>
                    <a:pt x="136" y="20"/>
                  </a:lnTo>
                  <a:lnTo>
                    <a:pt x="136" y="20"/>
                  </a:lnTo>
                  <a:lnTo>
                    <a:pt x="132" y="20"/>
                  </a:lnTo>
                  <a:lnTo>
                    <a:pt x="126" y="18"/>
                  </a:lnTo>
                  <a:lnTo>
                    <a:pt x="126" y="18"/>
                  </a:lnTo>
                  <a:lnTo>
                    <a:pt x="122" y="18"/>
                  </a:lnTo>
                  <a:lnTo>
                    <a:pt x="124" y="20"/>
                  </a:lnTo>
                  <a:lnTo>
                    <a:pt x="124" y="20"/>
                  </a:lnTo>
                  <a:lnTo>
                    <a:pt x="126" y="20"/>
                  </a:lnTo>
                  <a:lnTo>
                    <a:pt x="126" y="22"/>
                  </a:lnTo>
                  <a:lnTo>
                    <a:pt x="128" y="26"/>
                  </a:lnTo>
                  <a:lnTo>
                    <a:pt x="128" y="26"/>
                  </a:lnTo>
                  <a:lnTo>
                    <a:pt x="130" y="34"/>
                  </a:lnTo>
                  <a:lnTo>
                    <a:pt x="130" y="34"/>
                  </a:lnTo>
                  <a:lnTo>
                    <a:pt x="130" y="40"/>
                  </a:lnTo>
                  <a:lnTo>
                    <a:pt x="130" y="46"/>
                  </a:lnTo>
                  <a:lnTo>
                    <a:pt x="130" y="46"/>
                  </a:lnTo>
                  <a:lnTo>
                    <a:pt x="132" y="48"/>
                  </a:lnTo>
                  <a:lnTo>
                    <a:pt x="134" y="50"/>
                  </a:lnTo>
                  <a:lnTo>
                    <a:pt x="134" y="50"/>
                  </a:lnTo>
                  <a:lnTo>
                    <a:pt x="138" y="50"/>
                  </a:lnTo>
                  <a:lnTo>
                    <a:pt x="144" y="48"/>
                  </a:lnTo>
                  <a:lnTo>
                    <a:pt x="144" y="48"/>
                  </a:lnTo>
                  <a:lnTo>
                    <a:pt x="146" y="50"/>
                  </a:lnTo>
                  <a:lnTo>
                    <a:pt x="148" y="50"/>
                  </a:lnTo>
                  <a:lnTo>
                    <a:pt x="150" y="54"/>
                  </a:lnTo>
                  <a:lnTo>
                    <a:pt x="150" y="54"/>
                  </a:lnTo>
                  <a:lnTo>
                    <a:pt x="148" y="54"/>
                  </a:lnTo>
                  <a:lnTo>
                    <a:pt x="144" y="56"/>
                  </a:lnTo>
                  <a:lnTo>
                    <a:pt x="144" y="56"/>
                  </a:lnTo>
                  <a:lnTo>
                    <a:pt x="142" y="56"/>
                  </a:lnTo>
                  <a:lnTo>
                    <a:pt x="140" y="60"/>
                  </a:lnTo>
                  <a:lnTo>
                    <a:pt x="138" y="62"/>
                  </a:lnTo>
                  <a:lnTo>
                    <a:pt x="136" y="64"/>
                  </a:lnTo>
                  <a:lnTo>
                    <a:pt x="136" y="64"/>
                  </a:lnTo>
                  <a:lnTo>
                    <a:pt x="134" y="66"/>
                  </a:lnTo>
                  <a:lnTo>
                    <a:pt x="130" y="68"/>
                  </a:lnTo>
                  <a:lnTo>
                    <a:pt x="130" y="68"/>
                  </a:lnTo>
                  <a:lnTo>
                    <a:pt x="128" y="68"/>
                  </a:lnTo>
                  <a:lnTo>
                    <a:pt x="126" y="70"/>
                  </a:lnTo>
                  <a:lnTo>
                    <a:pt x="124" y="72"/>
                  </a:lnTo>
                  <a:lnTo>
                    <a:pt x="122" y="74"/>
                  </a:lnTo>
                  <a:lnTo>
                    <a:pt x="122" y="74"/>
                  </a:lnTo>
                  <a:lnTo>
                    <a:pt x="116" y="76"/>
                  </a:lnTo>
                  <a:lnTo>
                    <a:pt x="114" y="78"/>
                  </a:lnTo>
                  <a:lnTo>
                    <a:pt x="106" y="72"/>
                  </a:lnTo>
                  <a:lnTo>
                    <a:pt x="102" y="72"/>
                  </a:lnTo>
                  <a:lnTo>
                    <a:pt x="102" y="66"/>
                  </a:lnTo>
                  <a:lnTo>
                    <a:pt x="96" y="64"/>
                  </a:lnTo>
                  <a:lnTo>
                    <a:pt x="94" y="72"/>
                  </a:lnTo>
                  <a:lnTo>
                    <a:pt x="90" y="72"/>
                  </a:lnTo>
                  <a:lnTo>
                    <a:pt x="86" y="70"/>
                  </a:lnTo>
                  <a:lnTo>
                    <a:pt x="86" y="74"/>
                  </a:lnTo>
                  <a:lnTo>
                    <a:pt x="86" y="74"/>
                  </a:lnTo>
                  <a:lnTo>
                    <a:pt x="72" y="74"/>
                  </a:lnTo>
                  <a:lnTo>
                    <a:pt x="72" y="74"/>
                  </a:lnTo>
                  <a:lnTo>
                    <a:pt x="66" y="74"/>
                  </a:lnTo>
                  <a:lnTo>
                    <a:pt x="64" y="72"/>
                  </a:lnTo>
                  <a:lnTo>
                    <a:pt x="62" y="78"/>
                  </a:lnTo>
                  <a:lnTo>
                    <a:pt x="70" y="80"/>
                  </a:lnTo>
                  <a:lnTo>
                    <a:pt x="68" y="82"/>
                  </a:lnTo>
                  <a:lnTo>
                    <a:pt x="60" y="82"/>
                  </a:lnTo>
                  <a:lnTo>
                    <a:pt x="60" y="88"/>
                  </a:lnTo>
                  <a:lnTo>
                    <a:pt x="64" y="90"/>
                  </a:lnTo>
                  <a:lnTo>
                    <a:pt x="64" y="90"/>
                  </a:lnTo>
                  <a:lnTo>
                    <a:pt x="70" y="104"/>
                  </a:lnTo>
                  <a:lnTo>
                    <a:pt x="70" y="104"/>
                  </a:lnTo>
                  <a:lnTo>
                    <a:pt x="70" y="106"/>
                  </a:lnTo>
                  <a:lnTo>
                    <a:pt x="68" y="110"/>
                  </a:lnTo>
                  <a:lnTo>
                    <a:pt x="66" y="116"/>
                  </a:lnTo>
                  <a:lnTo>
                    <a:pt x="66" y="116"/>
                  </a:lnTo>
                  <a:lnTo>
                    <a:pt x="52" y="154"/>
                  </a:lnTo>
                  <a:lnTo>
                    <a:pt x="52" y="154"/>
                  </a:lnTo>
                  <a:lnTo>
                    <a:pt x="52" y="156"/>
                  </a:lnTo>
                  <a:lnTo>
                    <a:pt x="50" y="158"/>
                  </a:lnTo>
                  <a:lnTo>
                    <a:pt x="48" y="158"/>
                  </a:lnTo>
                  <a:lnTo>
                    <a:pt x="48" y="158"/>
                  </a:lnTo>
                  <a:lnTo>
                    <a:pt x="38" y="160"/>
                  </a:lnTo>
                  <a:lnTo>
                    <a:pt x="38" y="160"/>
                  </a:lnTo>
                  <a:lnTo>
                    <a:pt x="32" y="162"/>
                  </a:lnTo>
                  <a:lnTo>
                    <a:pt x="26" y="164"/>
                  </a:lnTo>
                  <a:lnTo>
                    <a:pt x="26" y="164"/>
                  </a:lnTo>
                  <a:lnTo>
                    <a:pt x="18" y="170"/>
                  </a:lnTo>
                  <a:lnTo>
                    <a:pt x="14" y="174"/>
                  </a:lnTo>
                  <a:lnTo>
                    <a:pt x="14" y="174"/>
                  </a:lnTo>
                  <a:lnTo>
                    <a:pt x="12" y="180"/>
                  </a:lnTo>
                  <a:lnTo>
                    <a:pt x="10" y="186"/>
                  </a:lnTo>
                  <a:lnTo>
                    <a:pt x="10" y="186"/>
                  </a:lnTo>
                  <a:lnTo>
                    <a:pt x="8" y="190"/>
                  </a:lnTo>
                  <a:lnTo>
                    <a:pt x="6" y="194"/>
                  </a:lnTo>
                  <a:lnTo>
                    <a:pt x="6" y="194"/>
                  </a:lnTo>
                  <a:lnTo>
                    <a:pt x="6" y="202"/>
                  </a:lnTo>
                  <a:lnTo>
                    <a:pt x="6" y="202"/>
                  </a:lnTo>
                  <a:lnTo>
                    <a:pt x="4" y="200"/>
                  </a:lnTo>
                  <a:lnTo>
                    <a:pt x="2" y="200"/>
                  </a:lnTo>
                  <a:lnTo>
                    <a:pt x="0" y="202"/>
                  </a:lnTo>
                  <a:lnTo>
                    <a:pt x="0" y="202"/>
                  </a:lnTo>
                  <a:lnTo>
                    <a:pt x="2" y="206"/>
                  </a:lnTo>
                  <a:lnTo>
                    <a:pt x="2" y="210"/>
                  </a:lnTo>
                  <a:lnTo>
                    <a:pt x="4" y="210"/>
                  </a:lnTo>
                  <a:lnTo>
                    <a:pt x="4" y="210"/>
                  </a:lnTo>
                  <a:lnTo>
                    <a:pt x="4" y="212"/>
                  </a:lnTo>
                  <a:lnTo>
                    <a:pt x="6" y="214"/>
                  </a:lnTo>
                  <a:lnTo>
                    <a:pt x="6" y="218"/>
                  </a:lnTo>
                  <a:lnTo>
                    <a:pt x="4" y="224"/>
                  </a:lnTo>
                  <a:lnTo>
                    <a:pt x="4" y="224"/>
                  </a:lnTo>
                  <a:lnTo>
                    <a:pt x="6" y="226"/>
                  </a:lnTo>
                  <a:lnTo>
                    <a:pt x="10" y="228"/>
                  </a:lnTo>
                  <a:lnTo>
                    <a:pt x="12" y="230"/>
                  </a:lnTo>
                  <a:lnTo>
                    <a:pt x="12" y="230"/>
                  </a:lnTo>
                  <a:lnTo>
                    <a:pt x="14" y="234"/>
                  </a:lnTo>
                  <a:lnTo>
                    <a:pt x="16" y="236"/>
                  </a:lnTo>
                  <a:lnTo>
                    <a:pt x="20" y="238"/>
                  </a:lnTo>
                  <a:lnTo>
                    <a:pt x="20" y="240"/>
                  </a:lnTo>
                  <a:lnTo>
                    <a:pt x="20" y="240"/>
                  </a:lnTo>
                  <a:lnTo>
                    <a:pt x="22" y="244"/>
                  </a:lnTo>
                  <a:lnTo>
                    <a:pt x="24" y="246"/>
                  </a:lnTo>
                  <a:lnTo>
                    <a:pt x="36" y="246"/>
                  </a:lnTo>
                  <a:lnTo>
                    <a:pt x="36" y="246"/>
                  </a:lnTo>
                  <a:lnTo>
                    <a:pt x="46" y="240"/>
                  </a:lnTo>
                  <a:lnTo>
                    <a:pt x="46" y="240"/>
                  </a:lnTo>
                  <a:lnTo>
                    <a:pt x="48" y="238"/>
                  </a:lnTo>
                  <a:lnTo>
                    <a:pt x="48" y="240"/>
                  </a:lnTo>
                  <a:lnTo>
                    <a:pt x="48" y="242"/>
                  </a:lnTo>
                  <a:lnTo>
                    <a:pt x="46" y="282"/>
                  </a:lnTo>
                  <a:lnTo>
                    <a:pt x="60" y="288"/>
                  </a:lnTo>
                  <a:lnTo>
                    <a:pt x="60" y="288"/>
                  </a:lnTo>
                  <a:lnTo>
                    <a:pt x="62" y="288"/>
                  </a:lnTo>
                  <a:lnTo>
                    <a:pt x="66" y="288"/>
                  </a:lnTo>
                  <a:lnTo>
                    <a:pt x="66" y="288"/>
                  </a:lnTo>
                  <a:lnTo>
                    <a:pt x="70" y="290"/>
                  </a:lnTo>
                  <a:lnTo>
                    <a:pt x="72" y="288"/>
                  </a:lnTo>
                  <a:lnTo>
                    <a:pt x="74" y="288"/>
                  </a:lnTo>
                  <a:lnTo>
                    <a:pt x="74" y="286"/>
                  </a:lnTo>
                  <a:lnTo>
                    <a:pt x="74" y="286"/>
                  </a:lnTo>
                  <a:lnTo>
                    <a:pt x="74" y="284"/>
                  </a:lnTo>
                  <a:lnTo>
                    <a:pt x="76" y="282"/>
                  </a:lnTo>
                  <a:lnTo>
                    <a:pt x="76" y="282"/>
                  </a:lnTo>
                  <a:lnTo>
                    <a:pt x="82" y="280"/>
                  </a:lnTo>
                  <a:lnTo>
                    <a:pt x="82" y="280"/>
                  </a:lnTo>
                  <a:lnTo>
                    <a:pt x="86" y="272"/>
                  </a:lnTo>
                  <a:lnTo>
                    <a:pt x="90" y="268"/>
                  </a:lnTo>
                  <a:lnTo>
                    <a:pt x="96" y="264"/>
                  </a:lnTo>
                  <a:lnTo>
                    <a:pt x="96" y="264"/>
                  </a:lnTo>
                  <a:lnTo>
                    <a:pt x="104" y="262"/>
                  </a:lnTo>
                  <a:lnTo>
                    <a:pt x="112" y="260"/>
                  </a:lnTo>
                  <a:lnTo>
                    <a:pt x="118" y="260"/>
                  </a:lnTo>
                  <a:lnTo>
                    <a:pt x="120" y="264"/>
                  </a:lnTo>
                  <a:lnTo>
                    <a:pt x="120" y="264"/>
                  </a:lnTo>
                  <a:lnTo>
                    <a:pt x="118" y="270"/>
                  </a:lnTo>
                  <a:lnTo>
                    <a:pt x="116" y="274"/>
                  </a:lnTo>
                  <a:lnTo>
                    <a:pt x="116" y="278"/>
                  </a:lnTo>
                  <a:lnTo>
                    <a:pt x="116" y="278"/>
                  </a:lnTo>
                  <a:lnTo>
                    <a:pt x="118" y="282"/>
                  </a:lnTo>
                  <a:lnTo>
                    <a:pt x="122" y="286"/>
                  </a:lnTo>
                  <a:lnTo>
                    <a:pt x="122" y="286"/>
                  </a:lnTo>
                  <a:lnTo>
                    <a:pt x="128" y="288"/>
                  </a:lnTo>
                  <a:lnTo>
                    <a:pt x="128" y="288"/>
                  </a:lnTo>
                  <a:lnTo>
                    <a:pt x="130" y="288"/>
                  </a:lnTo>
                  <a:lnTo>
                    <a:pt x="132" y="286"/>
                  </a:lnTo>
                  <a:lnTo>
                    <a:pt x="134" y="286"/>
                  </a:lnTo>
                  <a:lnTo>
                    <a:pt x="138" y="288"/>
                  </a:lnTo>
                  <a:lnTo>
                    <a:pt x="138" y="288"/>
                  </a:lnTo>
                  <a:lnTo>
                    <a:pt x="142" y="292"/>
                  </a:lnTo>
                  <a:lnTo>
                    <a:pt x="148" y="296"/>
                  </a:lnTo>
                  <a:lnTo>
                    <a:pt x="148" y="296"/>
                  </a:lnTo>
                  <a:lnTo>
                    <a:pt x="152" y="300"/>
                  </a:lnTo>
                  <a:lnTo>
                    <a:pt x="154" y="302"/>
                  </a:lnTo>
                  <a:lnTo>
                    <a:pt x="154" y="302"/>
                  </a:lnTo>
                  <a:lnTo>
                    <a:pt x="158" y="306"/>
                  </a:lnTo>
                  <a:lnTo>
                    <a:pt x="162" y="308"/>
                  </a:lnTo>
                  <a:lnTo>
                    <a:pt x="164" y="308"/>
                  </a:lnTo>
                  <a:lnTo>
                    <a:pt x="164" y="308"/>
                  </a:lnTo>
                  <a:lnTo>
                    <a:pt x="170" y="310"/>
                  </a:lnTo>
                  <a:lnTo>
                    <a:pt x="174" y="310"/>
                  </a:lnTo>
                  <a:lnTo>
                    <a:pt x="174" y="310"/>
                  </a:lnTo>
                  <a:lnTo>
                    <a:pt x="180" y="310"/>
                  </a:lnTo>
                  <a:lnTo>
                    <a:pt x="182" y="310"/>
                  </a:lnTo>
                  <a:lnTo>
                    <a:pt x="184" y="310"/>
                  </a:lnTo>
                  <a:lnTo>
                    <a:pt x="184" y="310"/>
                  </a:lnTo>
                  <a:lnTo>
                    <a:pt x="186" y="316"/>
                  </a:lnTo>
                  <a:lnTo>
                    <a:pt x="188" y="322"/>
                  </a:lnTo>
                  <a:lnTo>
                    <a:pt x="188" y="322"/>
                  </a:lnTo>
                  <a:lnTo>
                    <a:pt x="192" y="332"/>
                  </a:lnTo>
                  <a:lnTo>
                    <a:pt x="192" y="332"/>
                  </a:lnTo>
                  <a:lnTo>
                    <a:pt x="186" y="338"/>
                  </a:lnTo>
                  <a:lnTo>
                    <a:pt x="186" y="338"/>
                  </a:lnTo>
                  <a:lnTo>
                    <a:pt x="186" y="344"/>
                  </a:lnTo>
                  <a:lnTo>
                    <a:pt x="188" y="348"/>
                  </a:lnTo>
                  <a:lnTo>
                    <a:pt x="188" y="348"/>
                  </a:lnTo>
                  <a:lnTo>
                    <a:pt x="190" y="354"/>
                  </a:lnTo>
                  <a:lnTo>
                    <a:pt x="192" y="356"/>
                  </a:lnTo>
                  <a:lnTo>
                    <a:pt x="212" y="356"/>
                  </a:lnTo>
                  <a:lnTo>
                    <a:pt x="212" y="356"/>
                  </a:lnTo>
                  <a:lnTo>
                    <a:pt x="210" y="358"/>
                  </a:lnTo>
                  <a:lnTo>
                    <a:pt x="210" y="364"/>
                  </a:lnTo>
                  <a:lnTo>
                    <a:pt x="210" y="364"/>
                  </a:lnTo>
                  <a:lnTo>
                    <a:pt x="212" y="370"/>
                  </a:lnTo>
                  <a:lnTo>
                    <a:pt x="216" y="374"/>
                  </a:lnTo>
                  <a:lnTo>
                    <a:pt x="216" y="374"/>
                  </a:lnTo>
                  <a:lnTo>
                    <a:pt x="220" y="378"/>
                  </a:lnTo>
                  <a:lnTo>
                    <a:pt x="222" y="382"/>
                  </a:lnTo>
                  <a:lnTo>
                    <a:pt x="222" y="382"/>
                  </a:lnTo>
                  <a:lnTo>
                    <a:pt x="222" y="386"/>
                  </a:lnTo>
                  <a:lnTo>
                    <a:pt x="222" y="390"/>
                  </a:lnTo>
                  <a:lnTo>
                    <a:pt x="222" y="390"/>
                  </a:lnTo>
                  <a:lnTo>
                    <a:pt x="220" y="400"/>
                  </a:lnTo>
                  <a:lnTo>
                    <a:pt x="218" y="408"/>
                  </a:lnTo>
                  <a:lnTo>
                    <a:pt x="220" y="412"/>
                  </a:lnTo>
                  <a:lnTo>
                    <a:pt x="216" y="414"/>
                  </a:lnTo>
                  <a:lnTo>
                    <a:pt x="218" y="416"/>
                  </a:lnTo>
                  <a:lnTo>
                    <a:pt x="218" y="416"/>
                  </a:lnTo>
                  <a:lnTo>
                    <a:pt x="222" y="422"/>
                  </a:lnTo>
                  <a:lnTo>
                    <a:pt x="222" y="422"/>
                  </a:lnTo>
                  <a:lnTo>
                    <a:pt x="224" y="428"/>
                  </a:lnTo>
                  <a:lnTo>
                    <a:pt x="222" y="436"/>
                  </a:lnTo>
                  <a:lnTo>
                    <a:pt x="222" y="436"/>
                  </a:lnTo>
                  <a:lnTo>
                    <a:pt x="222" y="438"/>
                  </a:lnTo>
                  <a:lnTo>
                    <a:pt x="224" y="442"/>
                  </a:lnTo>
                  <a:lnTo>
                    <a:pt x="224" y="446"/>
                  </a:lnTo>
                  <a:lnTo>
                    <a:pt x="224" y="446"/>
                  </a:lnTo>
                  <a:lnTo>
                    <a:pt x="226" y="448"/>
                  </a:lnTo>
                  <a:lnTo>
                    <a:pt x="232" y="450"/>
                  </a:lnTo>
                  <a:lnTo>
                    <a:pt x="240" y="450"/>
                  </a:lnTo>
                  <a:lnTo>
                    <a:pt x="244" y="448"/>
                  </a:lnTo>
                  <a:lnTo>
                    <a:pt x="246" y="452"/>
                  </a:lnTo>
                  <a:lnTo>
                    <a:pt x="246" y="452"/>
                  </a:lnTo>
                  <a:lnTo>
                    <a:pt x="246" y="454"/>
                  </a:lnTo>
                  <a:lnTo>
                    <a:pt x="248" y="456"/>
                  </a:lnTo>
                  <a:lnTo>
                    <a:pt x="250" y="456"/>
                  </a:lnTo>
                  <a:lnTo>
                    <a:pt x="250" y="456"/>
                  </a:lnTo>
                  <a:lnTo>
                    <a:pt x="254" y="458"/>
                  </a:lnTo>
                  <a:lnTo>
                    <a:pt x="256" y="460"/>
                  </a:lnTo>
                  <a:lnTo>
                    <a:pt x="256" y="464"/>
                  </a:lnTo>
                  <a:lnTo>
                    <a:pt x="256" y="464"/>
                  </a:lnTo>
                  <a:lnTo>
                    <a:pt x="256" y="478"/>
                  </a:lnTo>
                  <a:lnTo>
                    <a:pt x="256" y="478"/>
                  </a:lnTo>
                  <a:lnTo>
                    <a:pt x="258" y="484"/>
                  </a:lnTo>
                  <a:lnTo>
                    <a:pt x="258" y="486"/>
                  </a:lnTo>
                  <a:lnTo>
                    <a:pt x="260" y="486"/>
                  </a:lnTo>
                  <a:lnTo>
                    <a:pt x="260" y="486"/>
                  </a:lnTo>
                  <a:lnTo>
                    <a:pt x="264" y="484"/>
                  </a:lnTo>
                  <a:lnTo>
                    <a:pt x="266" y="484"/>
                  </a:lnTo>
                  <a:lnTo>
                    <a:pt x="268" y="484"/>
                  </a:lnTo>
                  <a:lnTo>
                    <a:pt x="268" y="484"/>
                  </a:lnTo>
                  <a:lnTo>
                    <a:pt x="266" y="490"/>
                  </a:lnTo>
                  <a:lnTo>
                    <a:pt x="266" y="498"/>
                  </a:lnTo>
                  <a:lnTo>
                    <a:pt x="266" y="498"/>
                  </a:lnTo>
                  <a:lnTo>
                    <a:pt x="264" y="506"/>
                  </a:lnTo>
                  <a:lnTo>
                    <a:pt x="264" y="514"/>
                  </a:lnTo>
                  <a:lnTo>
                    <a:pt x="264" y="514"/>
                  </a:lnTo>
                  <a:lnTo>
                    <a:pt x="268" y="516"/>
                  </a:lnTo>
                  <a:lnTo>
                    <a:pt x="270" y="516"/>
                  </a:lnTo>
                  <a:lnTo>
                    <a:pt x="270" y="516"/>
                  </a:lnTo>
                  <a:lnTo>
                    <a:pt x="270" y="516"/>
                  </a:lnTo>
                  <a:lnTo>
                    <a:pt x="270" y="514"/>
                  </a:lnTo>
                  <a:lnTo>
                    <a:pt x="272" y="514"/>
                  </a:lnTo>
                  <a:lnTo>
                    <a:pt x="276" y="514"/>
                  </a:lnTo>
                  <a:lnTo>
                    <a:pt x="276" y="514"/>
                  </a:lnTo>
                  <a:lnTo>
                    <a:pt x="276" y="526"/>
                  </a:lnTo>
                  <a:lnTo>
                    <a:pt x="276" y="526"/>
                  </a:lnTo>
                  <a:lnTo>
                    <a:pt x="276" y="540"/>
                  </a:lnTo>
                  <a:lnTo>
                    <a:pt x="276" y="540"/>
                  </a:lnTo>
                  <a:lnTo>
                    <a:pt x="276" y="542"/>
                  </a:lnTo>
                  <a:lnTo>
                    <a:pt x="276" y="542"/>
                  </a:lnTo>
                  <a:lnTo>
                    <a:pt x="272" y="546"/>
                  </a:lnTo>
                  <a:lnTo>
                    <a:pt x="272" y="546"/>
                  </a:lnTo>
                  <a:lnTo>
                    <a:pt x="270" y="546"/>
                  </a:lnTo>
                  <a:lnTo>
                    <a:pt x="266" y="548"/>
                  </a:lnTo>
                  <a:lnTo>
                    <a:pt x="262" y="548"/>
                  </a:lnTo>
                  <a:lnTo>
                    <a:pt x="260" y="550"/>
                  </a:lnTo>
                  <a:lnTo>
                    <a:pt x="260" y="550"/>
                  </a:lnTo>
                  <a:lnTo>
                    <a:pt x="258" y="556"/>
                  </a:lnTo>
                  <a:lnTo>
                    <a:pt x="254" y="560"/>
                  </a:lnTo>
                  <a:lnTo>
                    <a:pt x="254" y="560"/>
                  </a:lnTo>
                  <a:lnTo>
                    <a:pt x="250" y="562"/>
                  </a:lnTo>
                  <a:lnTo>
                    <a:pt x="248" y="566"/>
                  </a:lnTo>
                  <a:lnTo>
                    <a:pt x="248" y="566"/>
                  </a:lnTo>
                  <a:lnTo>
                    <a:pt x="246" y="568"/>
                  </a:lnTo>
                  <a:lnTo>
                    <a:pt x="242" y="568"/>
                  </a:lnTo>
                  <a:lnTo>
                    <a:pt x="240" y="570"/>
                  </a:lnTo>
                  <a:lnTo>
                    <a:pt x="238" y="572"/>
                  </a:lnTo>
                  <a:lnTo>
                    <a:pt x="238" y="572"/>
                  </a:lnTo>
                  <a:lnTo>
                    <a:pt x="238" y="578"/>
                  </a:lnTo>
                  <a:lnTo>
                    <a:pt x="234" y="584"/>
                  </a:lnTo>
                  <a:lnTo>
                    <a:pt x="234" y="584"/>
                  </a:lnTo>
                  <a:lnTo>
                    <a:pt x="230" y="586"/>
                  </a:lnTo>
                  <a:lnTo>
                    <a:pt x="228" y="590"/>
                  </a:lnTo>
                  <a:lnTo>
                    <a:pt x="228" y="590"/>
                  </a:lnTo>
                  <a:lnTo>
                    <a:pt x="226" y="600"/>
                  </a:lnTo>
                  <a:lnTo>
                    <a:pt x="236" y="596"/>
                  </a:lnTo>
                  <a:lnTo>
                    <a:pt x="246" y="604"/>
                  </a:lnTo>
                  <a:lnTo>
                    <a:pt x="246" y="604"/>
                  </a:lnTo>
                  <a:lnTo>
                    <a:pt x="250" y="612"/>
                  </a:lnTo>
                  <a:lnTo>
                    <a:pt x="250" y="612"/>
                  </a:lnTo>
                  <a:lnTo>
                    <a:pt x="252" y="614"/>
                  </a:lnTo>
                  <a:lnTo>
                    <a:pt x="254" y="614"/>
                  </a:lnTo>
                  <a:lnTo>
                    <a:pt x="256" y="614"/>
                  </a:lnTo>
                  <a:lnTo>
                    <a:pt x="258" y="616"/>
                  </a:lnTo>
                  <a:lnTo>
                    <a:pt x="258" y="616"/>
                  </a:lnTo>
                  <a:lnTo>
                    <a:pt x="262" y="620"/>
                  </a:lnTo>
                  <a:lnTo>
                    <a:pt x="266" y="624"/>
                  </a:lnTo>
                  <a:lnTo>
                    <a:pt x="266" y="624"/>
                  </a:lnTo>
                  <a:lnTo>
                    <a:pt x="272" y="626"/>
                  </a:lnTo>
                  <a:lnTo>
                    <a:pt x="274" y="628"/>
                  </a:lnTo>
                  <a:lnTo>
                    <a:pt x="276" y="630"/>
                  </a:lnTo>
                  <a:lnTo>
                    <a:pt x="276" y="630"/>
                  </a:lnTo>
                  <a:lnTo>
                    <a:pt x="278" y="634"/>
                  </a:lnTo>
                  <a:lnTo>
                    <a:pt x="282" y="638"/>
                  </a:lnTo>
                  <a:lnTo>
                    <a:pt x="282" y="638"/>
                  </a:lnTo>
                  <a:lnTo>
                    <a:pt x="286" y="642"/>
                  </a:lnTo>
                  <a:lnTo>
                    <a:pt x="288" y="642"/>
                  </a:lnTo>
                  <a:lnTo>
                    <a:pt x="282" y="652"/>
                  </a:lnTo>
                  <a:lnTo>
                    <a:pt x="282" y="656"/>
                  </a:lnTo>
                  <a:lnTo>
                    <a:pt x="282" y="656"/>
                  </a:lnTo>
                  <a:lnTo>
                    <a:pt x="288" y="650"/>
                  </a:lnTo>
                  <a:lnTo>
                    <a:pt x="292" y="646"/>
                  </a:lnTo>
                  <a:lnTo>
                    <a:pt x="292" y="646"/>
                  </a:lnTo>
                  <a:lnTo>
                    <a:pt x="290" y="640"/>
                  </a:lnTo>
                  <a:lnTo>
                    <a:pt x="288" y="636"/>
                  </a:lnTo>
                  <a:lnTo>
                    <a:pt x="288" y="636"/>
                  </a:lnTo>
                  <a:lnTo>
                    <a:pt x="294" y="630"/>
                  </a:lnTo>
                  <a:lnTo>
                    <a:pt x="298" y="624"/>
                  </a:lnTo>
                  <a:lnTo>
                    <a:pt x="298" y="624"/>
                  </a:lnTo>
                  <a:lnTo>
                    <a:pt x="298" y="620"/>
                  </a:lnTo>
                  <a:lnTo>
                    <a:pt x="298" y="620"/>
                  </a:lnTo>
                  <a:lnTo>
                    <a:pt x="300" y="618"/>
                  </a:lnTo>
                  <a:lnTo>
                    <a:pt x="304" y="618"/>
                  </a:lnTo>
                  <a:lnTo>
                    <a:pt x="304" y="616"/>
                  </a:lnTo>
                  <a:lnTo>
                    <a:pt x="304" y="616"/>
                  </a:lnTo>
                  <a:lnTo>
                    <a:pt x="306" y="614"/>
                  </a:lnTo>
                  <a:lnTo>
                    <a:pt x="308" y="610"/>
                  </a:lnTo>
                  <a:lnTo>
                    <a:pt x="308" y="602"/>
                  </a:lnTo>
                  <a:lnTo>
                    <a:pt x="308" y="602"/>
                  </a:lnTo>
                  <a:lnTo>
                    <a:pt x="312" y="604"/>
                  </a:lnTo>
                  <a:lnTo>
                    <a:pt x="312" y="606"/>
                  </a:lnTo>
                  <a:lnTo>
                    <a:pt x="312" y="606"/>
                  </a:lnTo>
                  <a:lnTo>
                    <a:pt x="316" y="606"/>
                  </a:lnTo>
                  <a:lnTo>
                    <a:pt x="316" y="606"/>
                  </a:lnTo>
                  <a:lnTo>
                    <a:pt x="316" y="604"/>
                  </a:lnTo>
                  <a:lnTo>
                    <a:pt x="318" y="604"/>
                  </a:lnTo>
                  <a:lnTo>
                    <a:pt x="318" y="604"/>
                  </a:lnTo>
                  <a:lnTo>
                    <a:pt x="318" y="608"/>
                  </a:lnTo>
                  <a:lnTo>
                    <a:pt x="318" y="608"/>
                  </a:lnTo>
                  <a:lnTo>
                    <a:pt x="316" y="614"/>
                  </a:lnTo>
                  <a:lnTo>
                    <a:pt x="314" y="620"/>
                  </a:lnTo>
                  <a:lnTo>
                    <a:pt x="314" y="620"/>
                  </a:lnTo>
                  <a:lnTo>
                    <a:pt x="312" y="622"/>
                  </a:lnTo>
                  <a:lnTo>
                    <a:pt x="312" y="622"/>
                  </a:lnTo>
                  <a:lnTo>
                    <a:pt x="312" y="626"/>
                  </a:lnTo>
                  <a:lnTo>
                    <a:pt x="314" y="624"/>
                  </a:lnTo>
                  <a:lnTo>
                    <a:pt x="318" y="618"/>
                  </a:lnTo>
                  <a:lnTo>
                    <a:pt x="318" y="618"/>
                  </a:lnTo>
                  <a:lnTo>
                    <a:pt x="324" y="602"/>
                  </a:lnTo>
                  <a:lnTo>
                    <a:pt x="324" y="602"/>
                  </a:lnTo>
                  <a:lnTo>
                    <a:pt x="326" y="594"/>
                  </a:lnTo>
                  <a:lnTo>
                    <a:pt x="330" y="586"/>
                  </a:lnTo>
                  <a:lnTo>
                    <a:pt x="330" y="586"/>
                  </a:lnTo>
                  <a:lnTo>
                    <a:pt x="338" y="576"/>
                  </a:lnTo>
                  <a:lnTo>
                    <a:pt x="338" y="576"/>
                  </a:lnTo>
                  <a:lnTo>
                    <a:pt x="340" y="576"/>
                  </a:lnTo>
                  <a:lnTo>
                    <a:pt x="342" y="576"/>
                  </a:lnTo>
                  <a:lnTo>
                    <a:pt x="342" y="576"/>
                  </a:lnTo>
                  <a:lnTo>
                    <a:pt x="342" y="572"/>
                  </a:lnTo>
                  <a:lnTo>
                    <a:pt x="342" y="570"/>
                  </a:lnTo>
                  <a:lnTo>
                    <a:pt x="342" y="570"/>
                  </a:lnTo>
                  <a:lnTo>
                    <a:pt x="344" y="568"/>
                  </a:lnTo>
                  <a:lnTo>
                    <a:pt x="344" y="568"/>
                  </a:lnTo>
                  <a:lnTo>
                    <a:pt x="344" y="564"/>
                  </a:lnTo>
                  <a:lnTo>
                    <a:pt x="344" y="560"/>
                  </a:lnTo>
                  <a:lnTo>
                    <a:pt x="344" y="548"/>
                  </a:lnTo>
                  <a:lnTo>
                    <a:pt x="344" y="548"/>
                  </a:lnTo>
                  <a:lnTo>
                    <a:pt x="342" y="546"/>
                  </a:lnTo>
                  <a:lnTo>
                    <a:pt x="342" y="546"/>
                  </a:lnTo>
                  <a:lnTo>
                    <a:pt x="342" y="544"/>
                  </a:lnTo>
                  <a:lnTo>
                    <a:pt x="342" y="542"/>
                  </a:lnTo>
                  <a:lnTo>
                    <a:pt x="340" y="542"/>
                  </a:lnTo>
                  <a:lnTo>
                    <a:pt x="340" y="542"/>
                  </a:lnTo>
                  <a:lnTo>
                    <a:pt x="340" y="538"/>
                  </a:lnTo>
                  <a:lnTo>
                    <a:pt x="340" y="538"/>
                  </a:lnTo>
                  <a:lnTo>
                    <a:pt x="342" y="538"/>
                  </a:lnTo>
                  <a:lnTo>
                    <a:pt x="342" y="536"/>
                  </a:lnTo>
                  <a:lnTo>
                    <a:pt x="342" y="536"/>
                  </a:lnTo>
                  <a:lnTo>
                    <a:pt x="342" y="528"/>
                  </a:lnTo>
                  <a:lnTo>
                    <a:pt x="342" y="528"/>
                  </a:lnTo>
                  <a:lnTo>
                    <a:pt x="340" y="528"/>
                  </a:lnTo>
                  <a:lnTo>
                    <a:pt x="340" y="526"/>
                  </a:lnTo>
                  <a:lnTo>
                    <a:pt x="340" y="526"/>
                  </a:lnTo>
                  <a:lnTo>
                    <a:pt x="342" y="522"/>
                  </a:lnTo>
                  <a:lnTo>
                    <a:pt x="342" y="522"/>
                  </a:lnTo>
                  <a:lnTo>
                    <a:pt x="342" y="518"/>
                  </a:lnTo>
                  <a:lnTo>
                    <a:pt x="342" y="516"/>
                  </a:lnTo>
                  <a:lnTo>
                    <a:pt x="342" y="51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0" name="Freeform 248"/>
            <p:cNvSpPr>
              <a:spLocks noChangeAspect="1"/>
            </p:cNvSpPr>
            <p:nvPr/>
          </p:nvSpPr>
          <p:spPr bwMode="gray">
            <a:xfrm>
              <a:off x="4642147" y="3134664"/>
              <a:ext cx="87798" cy="88828"/>
            </a:xfrm>
            <a:custGeom>
              <a:avLst/>
              <a:gdLst/>
              <a:ahLst/>
              <a:cxnLst>
                <a:cxn ang="0">
                  <a:pos x="48" y="10"/>
                </a:cxn>
                <a:cxn ang="0">
                  <a:pos x="38" y="10"/>
                </a:cxn>
                <a:cxn ang="0">
                  <a:pos x="36" y="8"/>
                </a:cxn>
                <a:cxn ang="0">
                  <a:pos x="34" y="6"/>
                </a:cxn>
                <a:cxn ang="0">
                  <a:pos x="28" y="4"/>
                </a:cxn>
                <a:cxn ang="0">
                  <a:pos x="24" y="4"/>
                </a:cxn>
                <a:cxn ang="0">
                  <a:pos x="18" y="6"/>
                </a:cxn>
                <a:cxn ang="0">
                  <a:pos x="16" y="6"/>
                </a:cxn>
                <a:cxn ang="0">
                  <a:pos x="10" y="2"/>
                </a:cxn>
                <a:cxn ang="0">
                  <a:pos x="10" y="4"/>
                </a:cxn>
                <a:cxn ang="0">
                  <a:pos x="6" y="4"/>
                </a:cxn>
                <a:cxn ang="0">
                  <a:pos x="4" y="0"/>
                </a:cxn>
                <a:cxn ang="0">
                  <a:pos x="0" y="0"/>
                </a:cxn>
                <a:cxn ang="0">
                  <a:pos x="0" y="2"/>
                </a:cxn>
                <a:cxn ang="0">
                  <a:pos x="0" y="6"/>
                </a:cxn>
                <a:cxn ang="0">
                  <a:pos x="8" y="18"/>
                </a:cxn>
                <a:cxn ang="0">
                  <a:pos x="8" y="20"/>
                </a:cxn>
                <a:cxn ang="0">
                  <a:pos x="8" y="22"/>
                </a:cxn>
                <a:cxn ang="0">
                  <a:pos x="14" y="30"/>
                </a:cxn>
                <a:cxn ang="0">
                  <a:pos x="20" y="36"/>
                </a:cxn>
                <a:cxn ang="0">
                  <a:pos x="24" y="42"/>
                </a:cxn>
                <a:cxn ang="0">
                  <a:pos x="30" y="46"/>
                </a:cxn>
                <a:cxn ang="0">
                  <a:pos x="34" y="50"/>
                </a:cxn>
                <a:cxn ang="0">
                  <a:pos x="38" y="54"/>
                </a:cxn>
                <a:cxn ang="0">
                  <a:pos x="36" y="50"/>
                </a:cxn>
                <a:cxn ang="0">
                  <a:pos x="36" y="46"/>
                </a:cxn>
                <a:cxn ang="0">
                  <a:pos x="38" y="38"/>
                </a:cxn>
                <a:cxn ang="0">
                  <a:pos x="44" y="36"/>
                </a:cxn>
                <a:cxn ang="0">
                  <a:pos x="46" y="32"/>
                </a:cxn>
                <a:cxn ang="0">
                  <a:pos x="50" y="30"/>
                </a:cxn>
                <a:cxn ang="0">
                  <a:pos x="52" y="28"/>
                </a:cxn>
                <a:cxn ang="0">
                  <a:pos x="50" y="26"/>
                </a:cxn>
                <a:cxn ang="0">
                  <a:pos x="46" y="22"/>
                </a:cxn>
                <a:cxn ang="0">
                  <a:pos x="50" y="22"/>
                </a:cxn>
                <a:cxn ang="0">
                  <a:pos x="52" y="20"/>
                </a:cxn>
                <a:cxn ang="0">
                  <a:pos x="50" y="18"/>
                </a:cxn>
                <a:cxn ang="0">
                  <a:pos x="48" y="14"/>
                </a:cxn>
                <a:cxn ang="0">
                  <a:pos x="48" y="10"/>
                </a:cxn>
              </a:cxnLst>
              <a:rect l="0" t="0" r="r" b="b"/>
              <a:pathLst>
                <a:path w="52" h="54">
                  <a:moveTo>
                    <a:pt x="48" y="10"/>
                  </a:moveTo>
                  <a:lnTo>
                    <a:pt x="48" y="10"/>
                  </a:lnTo>
                  <a:lnTo>
                    <a:pt x="42" y="10"/>
                  </a:lnTo>
                  <a:lnTo>
                    <a:pt x="38" y="10"/>
                  </a:lnTo>
                  <a:lnTo>
                    <a:pt x="36" y="8"/>
                  </a:lnTo>
                  <a:lnTo>
                    <a:pt x="36" y="8"/>
                  </a:lnTo>
                  <a:lnTo>
                    <a:pt x="34" y="6"/>
                  </a:lnTo>
                  <a:lnTo>
                    <a:pt x="34" y="6"/>
                  </a:lnTo>
                  <a:lnTo>
                    <a:pt x="34" y="6"/>
                  </a:lnTo>
                  <a:lnTo>
                    <a:pt x="28" y="4"/>
                  </a:lnTo>
                  <a:lnTo>
                    <a:pt x="28" y="4"/>
                  </a:lnTo>
                  <a:lnTo>
                    <a:pt x="24" y="4"/>
                  </a:lnTo>
                  <a:lnTo>
                    <a:pt x="20" y="4"/>
                  </a:lnTo>
                  <a:lnTo>
                    <a:pt x="18" y="6"/>
                  </a:lnTo>
                  <a:lnTo>
                    <a:pt x="16" y="6"/>
                  </a:lnTo>
                  <a:lnTo>
                    <a:pt x="16" y="6"/>
                  </a:lnTo>
                  <a:lnTo>
                    <a:pt x="12" y="4"/>
                  </a:lnTo>
                  <a:lnTo>
                    <a:pt x="10" y="2"/>
                  </a:lnTo>
                  <a:lnTo>
                    <a:pt x="10" y="4"/>
                  </a:lnTo>
                  <a:lnTo>
                    <a:pt x="10" y="4"/>
                  </a:lnTo>
                  <a:lnTo>
                    <a:pt x="8" y="4"/>
                  </a:lnTo>
                  <a:lnTo>
                    <a:pt x="6" y="4"/>
                  </a:lnTo>
                  <a:lnTo>
                    <a:pt x="4" y="0"/>
                  </a:lnTo>
                  <a:lnTo>
                    <a:pt x="4" y="0"/>
                  </a:lnTo>
                  <a:lnTo>
                    <a:pt x="2" y="0"/>
                  </a:lnTo>
                  <a:lnTo>
                    <a:pt x="0" y="0"/>
                  </a:lnTo>
                  <a:lnTo>
                    <a:pt x="0" y="2"/>
                  </a:lnTo>
                  <a:lnTo>
                    <a:pt x="0" y="2"/>
                  </a:lnTo>
                  <a:lnTo>
                    <a:pt x="0" y="6"/>
                  </a:lnTo>
                  <a:lnTo>
                    <a:pt x="0" y="6"/>
                  </a:lnTo>
                  <a:lnTo>
                    <a:pt x="4" y="10"/>
                  </a:lnTo>
                  <a:lnTo>
                    <a:pt x="8" y="18"/>
                  </a:lnTo>
                  <a:lnTo>
                    <a:pt x="8" y="18"/>
                  </a:lnTo>
                  <a:lnTo>
                    <a:pt x="8" y="20"/>
                  </a:lnTo>
                  <a:lnTo>
                    <a:pt x="6" y="20"/>
                  </a:lnTo>
                  <a:lnTo>
                    <a:pt x="8" y="22"/>
                  </a:lnTo>
                  <a:lnTo>
                    <a:pt x="8" y="22"/>
                  </a:lnTo>
                  <a:lnTo>
                    <a:pt x="14" y="30"/>
                  </a:lnTo>
                  <a:lnTo>
                    <a:pt x="20" y="36"/>
                  </a:lnTo>
                  <a:lnTo>
                    <a:pt x="20" y="36"/>
                  </a:lnTo>
                  <a:lnTo>
                    <a:pt x="24" y="42"/>
                  </a:lnTo>
                  <a:lnTo>
                    <a:pt x="24" y="42"/>
                  </a:lnTo>
                  <a:lnTo>
                    <a:pt x="28" y="44"/>
                  </a:lnTo>
                  <a:lnTo>
                    <a:pt x="30" y="46"/>
                  </a:lnTo>
                  <a:lnTo>
                    <a:pt x="30" y="46"/>
                  </a:lnTo>
                  <a:lnTo>
                    <a:pt x="34" y="50"/>
                  </a:lnTo>
                  <a:lnTo>
                    <a:pt x="34" y="50"/>
                  </a:lnTo>
                  <a:lnTo>
                    <a:pt x="38" y="54"/>
                  </a:lnTo>
                  <a:lnTo>
                    <a:pt x="38" y="54"/>
                  </a:lnTo>
                  <a:lnTo>
                    <a:pt x="36" y="50"/>
                  </a:lnTo>
                  <a:lnTo>
                    <a:pt x="36" y="46"/>
                  </a:lnTo>
                  <a:lnTo>
                    <a:pt x="36" y="46"/>
                  </a:lnTo>
                  <a:lnTo>
                    <a:pt x="36" y="42"/>
                  </a:lnTo>
                  <a:lnTo>
                    <a:pt x="38" y="38"/>
                  </a:lnTo>
                  <a:lnTo>
                    <a:pt x="38" y="38"/>
                  </a:lnTo>
                  <a:lnTo>
                    <a:pt x="44" y="36"/>
                  </a:lnTo>
                  <a:lnTo>
                    <a:pt x="44" y="36"/>
                  </a:lnTo>
                  <a:lnTo>
                    <a:pt x="46" y="32"/>
                  </a:lnTo>
                  <a:lnTo>
                    <a:pt x="46" y="32"/>
                  </a:lnTo>
                  <a:lnTo>
                    <a:pt x="50" y="30"/>
                  </a:lnTo>
                  <a:lnTo>
                    <a:pt x="52" y="28"/>
                  </a:lnTo>
                  <a:lnTo>
                    <a:pt x="52" y="28"/>
                  </a:lnTo>
                  <a:lnTo>
                    <a:pt x="52" y="26"/>
                  </a:lnTo>
                  <a:lnTo>
                    <a:pt x="50" y="26"/>
                  </a:lnTo>
                  <a:lnTo>
                    <a:pt x="48" y="24"/>
                  </a:lnTo>
                  <a:lnTo>
                    <a:pt x="46" y="22"/>
                  </a:lnTo>
                  <a:lnTo>
                    <a:pt x="46" y="22"/>
                  </a:lnTo>
                  <a:lnTo>
                    <a:pt x="50" y="22"/>
                  </a:lnTo>
                  <a:lnTo>
                    <a:pt x="52" y="20"/>
                  </a:lnTo>
                  <a:lnTo>
                    <a:pt x="52" y="20"/>
                  </a:lnTo>
                  <a:lnTo>
                    <a:pt x="52" y="18"/>
                  </a:lnTo>
                  <a:lnTo>
                    <a:pt x="50" y="18"/>
                  </a:lnTo>
                  <a:lnTo>
                    <a:pt x="48" y="14"/>
                  </a:lnTo>
                  <a:lnTo>
                    <a:pt x="48" y="14"/>
                  </a:lnTo>
                  <a:lnTo>
                    <a:pt x="48" y="10"/>
                  </a:lnTo>
                  <a:lnTo>
                    <a:pt x="48"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1" name="Freeform 249"/>
            <p:cNvSpPr>
              <a:spLocks noChangeAspect="1"/>
            </p:cNvSpPr>
            <p:nvPr/>
          </p:nvSpPr>
          <p:spPr bwMode="gray">
            <a:xfrm>
              <a:off x="2687089" y="4717125"/>
              <a:ext cx="274367" cy="328994"/>
            </a:xfrm>
            <a:custGeom>
              <a:avLst/>
              <a:gdLst/>
              <a:ahLst/>
              <a:cxnLst>
                <a:cxn ang="0">
                  <a:pos x="12" y="86"/>
                </a:cxn>
                <a:cxn ang="0">
                  <a:pos x="14" y="92"/>
                </a:cxn>
                <a:cxn ang="0">
                  <a:pos x="12" y="92"/>
                </a:cxn>
                <a:cxn ang="0">
                  <a:pos x="10" y="90"/>
                </a:cxn>
                <a:cxn ang="0">
                  <a:pos x="10" y="98"/>
                </a:cxn>
                <a:cxn ang="0">
                  <a:pos x="4" y="118"/>
                </a:cxn>
                <a:cxn ang="0">
                  <a:pos x="10" y="130"/>
                </a:cxn>
                <a:cxn ang="0">
                  <a:pos x="16" y="138"/>
                </a:cxn>
                <a:cxn ang="0">
                  <a:pos x="22" y="154"/>
                </a:cxn>
                <a:cxn ang="0">
                  <a:pos x="26" y="166"/>
                </a:cxn>
                <a:cxn ang="0">
                  <a:pos x="26" y="174"/>
                </a:cxn>
                <a:cxn ang="0">
                  <a:pos x="36" y="196"/>
                </a:cxn>
                <a:cxn ang="0">
                  <a:pos x="50" y="190"/>
                </a:cxn>
                <a:cxn ang="0">
                  <a:pos x="66" y="190"/>
                </a:cxn>
                <a:cxn ang="0">
                  <a:pos x="72" y="200"/>
                </a:cxn>
                <a:cxn ang="0">
                  <a:pos x="76" y="192"/>
                </a:cxn>
                <a:cxn ang="0">
                  <a:pos x="82" y="190"/>
                </a:cxn>
                <a:cxn ang="0">
                  <a:pos x="110" y="166"/>
                </a:cxn>
                <a:cxn ang="0">
                  <a:pos x="114" y="156"/>
                </a:cxn>
                <a:cxn ang="0">
                  <a:pos x="122" y="144"/>
                </a:cxn>
                <a:cxn ang="0">
                  <a:pos x="156" y="154"/>
                </a:cxn>
                <a:cxn ang="0">
                  <a:pos x="158" y="148"/>
                </a:cxn>
                <a:cxn ang="0">
                  <a:pos x="162" y="130"/>
                </a:cxn>
                <a:cxn ang="0">
                  <a:pos x="162" y="122"/>
                </a:cxn>
                <a:cxn ang="0">
                  <a:pos x="156" y="114"/>
                </a:cxn>
                <a:cxn ang="0">
                  <a:pos x="150" y="104"/>
                </a:cxn>
                <a:cxn ang="0">
                  <a:pos x="132" y="96"/>
                </a:cxn>
                <a:cxn ang="0">
                  <a:pos x="128" y="88"/>
                </a:cxn>
                <a:cxn ang="0">
                  <a:pos x="126" y="78"/>
                </a:cxn>
                <a:cxn ang="0">
                  <a:pos x="132" y="72"/>
                </a:cxn>
                <a:cxn ang="0">
                  <a:pos x="126" y="56"/>
                </a:cxn>
                <a:cxn ang="0">
                  <a:pos x="122" y="50"/>
                </a:cxn>
                <a:cxn ang="0">
                  <a:pos x="114" y="50"/>
                </a:cxn>
                <a:cxn ang="0">
                  <a:pos x="104" y="48"/>
                </a:cxn>
                <a:cxn ang="0">
                  <a:pos x="94" y="42"/>
                </a:cxn>
                <a:cxn ang="0">
                  <a:pos x="88" y="36"/>
                </a:cxn>
                <a:cxn ang="0">
                  <a:pos x="78" y="28"/>
                </a:cxn>
                <a:cxn ang="0">
                  <a:pos x="72" y="26"/>
                </a:cxn>
                <a:cxn ang="0">
                  <a:pos x="68" y="28"/>
                </a:cxn>
                <a:cxn ang="0">
                  <a:pos x="58" y="22"/>
                </a:cxn>
                <a:cxn ang="0">
                  <a:pos x="56" y="14"/>
                </a:cxn>
                <a:cxn ang="0">
                  <a:pos x="58" y="0"/>
                </a:cxn>
                <a:cxn ang="0">
                  <a:pos x="44" y="2"/>
                </a:cxn>
                <a:cxn ang="0">
                  <a:pos x="30" y="8"/>
                </a:cxn>
                <a:cxn ang="0">
                  <a:pos x="16" y="22"/>
                </a:cxn>
                <a:cxn ang="0">
                  <a:pos x="14" y="24"/>
                </a:cxn>
                <a:cxn ang="0">
                  <a:pos x="14" y="28"/>
                </a:cxn>
                <a:cxn ang="0">
                  <a:pos x="6" y="28"/>
                </a:cxn>
                <a:cxn ang="0">
                  <a:pos x="0" y="28"/>
                </a:cxn>
                <a:cxn ang="0">
                  <a:pos x="4" y="54"/>
                </a:cxn>
                <a:cxn ang="0">
                  <a:pos x="4" y="66"/>
                </a:cxn>
                <a:cxn ang="0">
                  <a:pos x="6" y="76"/>
                </a:cxn>
                <a:cxn ang="0">
                  <a:pos x="8" y="84"/>
                </a:cxn>
              </a:cxnLst>
              <a:rect l="0" t="0" r="r" b="b"/>
              <a:pathLst>
                <a:path w="162" h="200">
                  <a:moveTo>
                    <a:pt x="10" y="86"/>
                  </a:moveTo>
                  <a:lnTo>
                    <a:pt x="10" y="86"/>
                  </a:lnTo>
                  <a:lnTo>
                    <a:pt x="12" y="86"/>
                  </a:lnTo>
                  <a:lnTo>
                    <a:pt x="12" y="86"/>
                  </a:lnTo>
                  <a:lnTo>
                    <a:pt x="14" y="90"/>
                  </a:lnTo>
                  <a:lnTo>
                    <a:pt x="14" y="92"/>
                  </a:lnTo>
                  <a:lnTo>
                    <a:pt x="14" y="92"/>
                  </a:lnTo>
                  <a:lnTo>
                    <a:pt x="12" y="92"/>
                  </a:lnTo>
                  <a:lnTo>
                    <a:pt x="12" y="92"/>
                  </a:lnTo>
                  <a:lnTo>
                    <a:pt x="10" y="90"/>
                  </a:lnTo>
                  <a:lnTo>
                    <a:pt x="10" y="90"/>
                  </a:lnTo>
                  <a:lnTo>
                    <a:pt x="10" y="90"/>
                  </a:lnTo>
                  <a:lnTo>
                    <a:pt x="10" y="94"/>
                  </a:lnTo>
                  <a:lnTo>
                    <a:pt x="12" y="96"/>
                  </a:lnTo>
                  <a:lnTo>
                    <a:pt x="10" y="98"/>
                  </a:lnTo>
                  <a:lnTo>
                    <a:pt x="10" y="98"/>
                  </a:lnTo>
                  <a:lnTo>
                    <a:pt x="2" y="110"/>
                  </a:lnTo>
                  <a:lnTo>
                    <a:pt x="4" y="118"/>
                  </a:lnTo>
                  <a:lnTo>
                    <a:pt x="4" y="118"/>
                  </a:lnTo>
                  <a:lnTo>
                    <a:pt x="8" y="124"/>
                  </a:lnTo>
                  <a:lnTo>
                    <a:pt x="10" y="130"/>
                  </a:lnTo>
                  <a:lnTo>
                    <a:pt x="12" y="132"/>
                  </a:lnTo>
                  <a:lnTo>
                    <a:pt x="12" y="132"/>
                  </a:lnTo>
                  <a:lnTo>
                    <a:pt x="16" y="138"/>
                  </a:lnTo>
                  <a:lnTo>
                    <a:pt x="18" y="140"/>
                  </a:lnTo>
                  <a:lnTo>
                    <a:pt x="18" y="140"/>
                  </a:lnTo>
                  <a:lnTo>
                    <a:pt x="22" y="154"/>
                  </a:lnTo>
                  <a:lnTo>
                    <a:pt x="22" y="154"/>
                  </a:lnTo>
                  <a:lnTo>
                    <a:pt x="22" y="160"/>
                  </a:lnTo>
                  <a:lnTo>
                    <a:pt x="26" y="166"/>
                  </a:lnTo>
                  <a:lnTo>
                    <a:pt x="26" y="166"/>
                  </a:lnTo>
                  <a:lnTo>
                    <a:pt x="26" y="170"/>
                  </a:lnTo>
                  <a:lnTo>
                    <a:pt x="26" y="174"/>
                  </a:lnTo>
                  <a:lnTo>
                    <a:pt x="26" y="180"/>
                  </a:lnTo>
                  <a:lnTo>
                    <a:pt x="28" y="192"/>
                  </a:lnTo>
                  <a:lnTo>
                    <a:pt x="36" y="196"/>
                  </a:lnTo>
                  <a:lnTo>
                    <a:pt x="46" y="188"/>
                  </a:lnTo>
                  <a:lnTo>
                    <a:pt x="46" y="188"/>
                  </a:lnTo>
                  <a:lnTo>
                    <a:pt x="50" y="190"/>
                  </a:lnTo>
                  <a:lnTo>
                    <a:pt x="58" y="190"/>
                  </a:lnTo>
                  <a:lnTo>
                    <a:pt x="66" y="190"/>
                  </a:lnTo>
                  <a:lnTo>
                    <a:pt x="66" y="190"/>
                  </a:lnTo>
                  <a:lnTo>
                    <a:pt x="72" y="198"/>
                  </a:lnTo>
                  <a:lnTo>
                    <a:pt x="72" y="198"/>
                  </a:lnTo>
                  <a:lnTo>
                    <a:pt x="72" y="200"/>
                  </a:lnTo>
                  <a:lnTo>
                    <a:pt x="72" y="200"/>
                  </a:lnTo>
                  <a:lnTo>
                    <a:pt x="76" y="192"/>
                  </a:lnTo>
                  <a:lnTo>
                    <a:pt x="76" y="192"/>
                  </a:lnTo>
                  <a:lnTo>
                    <a:pt x="78" y="190"/>
                  </a:lnTo>
                  <a:lnTo>
                    <a:pt x="80" y="188"/>
                  </a:lnTo>
                  <a:lnTo>
                    <a:pt x="82" y="190"/>
                  </a:lnTo>
                  <a:lnTo>
                    <a:pt x="100" y="190"/>
                  </a:lnTo>
                  <a:lnTo>
                    <a:pt x="110" y="172"/>
                  </a:lnTo>
                  <a:lnTo>
                    <a:pt x="110" y="166"/>
                  </a:lnTo>
                  <a:lnTo>
                    <a:pt x="110" y="166"/>
                  </a:lnTo>
                  <a:lnTo>
                    <a:pt x="112" y="162"/>
                  </a:lnTo>
                  <a:lnTo>
                    <a:pt x="114" y="156"/>
                  </a:lnTo>
                  <a:lnTo>
                    <a:pt x="114" y="156"/>
                  </a:lnTo>
                  <a:lnTo>
                    <a:pt x="118" y="150"/>
                  </a:lnTo>
                  <a:lnTo>
                    <a:pt x="122" y="144"/>
                  </a:lnTo>
                  <a:lnTo>
                    <a:pt x="138" y="144"/>
                  </a:lnTo>
                  <a:lnTo>
                    <a:pt x="150" y="146"/>
                  </a:lnTo>
                  <a:lnTo>
                    <a:pt x="156" y="154"/>
                  </a:lnTo>
                  <a:lnTo>
                    <a:pt x="160" y="152"/>
                  </a:lnTo>
                  <a:lnTo>
                    <a:pt x="158" y="148"/>
                  </a:lnTo>
                  <a:lnTo>
                    <a:pt x="158" y="148"/>
                  </a:lnTo>
                  <a:lnTo>
                    <a:pt x="160" y="140"/>
                  </a:lnTo>
                  <a:lnTo>
                    <a:pt x="162" y="130"/>
                  </a:lnTo>
                  <a:lnTo>
                    <a:pt x="162" y="130"/>
                  </a:lnTo>
                  <a:lnTo>
                    <a:pt x="162" y="126"/>
                  </a:lnTo>
                  <a:lnTo>
                    <a:pt x="162" y="122"/>
                  </a:lnTo>
                  <a:lnTo>
                    <a:pt x="162" y="122"/>
                  </a:lnTo>
                  <a:lnTo>
                    <a:pt x="160" y="118"/>
                  </a:lnTo>
                  <a:lnTo>
                    <a:pt x="156" y="114"/>
                  </a:lnTo>
                  <a:lnTo>
                    <a:pt x="156" y="114"/>
                  </a:lnTo>
                  <a:lnTo>
                    <a:pt x="152" y="110"/>
                  </a:lnTo>
                  <a:lnTo>
                    <a:pt x="150" y="104"/>
                  </a:lnTo>
                  <a:lnTo>
                    <a:pt x="150" y="104"/>
                  </a:lnTo>
                  <a:lnTo>
                    <a:pt x="150" y="98"/>
                  </a:lnTo>
                  <a:lnTo>
                    <a:pt x="152" y="96"/>
                  </a:lnTo>
                  <a:lnTo>
                    <a:pt x="132" y="96"/>
                  </a:lnTo>
                  <a:lnTo>
                    <a:pt x="132" y="96"/>
                  </a:lnTo>
                  <a:lnTo>
                    <a:pt x="130" y="94"/>
                  </a:lnTo>
                  <a:lnTo>
                    <a:pt x="128" y="88"/>
                  </a:lnTo>
                  <a:lnTo>
                    <a:pt x="128" y="88"/>
                  </a:lnTo>
                  <a:lnTo>
                    <a:pt x="126" y="84"/>
                  </a:lnTo>
                  <a:lnTo>
                    <a:pt x="126" y="78"/>
                  </a:lnTo>
                  <a:lnTo>
                    <a:pt x="126" y="78"/>
                  </a:lnTo>
                  <a:lnTo>
                    <a:pt x="132" y="72"/>
                  </a:lnTo>
                  <a:lnTo>
                    <a:pt x="132" y="72"/>
                  </a:lnTo>
                  <a:lnTo>
                    <a:pt x="128" y="62"/>
                  </a:lnTo>
                  <a:lnTo>
                    <a:pt x="128" y="62"/>
                  </a:lnTo>
                  <a:lnTo>
                    <a:pt x="126" y="56"/>
                  </a:lnTo>
                  <a:lnTo>
                    <a:pt x="124" y="50"/>
                  </a:lnTo>
                  <a:lnTo>
                    <a:pt x="124" y="50"/>
                  </a:lnTo>
                  <a:lnTo>
                    <a:pt x="122" y="50"/>
                  </a:lnTo>
                  <a:lnTo>
                    <a:pt x="120" y="50"/>
                  </a:lnTo>
                  <a:lnTo>
                    <a:pt x="114" y="50"/>
                  </a:lnTo>
                  <a:lnTo>
                    <a:pt x="114" y="50"/>
                  </a:lnTo>
                  <a:lnTo>
                    <a:pt x="110" y="50"/>
                  </a:lnTo>
                  <a:lnTo>
                    <a:pt x="104" y="48"/>
                  </a:lnTo>
                  <a:lnTo>
                    <a:pt x="104" y="48"/>
                  </a:lnTo>
                  <a:lnTo>
                    <a:pt x="102" y="48"/>
                  </a:lnTo>
                  <a:lnTo>
                    <a:pt x="98" y="46"/>
                  </a:lnTo>
                  <a:lnTo>
                    <a:pt x="94" y="42"/>
                  </a:lnTo>
                  <a:lnTo>
                    <a:pt x="94" y="42"/>
                  </a:lnTo>
                  <a:lnTo>
                    <a:pt x="92" y="40"/>
                  </a:lnTo>
                  <a:lnTo>
                    <a:pt x="88" y="36"/>
                  </a:lnTo>
                  <a:lnTo>
                    <a:pt x="88" y="36"/>
                  </a:lnTo>
                  <a:lnTo>
                    <a:pt x="82" y="32"/>
                  </a:lnTo>
                  <a:lnTo>
                    <a:pt x="78" y="28"/>
                  </a:lnTo>
                  <a:lnTo>
                    <a:pt x="78" y="28"/>
                  </a:lnTo>
                  <a:lnTo>
                    <a:pt x="74" y="26"/>
                  </a:lnTo>
                  <a:lnTo>
                    <a:pt x="72" y="26"/>
                  </a:lnTo>
                  <a:lnTo>
                    <a:pt x="70" y="28"/>
                  </a:lnTo>
                  <a:lnTo>
                    <a:pt x="68" y="28"/>
                  </a:lnTo>
                  <a:lnTo>
                    <a:pt x="68" y="28"/>
                  </a:lnTo>
                  <a:lnTo>
                    <a:pt x="62" y="26"/>
                  </a:lnTo>
                  <a:lnTo>
                    <a:pt x="62" y="26"/>
                  </a:lnTo>
                  <a:lnTo>
                    <a:pt x="58" y="22"/>
                  </a:lnTo>
                  <a:lnTo>
                    <a:pt x="56" y="18"/>
                  </a:lnTo>
                  <a:lnTo>
                    <a:pt x="56" y="18"/>
                  </a:lnTo>
                  <a:lnTo>
                    <a:pt x="56" y="14"/>
                  </a:lnTo>
                  <a:lnTo>
                    <a:pt x="58" y="10"/>
                  </a:lnTo>
                  <a:lnTo>
                    <a:pt x="60" y="4"/>
                  </a:lnTo>
                  <a:lnTo>
                    <a:pt x="58" y="0"/>
                  </a:lnTo>
                  <a:lnTo>
                    <a:pt x="52" y="0"/>
                  </a:lnTo>
                  <a:lnTo>
                    <a:pt x="52" y="0"/>
                  </a:lnTo>
                  <a:lnTo>
                    <a:pt x="44" y="2"/>
                  </a:lnTo>
                  <a:lnTo>
                    <a:pt x="36" y="4"/>
                  </a:lnTo>
                  <a:lnTo>
                    <a:pt x="36" y="4"/>
                  </a:lnTo>
                  <a:lnTo>
                    <a:pt x="30" y="8"/>
                  </a:lnTo>
                  <a:lnTo>
                    <a:pt x="26" y="12"/>
                  </a:lnTo>
                  <a:lnTo>
                    <a:pt x="22" y="20"/>
                  </a:lnTo>
                  <a:lnTo>
                    <a:pt x="16" y="22"/>
                  </a:lnTo>
                  <a:lnTo>
                    <a:pt x="16" y="22"/>
                  </a:lnTo>
                  <a:lnTo>
                    <a:pt x="16" y="22"/>
                  </a:lnTo>
                  <a:lnTo>
                    <a:pt x="14" y="24"/>
                  </a:lnTo>
                  <a:lnTo>
                    <a:pt x="14" y="26"/>
                  </a:lnTo>
                  <a:lnTo>
                    <a:pt x="14" y="26"/>
                  </a:lnTo>
                  <a:lnTo>
                    <a:pt x="14" y="28"/>
                  </a:lnTo>
                  <a:lnTo>
                    <a:pt x="12" y="28"/>
                  </a:lnTo>
                  <a:lnTo>
                    <a:pt x="10" y="30"/>
                  </a:lnTo>
                  <a:lnTo>
                    <a:pt x="6" y="28"/>
                  </a:lnTo>
                  <a:lnTo>
                    <a:pt x="6" y="28"/>
                  </a:lnTo>
                  <a:lnTo>
                    <a:pt x="2" y="28"/>
                  </a:lnTo>
                  <a:lnTo>
                    <a:pt x="0" y="28"/>
                  </a:lnTo>
                  <a:lnTo>
                    <a:pt x="8" y="44"/>
                  </a:lnTo>
                  <a:lnTo>
                    <a:pt x="4" y="54"/>
                  </a:lnTo>
                  <a:lnTo>
                    <a:pt x="4" y="54"/>
                  </a:lnTo>
                  <a:lnTo>
                    <a:pt x="4" y="60"/>
                  </a:lnTo>
                  <a:lnTo>
                    <a:pt x="4" y="66"/>
                  </a:lnTo>
                  <a:lnTo>
                    <a:pt x="4" y="66"/>
                  </a:lnTo>
                  <a:lnTo>
                    <a:pt x="8" y="74"/>
                  </a:lnTo>
                  <a:lnTo>
                    <a:pt x="8" y="74"/>
                  </a:lnTo>
                  <a:lnTo>
                    <a:pt x="6" y="76"/>
                  </a:lnTo>
                  <a:lnTo>
                    <a:pt x="6" y="80"/>
                  </a:lnTo>
                  <a:lnTo>
                    <a:pt x="6" y="80"/>
                  </a:lnTo>
                  <a:lnTo>
                    <a:pt x="8" y="84"/>
                  </a:lnTo>
                  <a:lnTo>
                    <a:pt x="8" y="86"/>
                  </a:lnTo>
                  <a:lnTo>
                    <a:pt x="10" y="8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2" name="Freeform 250"/>
            <p:cNvSpPr>
              <a:spLocks noChangeAspect="1"/>
            </p:cNvSpPr>
            <p:nvPr/>
          </p:nvSpPr>
          <p:spPr bwMode="gray">
            <a:xfrm>
              <a:off x="6313431" y="3647895"/>
              <a:ext cx="67415" cy="36189"/>
            </a:xfrm>
            <a:custGeom>
              <a:avLst/>
              <a:gdLst/>
              <a:ahLst/>
              <a:cxnLst>
                <a:cxn ang="0">
                  <a:pos x="0" y="12"/>
                </a:cxn>
                <a:cxn ang="0">
                  <a:pos x="0" y="18"/>
                </a:cxn>
                <a:cxn ang="0">
                  <a:pos x="4" y="22"/>
                </a:cxn>
                <a:cxn ang="0">
                  <a:pos x="10" y="22"/>
                </a:cxn>
                <a:cxn ang="0">
                  <a:pos x="16" y="20"/>
                </a:cxn>
                <a:cxn ang="0">
                  <a:pos x="24" y="22"/>
                </a:cxn>
                <a:cxn ang="0">
                  <a:pos x="36" y="22"/>
                </a:cxn>
                <a:cxn ang="0">
                  <a:pos x="40" y="20"/>
                </a:cxn>
                <a:cxn ang="0">
                  <a:pos x="40" y="14"/>
                </a:cxn>
                <a:cxn ang="0">
                  <a:pos x="38" y="4"/>
                </a:cxn>
                <a:cxn ang="0">
                  <a:pos x="28" y="4"/>
                </a:cxn>
                <a:cxn ang="0">
                  <a:pos x="22" y="4"/>
                </a:cxn>
                <a:cxn ang="0">
                  <a:pos x="16" y="0"/>
                </a:cxn>
                <a:cxn ang="0">
                  <a:pos x="8" y="2"/>
                </a:cxn>
                <a:cxn ang="0">
                  <a:pos x="4" y="4"/>
                </a:cxn>
                <a:cxn ang="0">
                  <a:pos x="0" y="12"/>
                </a:cxn>
              </a:cxnLst>
              <a:rect l="0" t="0" r="r" b="b"/>
              <a:pathLst>
                <a:path w="40" h="22">
                  <a:moveTo>
                    <a:pt x="0" y="12"/>
                  </a:moveTo>
                  <a:lnTo>
                    <a:pt x="0" y="18"/>
                  </a:lnTo>
                  <a:lnTo>
                    <a:pt x="4" y="22"/>
                  </a:lnTo>
                  <a:lnTo>
                    <a:pt x="10" y="22"/>
                  </a:lnTo>
                  <a:lnTo>
                    <a:pt x="16" y="20"/>
                  </a:lnTo>
                  <a:lnTo>
                    <a:pt x="24" y="22"/>
                  </a:lnTo>
                  <a:lnTo>
                    <a:pt x="36" y="22"/>
                  </a:lnTo>
                  <a:lnTo>
                    <a:pt x="40" y="20"/>
                  </a:lnTo>
                  <a:lnTo>
                    <a:pt x="40" y="14"/>
                  </a:lnTo>
                  <a:lnTo>
                    <a:pt x="38" y="4"/>
                  </a:lnTo>
                  <a:lnTo>
                    <a:pt x="28" y="4"/>
                  </a:lnTo>
                  <a:lnTo>
                    <a:pt x="22" y="4"/>
                  </a:lnTo>
                  <a:lnTo>
                    <a:pt x="16" y="0"/>
                  </a:lnTo>
                  <a:lnTo>
                    <a:pt x="8" y="2"/>
                  </a:lnTo>
                  <a:lnTo>
                    <a:pt x="4" y="4"/>
                  </a:lnTo>
                  <a:lnTo>
                    <a:pt x="0"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3" name="Freeform 252"/>
            <p:cNvSpPr>
              <a:spLocks noChangeAspect="1"/>
            </p:cNvSpPr>
            <p:nvPr/>
          </p:nvSpPr>
          <p:spPr bwMode="gray">
            <a:xfrm>
              <a:off x="2251238" y="3917670"/>
              <a:ext cx="28220" cy="72379"/>
            </a:xfrm>
            <a:custGeom>
              <a:avLst/>
              <a:gdLst/>
              <a:ahLst/>
              <a:cxnLst>
                <a:cxn ang="0">
                  <a:pos x="4" y="44"/>
                </a:cxn>
                <a:cxn ang="0">
                  <a:pos x="4" y="44"/>
                </a:cxn>
                <a:cxn ang="0">
                  <a:pos x="12" y="32"/>
                </a:cxn>
                <a:cxn ang="0">
                  <a:pos x="14" y="26"/>
                </a:cxn>
                <a:cxn ang="0">
                  <a:pos x="14" y="24"/>
                </a:cxn>
                <a:cxn ang="0">
                  <a:pos x="12" y="22"/>
                </a:cxn>
                <a:cxn ang="0">
                  <a:pos x="12" y="22"/>
                </a:cxn>
                <a:cxn ang="0">
                  <a:pos x="16" y="18"/>
                </a:cxn>
                <a:cxn ang="0">
                  <a:pos x="16" y="18"/>
                </a:cxn>
                <a:cxn ang="0">
                  <a:pos x="16" y="10"/>
                </a:cxn>
                <a:cxn ang="0">
                  <a:pos x="16" y="4"/>
                </a:cxn>
                <a:cxn ang="0">
                  <a:pos x="16" y="4"/>
                </a:cxn>
                <a:cxn ang="0">
                  <a:pos x="12" y="2"/>
                </a:cxn>
                <a:cxn ang="0">
                  <a:pos x="12" y="2"/>
                </a:cxn>
                <a:cxn ang="0">
                  <a:pos x="12" y="2"/>
                </a:cxn>
                <a:cxn ang="0">
                  <a:pos x="8" y="0"/>
                </a:cxn>
                <a:cxn ang="0">
                  <a:pos x="8" y="2"/>
                </a:cxn>
                <a:cxn ang="0">
                  <a:pos x="6" y="4"/>
                </a:cxn>
                <a:cxn ang="0">
                  <a:pos x="0" y="6"/>
                </a:cxn>
                <a:cxn ang="0">
                  <a:pos x="0" y="44"/>
                </a:cxn>
                <a:cxn ang="0">
                  <a:pos x="4" y="44"/>
                </a:cxn>
              </a:cxnLst>
              <a:rect l="0" t="0" r="r" b="b"/>
              <a:pathLst>
                <a:path w="16" h="44">
                  <a:moveTo>
                    <a:pt x="4" y="44"/>
                  </a:moveTo>
                  <a:lnTo>
                    <a:pt x="4" y="44"/>
                  </a:lnTo>
                  <a:lnTo>
                    <a:pt x="12" y="32"/>
                  </a:lnTo>
                  <a:lnTo>
                    <a:pt x="14" y="26"/>
                  </a:lnTo>
                  <a:lnTo>
                    <a:pt x="14" y="24"/>
                  </a:lnTo>
                  <a:lnTo>
                    <a:pt x="12" y="22"/>
                  </a:lnTo>
                  <a:lnTo>
                    <a:pt x="12" y="22"/>
                  </a:lnTo>
                  <a:lnTo>
                    <a:pt x="16" y="18"/>
                  </a:lnTo>
                  <a:lnTo>
                    <a:pt x="16" y="18"/>
                  </a:lnTo>
                  <a:lnTo>
                    <a:pt x="16" y="10"/>
                  </a:lnTo>
                  <a:lnTo>
                    <a:pt x="16" y="4"/>
                  </a:lnTo>
                  <a:lnTo>
                    <a:pt x="16" y="4"/>
                  </a:lnTo>
                  <a:lnTo>
                    <a:pt x="12" y="2"/>
                  </a:lnTo>
                  <a:lnTo>
                    <a:pt x="12" y="2"/>
                  </a:lnTo>
                  <a:lnTo>
                    <a:pt x="12" y="2"/>
                  </a:lnTo>
                  <a:lnTo>
                    <a:pt x="8" y="0"/>
                  </a:lnTo>
                  <a:lnTo>
                    <a:pt x="8" y="2"/>
                  </a:lnTo>
                  <a:lnTo>
                    <a:pt x="6" y="4"/>
                  </a:lnTo>
                  <a:lnTo>
                    <a:pt x="0" y="6"/>
                  </a:lnTo>
                  <a:lnTo>
                    <a:pt x="0" y="44"/>
                  </a:lnTo>
                  <a:lnTo>
                    <a:pt x="4" y="4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4" name="Freeform 253"/>
            <p:cNvSpPr>
              <a:spLocks noChangeAspect="1"/>
            </p:cNvSpPr>
            <p:nvPr/>
          </p:nvSpPr>
          <p:spPr bwMode="gray">
            <a:xfrm>
              <a:off x="4330153" y="2924109"/>
              <a:ext cx="89365" cy="62509"/>
            </a:xfrm>
            <a:custGeom>
              <a:avLst/>
              <a:gdLst/>
              <a:ahLst/>
              <a:cxnLst>
                <a:cxn ang="0">
                  <a:pos x="16" y="0"/>
                </a:cxn>
                <a:cxn ang="0">
                  <a:pos x="10" y="4"/>
                </a:cxn>
                <a:cxn ang="0">
                  <a:pos x="4" y="10"/>
                </a:cxn>
                <a:cxn ang="0">
                  <a:pos x="4" y="10"/>
                </a:cxn>
                <a:cxn ang="0">
                  <a:pos x="6" y="12"/>
                </a:cxn>
                <a:cxn ang="0">
                  <a:pos x="8" y="18"/>
                </a:cxn>
                <a:cxn ang="0">
                  <a:pos x="14" y="22"/>
                </a:cxn>
                <a:cxn ang="0">
                  <a:pos x="16" y="24"/>
                </a:cxn>
                <a:cxn ang="0">
                  <a:pos x="20" y="22"/>
                </a:cxn>
                <a:cxn ang="0">
                  <a:pos x="20" y="24"/>
                </a:cxn>
                <a:cxn ang="0">
                  <a:pos x="22" y="28"/>
                </a:cxn>
                <a:cxn ang="0">
                  <a:pos x="30" y="32"/>
                </a:cxn>
                <a:cxn ang="0">
                  <a:pos x="32" y="32"/>
                </a:cxn>
                <a:cxn ang="0">
                  <a:pos x="36" y="30"/>
                </a:cxn>
                <a:cxn ang="0">
                  <a:pos x="36" y="32"/>
                </a:cxn>
                <a:cxn ang="0">
                  <a:pos x="38" y="38"/>
                </a:cxn>
                <a:cxn ang="0">
                  <a:pos x="42" y="38"/>
                </a:cxn>
                <a:cxn ang="0">
                  <a:pos x="48" y="36"/>
                </a:cxn>
                <a:cxn ang="0">
                  <a:pos x="48" y="34"/>
                </a:cxn>
                <a:cxn ang="0">
                  <a:pos x="50" y="30"/>
                </a:cxn>
                <a:cxn ang="0">
                  <a:pos x="52" y="28"/>
                </a:cxn>
                <a:cxn ang="0">
                  <a:pos x="52" y="22"/>
                </a:cxn>
                <a:cxn ang="0">
                  <a:pos x="50" y="20"/>
                </a:cxn>
                <a:cxn ang="0">
                  <a:pos x="50" y="16"/>
                </a:cxn>
                <a:cxn ang="0">
                  <a:pos x="52" y="16"/>
                </a:cxn>
                <a:cxn ang="0">
                  <a:pos x="48" y="14"/>
                </a:cxn>
                <a:cxn ang="0">
                  <a:pos x="46" y="12"/>
                </a:cxn>
                <a:cxn ang="0">
                  <a:pos x="42" y="10"/>
                </a:cxn>
                <a:cxn ang="0">
                  <a:pos x="40" y="8"/>
                </a:cxn>
                <a:cxn ang="0">
                  <a:pos x="38" y="6"/>
                </a:cxn>
                <a:cxn ang="0">
                  <a:pos x="34" y="6"/>
                </a:cxn>
                <a:cxn ang="0">
                  <a:pos x="28" y="10"/>
                </a:cxn>
                <a:cxn ang="0">
                  <a:pos x="26" y="10"/>
                </a:cxn>
                <a:cxn ang="0">
                  <a:pos x="18" y="4"/>
                </a:cxn>
                <a:cxn ang="0">
                  <a:pos x="16" y="0"/>
                </a:cxn>
              </a:cxnLst>
              <a:rect l="0" t="0" r="r" b="b"/>
              <a:pathLst>
                <a:path w="52" h="38">
                  <a:moveTo>
                    <a:pt x="16" y="0"/>
                  </a:moveTo>
                  <a:lnTo>
                    <a:pt x="16" y="0"/>
                  </a:lnTo>
                  <a:lnTo>
                    <a:pt x="10" y="4"/>
                  </a:lnTo>
                  <a:lnTo>
                    <a:pt x="10" y="4"/>
                  </a:lnTo>
                  <a:lnTo>
                    <a:pt x="0" y="6"/>
                  </a:lnTo>
                  <a:lnTo>
                    <a:pt x="4" y="10"/>
                  </a:lnTo>
                  <a:lnTo>
                    <a:pt x="4" y="10"/>
                  </a:lnTo>
                  <a:lnTo>
                    <a:pt x="4" y="10"/>
                  </a:lnTo>
                  <a:lnTo>
                    <a:pt x="6" y="12"/>
                  </a:lnTo>
                  <a:lnTo>
                    <a:pt x="6" y="12"/>
                  </a:lnTo>
                  <a:lnTo>
                    <a:pt x="8" y="18"/>
                  </a:lnTo>
                  <a:lnTo>
                    <a:pt x="8" y="18"/>
                  </a:lnTo>
                  <a:lnTo>
                    <a:pt x="10" y="18"/>
                  </a:lnTo>
                  <a:lnTo>
                    <a:pt x="14" y="22"/>
                  </a:lnTo>
                  <a:lnTo>
                    <a:pt x="14" y="22"/>
                  </a:lnTo>
                  <a:lnTo>
                    <a:pt x="16" y="24"/>
                  </a:lnTo>
                  <a:lnTo>
                    <a:pt x="18" y="24"/>
                  </a:lnTo>
                  <a:lnTo>
                    <a:pt x="20" y="22"/>
                  </a:lnTo>
                  <a:lnTo>
                    <a:pt x="20" y="22"/>
                  </a:lnTo>
                  <a:lnTo>
                    <a:pt x="20" y="24"/>
                  </a:lnTo>
                  <a:lnTo>
                    <a:pt x="22" y="28"/>
                  </a:lnTo>
                  <a:lnTo>
                    <a:pt x="22" y="28"/>
                  </a:lnTo>
                  <a:lnTo>
                    <a:pt x="26" y="30"/>
                  </a:lnTo>
                  <a:lnTo>
                    <a:pt x="30" y="32"/>
                  </a:lnTo>
                  <a:lnTo>
                    <a:pt x="30" y="32"/>
                  </a:lnTo>
                  <a:lnTo>
                    <a:pt x="32" y="32"/>
                  </a:lnTo>
                  <a:lnTo>
                    <a:pt x="34" y="32"/>
                  </a:lnTo>
                  <a:lnTo>
                    <a:pt x="36" y="30"/>
                  </a:lnTo>
                  <a:lnTo>
                    <a:pt x="36" y="32"/>
                  </a:lnTo>
                  <a:lnTo>
                    <a:pt x="36" y="32"/>
                  </a:lnTo>
                  <a:lnTo>
                    <a:pt x="36" y="36"/>
                  </a:lnTo>
                  <a:lnTo>
                    <a:pt x="38" y="38"/>
                  </a:lnTo>
                  <a:lnTo>
                    <a:pt x="38" y="38"/>
                  </a:lnTo>
                  <a:lnTo>
                    <a:pt x="42" y="38"/>
                  </a:lnTo>
                  <a:lnTo>
                    <a:pt x="48" y="36"/>
                  </a:lnTo>
                  <a:lnTo>
                    <a:pt x="48" y="36"/>
                  </a:lnTo>
                  <a:lnTo>
                    <a:pt x="48" y="34"/>
                  </a:lnTo>
                  <a:lnTo>
                    <a:pt x="48" y="34"/>
                  </a:lnTo>
                  <a:lnTo>
                    <a:pt x="48" y="30"/>
                  </a:lnTo>
                  <a:lnTo>
                    <a:pt x="50" y="30"/>
                  </a:lnTo>
                  <a:lnTo>
                    <a:pt x="52" y="28"/>
                  </a:lnTo>
                  <a:lnTo>
                    <a:pt x="52" y="28"/>
                  </a:lnTo>
                  <a:lnTo>
                    <a:pt x="52" y="24"/>
                  </a:lnTo>
                  <a:lnTo>
                    <a:pt x="52" y="22"/>
                  </a:lnTo>
                  <a:lnTo>
                    <a:pt x="50" y="20"/>
                  </a:lnTo>
                  <a:lnTo>
                    <a:pt x="50" y="20"/>
                  </a:lnTo>
                  <a:lnTo>
                    <a:pt x="50" y="18"/>
                  </a:lnTo>
                  <a:lnTo>
                    <a:pt x="50" y="16"/>
                  </a:lnTo>
                  <a:lnTo>
                    <a:pt x="52" y="16"/>
                  </a:lnTo>
                  <a:lnTo>
                    <a:pt x="52" y="16"/>
                  </a:lnTo>
                  <a:lnTo>
                    <a:pt x="52" y="16"/>
                  </a:lnTo>
                  <a:lnTo>
                    <a:pt x="48" y="14"/>
                  </a:lnTo>
                  <a:lnTo>
                    <a:pt x="46" y="12"/>
                  </a:lnTo>
                  <a:lnTo>
                    <a:pt x="46" y="12"/>
                  </a:lnTo>
                  <a:lnTo>
                    <a:pt x="44" y="12"/>
                  </a:lnTo>
                  <a:lnTo>
                    <a:pt x="42" y="10"/>
                  </a:lnTo>
                  <a:lnTo>
                    <a:pt x="40" y="8"/>
                  </a:lnTo>
                  <a:lnTo>
                    <a:pt x="40" y="8"/>
                  </a:lnTo>
                  <a:lnTo>
                    <a:pt x="40" y="6"/>
                  </a:lnTo>
                  <a:lnTo>
                    <a:pt x="38" y="6"/>
                  </a:lnTo>
                  <a:lnTo>
                    <a:pt x="34" y="6"/>
                  </a:lnTo>
                  <a:lnTo>
                    <a:pt x="34" y="6"/>
                  </a:lnTo>
                  <a:lnTo>
                    <a:pt x="30" y="8"/>
                  </a:lnTo>
                  <a:lnTo>
                    <a:pt x="28" y="10"/>
                  </a:lnTo>
                  <a:lnTo>
                    <a:pt x="26" y="10"/>
                  </a:lnTo>
                  <a:lnTo>
                    <a:pt x="26" y="10"/>
                  </a:lnTo>
                  <a:lnTo>
                    <a:pt x="22" y="8"/>
                  </a:lnTo>
                  <a:lnTo>
                    <a:pt x="18" y="4"/>
                  </a:lnTo>
                  <a:lnTo>
                    <a:pt x="16" y="0"/>
                  </a:lnTo>
                  <a:lnTo>
                    <a:pt x="1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5" name="Freeform 254"/>
            <p:cNvSpPr>
              <a:spLocks noChangeAspect="1"/>
            </p:cNvSpPr>
            <p:nvPr/>
          </p:nvSpPr>
          <p:spPr bwMode="gray">
            <a:xfrm>
              <a:off x="4841258" y="2762901"/>
              <a:ext cx="170892" cy="151337"/>
            </a:xfrm>
            <a:custGeom>
              <a:avLst/>
              <a:gdLst/>
              <a:ahLst/>
              <a:cxnLst>
                <a:cxn ang="0">
                  <a:pos x="28" y="18"/>
                </a:cxn>
                <a:cxn ang="0">
                  <a:pos x="34" y="12"/>
                </a:cxn>
                <a:cxn ang="0">
                  <a:pos x="38" y="12"/>
                </a:cxn>
                <a:cxn ang="0">
                  <a:pos x="44" y="8"/>
                </a:cxn>
                <a:cxn ang="0">
                  <a:pos x="44" y="2"/>
                </a:cxn>
                <a:cxn ang="0">
                  <a:pos x="46" y="0"/>
                </a:cxn>
                <a:cxn ang="0">
                  <a:pos x="54" y="2"/>
                </a:cxn>
                <a:cxn ang="0">
                  <a:pos x="56" y="0"/>
                </a:cxn>
                <a:cxn ang="0">
                  <a:pos x="58" y="2"/>
                </a:cxn>
                <a:cxn ang="0">
                  <a:pos x="60" y="4"/>
                </a:cxn>
                <a:cxn ang="0">
                  <a:pos x="64" y="2"/>
                </a:cxn>
                <a:cxn ang="0">
                  <a:pos x="66" y="2"/>
                </a:cxn>
                <a:cxn ang="0">
                  <a:pos x="72" y="4"/>
                </a:cxn>
                <a:cxn ang="0">
                  <a:pos x="78" y="6"/>
                </a:cxn>
                <a:cxn ang="0">
                  <a:pos x="80" y="8"/>
                </a:cxn>
                <a:cxn ang="0">
                  <a:pos x="82" y="12"/>
                </a:cxn>
                <a:cxn ang="0">
                  <a:pos x="84" y="16"/>
                </a:cxn>
                <a:cxn ang="0">
                  <a:pos x="86" y="20"/>
                </a:cxn>
                <a:cxn ang="0">
                  <a:pos x="88" y="26"/>
                </a:cxn>
                <a:cxn ang="0">
                  <a:pos x="88" y="36"/>
                </a:cxn>
                <a:cxn ang="0">
                  <a:pos x="90" y="38"/>
                </a:cxn>
                <a:cxn ang="0">
                  <a:pos x="98" y="46"/>
                </a:cxn>
                <a:cxn ang="0">
                  <a:pos x="100" y="52"/>
                </a:cxn>
                <a:cxn ang="0">
                  <a:pos x="98" y="56"/>
                </a:cxn>
                <a:cxn ang="0">
                  <a:pos x="96" y="56"/>
                </a:cxn>
                <a:cxn ang="0">
                  <a:pos x="90" y="54"/>
                </a:cxn>
                <a:cxn ang="0">
                  <a:pos x="88" y="56"/>
                </a:cxn>
                <a:cxn ang="0">
                  <a:pos x="90" y="60"/>
                </a:cxn>
                <a:cxn ang="0">
                  <a:pos x="94" y="64"/>
                </a:cxn>
                <a:cxn ang="0">
                  <a:pos x="94" y="80"/>
                </a:cxn>
                <a:cxn ang="0">
                  <a:pos x="88" y="80"/>
                </a:cxn>
                <a:cxn ang="0">
                  <a:pos x="86" y="82"/>
                </a:cxn>
                <a:cxn ang="0">
                  <a:pos x="86" y="86"/>
                </a:cxn>
                <a:cxn ang="0">
                  <a:pos x="82" y="90"/>
                </a:cxn>
                <a:cxn ang="0">
                  <a:pos x="76" y="90"/>
                </a:cxn>
                <a:cxn ang="0">
                  <a:pos x="70" y="90"/>
                </a:cxn>
                <a:cxn ang="0">
                  <a:pos x="64" y="90"/>
                </a:cxn>
                <a:cxn ang="0">
                  <a:pos x="62" y="90"/>
                </a:cxn>
                <a:cxn ang="0">
                  <a:pos x="58" y="88"/>
                </a:cxn>
                <a:cxn ang="0">
                  <a:pos x="56" y="92"/>
                </a:cxn>
                <a:cxn ang="0">
                  <a:pos x="54" y="88"/>
                </a:cxn>
                <a:cxn ang="0">
                  <a:pos x="50" y="88"/>
                </a:cxn>
                <a:cxn ang="0">
                  <a:pos x="38" y="88"/>
                </a:cxn>
                <a:cxn ang="0">
                  <a:pos x="24" y="86"/>
                </a:cxn>
                <a:cxn ang="0">
                  <a:pos x="14" y="86"/>
                </a:cxn>
                <a:cxn ang="0">
                  <a:pos x="12" y="90"/>
                </a:cxn>
                <a:cxn ang="0">
                  <a:pos x="8" y="90"/>
                </a:cxn>
                <a:cxn ang="0">
                  <a:pos x="6" y="86"/>
                </a:cxn>
                <a:cxn ang="0">
                  <a:pos x="2" y="88"/>
                </a:cxn>
                <a:cxn ang="0">
                  <a:pos x="0" y="78"/>
                </a:cxn>
                <a:cxn ang="0">
                  <a:pos x="4" y="72"/>
                </a:cxn>
                <a:cxn ang="0">
                  <a:pos x="4" y="66"/>
                </a:cxn>
                <a:cxn ang="0">
                  <a:pos x="2" y="62"/>
                </a:cxn>
                <a:cxn ang="0">
                  <a:pos x="0" y="54"/>
                </a:cxn>
                <a:cxn ang="0">
                  <a:pos x="6" y="52"/>
                </a:cxn>
                <a:cxn ang="0">
                  <a:pos x="14" y="52"/>
                </a:cxn>
                <a:cxn ang="0">
                  <a:pos x="16" y="50"/>
                </a:cxn>
                <a:cxn ang="0">
                  <a:pos x="22" y="46"/>
                </a:cxn>
                <a:cxn ang="0">
                  <a:pos x="22" y="38"/>
                </a:cxn>
                <a:cxn ang="0">
                  <a:pos x="22" y="32"/>
                </a:cxn>
                <a:cxn ang="0">
                  <a:pos x="26" y="26"/>
                </a:cxn>
                <a:cxn ang="0">
                  <a:pos x="30" y="22"/>
                </a:cxn>
                <a:cxn ang="0">
                  <a:pos x="28" y="18"/>
                </a:cxn>
              </a:cxnLst>
              <a:rect l="0" t="0" r="r" b="b"/>
              <a:pathLst>
                <a:path w="100" h="92">
                  <a:moveTo>
                    <a:pt x="28" y="18"/>
                  </a:moveTo>
                  <a:lnTo>
                    <a:pt x="28" y="18"/>
                  </a:lnTo>
                  <a:lnTo>
                    <a:pt x="32" y="14"/>
                  </a:lnTo>
                  <a:lnTo>
                    <a:pt x="34" y="12"/>
                  </a:lnTo>
                  <a:lnTo>
                    <a:pt x="38" y="12"/>
                  </a:lnTo>
                  <a:lnTo>
                    <a:pt x="38" y="12"/>
                  </a:lnTo>
                  <a:lnTo>
                    <a:pt x="42" y="14"/>
                  </a:lnTo>
                  <a:lnTo>
                    <a:pt x="44" y="8"/>
                  </a:lnTo>
                  <a:lnTo>
                    <a:pt x="44" y="8"/>
                  </a:lnTo>
                  <a:lnTo>
                    <a:pt x="44" y="2"/>
                  </a:lnTo>
                  <a:lnTo>
                    <a:pt x="46" y="0"/>
                  </a:lnTo>
                  <a:lnTo>
                    <a:pt x="46" y="0"/>
                  </a:lnTo>
                  <a:lnTo>
                    <a:pt x="50" y="2"/>
                  </a:lnTo>
                  <a:lnTo>
                    <a:pt x="54" y="2"/>
                  </a:lnTo>
                  <a:lnTo>
                    <a:pt x="56" y="0"/>
                  </a:lnTo>
                  <a:lnTo>
                    <a:pt x="56" y="0"/>
                  </a:lnTo>
                  <a:lnTo>
                    <a:pt x="56" y="0"/>
                  </a:lnTo>
                  <a:lnTo>
                    <a:pt x="58" y="2"/>
                  </a:lnTo>
                  <a:lnTo>
                    <a:pt x="58" y="4"/>
                  </a:lnTo>
                  <a:lnTo>
                    <a:pt x="60" y="4"/>
                  </a:lnTo>
                  <a:lnTo>
                    <a:pt x="60" y="4"/>
                  </a:lnTo>
                  <a:lnTo>
                    <a:pt x="64" y="2"/>
                  </a:lnTo>
                  <a:lnTo>
                    <a:pt x="66" y="2"/>
                  </a:lnTo>
                  <a:lnTo>
                    <a:pt x="66" y="2"/>
                  </a:lnTo>
                  <a:lnTo>
                    <a:pt x="72" y="4"/>
                  </a:lnTo>
                  <a:lnTo>
                    <a:pt x="72" y="4"/>
                  </a:lnTo>
                  <a:lnTo>
                    <a:pt x="76" y="6"/>
                  </a:lnTo>
                  <a:lnTo>
                    <a:pt x="78" y="6"/>
                  </a:lnTo>
                  <a:lnTo>
                    <a:pt x="80" y="8"/>
                  </a:lnTo>
                  <a:lnTo>
                    <a:pt x="80" y="8"/>
                  </a:lnTo>
                  <a:lnTo>
                    <a:pt x="80" y="10"/>
                  </a:lnTo>
                  <a:lnTo>
                    <a:pt x="82" y="12"/>
                  </a:lnTo>
                  <a:lnTo>
                    <a:pt x="84" y="12"/>
                  </a:lnTo>
                  <a:lnTo>
                    <a:pt x="84" y="16"/>
                  </a:lnTo>
                  <a:lnTo>
                    <a:pt x="84" y="16"/>
                  </a:lnTo>
                  <a:lnTo>
                    <a:pt x="86" y="20"/>
                  </a:lnTo>
                  <a:lnTo>
                    <a:pt x="88" y="26"/>
                  </a:lnTo>
                  <a:lnTo>
                    <a:pt x="88" y="26"/>
                  </a:lnTo>
                  <a:lnTo>
                    <a:pt x="88" y="34"/>
                  </a:lnTo>
                  <a:lnTo>
                    <a:pt x="88" y="36"/>
                  </a:lnTo>
                  <a:lnTo>
                    <a:pt x="90" y="38"/>
                  </a:lnTo>
                  <a:lnTo>
                    <a:pt x="90" y="38"/>
                  </a:lnTo>
                  <a:lnTo>
                    <a:pt x="94" y="42"/>
                  </a:lnTo>
                  <a:lnTo>
                    <a:pt x="98" y="46"/>
                  </a:lnTo>
                  <a:lnTo>
                    <a:pt x="98" y="46"/>
                  </a:lnTo>
                  <a:lnTo>
                    <a:pt x="100" y="52"/>
                  </a:lnTo>
                  <a:lnTo>
                    <a:pt x="100" y="54"/>
                  </a:lnTo>
                  <a:lnTo>
                    <a:pt x="98" y="56"/>
                  </a:lnTo>
                  <a:lnTo>
                    <a:pt x="98" y="56"/>
                  </a:lnTo>
                  <a:lnTo>
                    <a:pt x="96" y="56"/>
                  </a:lnTo>
                  <a:lnTo>
                    <a:pt x="92" y="54"/>
                  </a:lnTo>
                  <a:lnTo>
                    <a:pt x="90" y="54"/>
                  </a:lnTo>
                  <a:lnTo>
                    <a:pt x="88" y="56"/>
                  </a:lnTo>
                  <a:lnTo>
                    <a:pt x="88" y="56"/>
                  </a:lnTo>
                  <a:lnTo>
                    <a:pt x="88" y="60"/>
                  </a:lnTo>
                  <a:lnTo>
                    <a:pt x="90" y="60"/>
                  </a:lnTo>
                  <a:lnTo>
                    <a:pt x="92" y="62"/>
                  </a:lnTo>
                  <a:lnTo>
                    <a:pt x="94" y="64"/>
                  </a:lnTo>
                  <a:lnTo>
                    <a:pt x="94" y="64"/>
                  </a:lnTo>
                  <a:lnTo>
                    <a:pt x="94" y="80"/>
                  </a:lnTo>
                  <a:lnTo>
                    <a:pt x="94" y="80"/>
                  </a:lnTo>
                  <a:lnTo>
                    <a:pt x="88" y="80"/>
                  </a:lnTo>
                  <a:lnTo>
                    <a:pt x="88" y="80"/>
                  </a:lnTo>
                  <a:lnTo>
                    <a:pt x="86" y="82"/>
                  </a:lnTo>
                  <a:lnTo>
                    <a:pt x="86" y="86"/>
                  </a:lnTo>
                  <a:lnTo>
                    <a:pt x="86" y="86"/>
                  </a:lnTo>
                  <a:lnTo>
                    <a:pt x="84" y="90"/>
                  </a:lnTo>
                  <a:lnTo>
                    <a:pt x="82" y="90"/>
                  </a:lnTo>
                  <a:lnTo>
                    <a:pt x="82" y="90"/>
                  </a:lnTo>
                  <a:lnTo>
                    <a:pt x="76" y="90"/>
                  </a:lnTo>
                  <a:lnTo>
                    <a:pt x="70" y="90"/>
                  </a:lnTo>
                  <a:lnTo>
                    <a:pt x="70" y="90"/>
                  </a:lnTo>
                  <a:lnTo>
                    <a:pt x="66" y="88"/>
                  </a:lnTo>
                  <a:lnTo>
                    <a:pt x="64" y="90"/>
                  </a:lnTo>
                  <a:lnTo>
                    <a:pt x="64" y="90"/>
                  </a:lnTo>
                  <a:lnTo>
                    <a:pt x="62" y="90"/>
                  </a:lnTo>
                  <a:lnTo>
                    <a:pt x="60" y="90"/>
                  </a:lnTo>
                  <a:lnTo>
                    <a:pt x="58" y="88"/>
                  </a:lnTo>
                  <a:lnTo>
                    <a:pt x="58" y="88"/>
                  </a:lnTo>
                  <a:lnTo>
                    <a:pt x="56" y="92"/>
                  </a:lnTo>
                  <a:lnTo>
                    <a:pt x="54" y="88"/>
                  </a:lnTo>
                  <a:lnTo>
                    <a:pt x="54" y="88"/>
                  </a:lnTo>
                  <a:lnTo>
                    <a:pt x="50" y="88"/>
                  </a:lnTo>
                  <a:lnTo>
                    <a:pt x="50" y="88"/>
                  </a:lnTo>
                  <a:lnTo>
                    <a:pt x="44" y="90"/>
                  </a:lnTo>
                  <a:lnTo>
                    <a:pt x="38" y="88"/>
                  </a:lnTo>
                  <a:lnTo>
                    <a:pt x="38" y="88"/>
                  </a:lnTo>
                  <a:lnTo>
                    <a:pt x="24" y="86"/>
                  </a:lnTo>
                  <a:lnTo>
                    <a:pt x="24" y="86"/>
                  </a:lnTo>
                  <a:lnTo>
                    <a:pt x="14" y="86"/>
                  </a:lnTo>
                  <a:lnTo>
                    <a:pt x="14" y="86"/>
                  </a:lnTo>
                  <a:lnTo>
                    <a:pt x="12" y="90"/>
                  </a:lnTo>
                  <a:lnTo>
                    <a:pt x="10" y="92"/>
                  </a:lnTo>
                  <a:lnTo>
                    <a:pt x="8" y="90"/>
                  </a:lnTo>
                  <a:lnTo>
                    <a:pt x="8" y="90"/>
                  </a:lnTo>
                  <a:lnTo>
                    <a:pt x="6" y="86"/>
                  </a:lnTo>
                  <a:lnTo>
                    <a:pt x="4" y="86"/>
                  </a:lnTo>
                  <a:lnTo>
                    <a:pt x="2" y="88"/>
                  </a:lnTo>
                  <a:lnTo>
                    <a:pt x="2" y="88"/>
                  </a:lnTo>
                  <a:lnTo>
                    <a:pt x="0" y="78"/>
                  </a:lnTo>
                  <a:lnTo>
                    <a:pt x="0" y="78"/>
                  </a:lnTo>
                  <a:lnTo>
                    <a:pt x="4" y="72"/>
                  </a:lnTo>
                  <a:lnTo>
                    <a:pt x="4" y="68"/>
                  </a:lnTo>
                  <a:lnTo>
                    <a:pt x="4" y="66"/>
                  </a:lnTo>
                  <a:lnTo>
                    <a:pt x="4" y="66"/>
                  </a:lnTo>
                  <a:lnTo>
                    <a:pt x="2" y="62"/>
                  </a:lnTo>
                  <a:lnTo>
                    <a:pt x="0" y="58"/>
                  </a:lnTo>
                  <a:lnTo>
                    <a:pt x="0" y="54"/>
                  </a:lnTo>
                  <a:lnTo>
                    <a:pt x="6" y="52"/>
                  </a:lnTo>
                  <a:lnTo>
                    <a:pt x="6" y="52"/>
                  </a:lnTo>
                  <a:lnTo>
                    <a:pt x="14" y="52"/>
                  </a:lnTo>
                  <a:lnTo>
                    <a:pt x="14" y="52"/>
                  </a:lnTo>
                  <a:lnTo>
                    <a:pt x="14" y="52"/>
                  </a:lnTo>
                  <a:lnTo>
                    <a:pt x="16" y="50"/>
                  </a:lnTo>
                  <a:lnTo>
                    <a:pt x="16" y="48"/>
                  </a:lnTo>
                  <a:lnTo>
                    <a:pt x="22" y="46"/>
                  </a:lnTo>
                  <a:lnTo>
                    <a:pt x="22" y="46"/>
                  </a:lnTo>
                  <a:lnTo>
                    <a:pt x="22" y="38"/>
                  </a:lnTo>
                  <a:lnTo>
                    <a:pt x="22" y="38"/>
                  </a:lnTo>
                  <a:lnTo>
                    <a:pt x="22" y="32"/>
                  </a:lnTo>
                  <a:lnTo>
                    <a:pt x="26" y="26"/>
                  </a:lnTo>
                  <a:lnTo>
                    <a:pt x="26" y="26"/>
                  </a:lnTo>
                  <a:lnTo>
                    <a:pt x="28" y="24"/>
                  </a:lnTo>
                  <a:lnTo>
                    <a:pt x="30" y="22"/>
                  </a:lnTo>
                  <a:lnTo>
                    <a:pt x="28" y="18"/>
                  </a:lnTo>
                  <a:lnTo>
                    <a:pt x="28" y="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6" name="Freeform 255"/>
            <p:cNvSpPr>
              <a:spLocks noChangeAspect="1"/>
            </p:cNvSpPr>
            <p:nvPr/>
          </p:nvSpPr>
          <p:spPr bwMode="gray">
            <a:xfrm>
              <a:off x="6272668" y="3703824"/>
              <a:ext cx="125424" cy="174367"/>
            </a:xfrm>
            <a:custGeom>
              <a:avLst/>
              <a:gdLst/>
              <a:ahLst/>
              <a:cxnLst>
                <a:cxn ang="0">
                  <a:pos x="14" y="82"/>
                </a:cxn>
                <a:cxn ang="0">
                  <a:pos x="14" y="86"/>
                </a:cxn>
                <a:cxn ang="0">
                  <a:pos x="20" y="84"/>
                </a:cxn>
                <a:cxn ang="0">
                  <a:pos x="22" y="82"/>
                </a:cxn>
                <a:cxn ang="0">
                  <a:pos x="26" y="80"/>
                </a:cxn>
                <a:cxn ang="0">
                  <a:pos x="28" y="80"/>
                </a:cxn>
                <a:cxn ang="0">
                  <a:pos x="30" y="78"/>
                </a:cxn>
                <a:cxn ang="0">
                  <a:pos x="32" y="78"/>
                </a:cxn>
                <a:cxn ang="0">
                  <a:pos x="34" y="80"/>
                </a:cxn>
                <a:cxn ang="0">
                  <a:pos x="38" y="78"/>
                </a:cxn>
                <a:cxn ang="0">
                  <a:pos x="40" y="76"/>
                </a:cxn>
                <a:cxn ang="0">
                  <a:pos x="40" y="74"/>
                </a:cxn>
                <a:cxn ang="0">
                  <a:pos x="38" y="70"/>
                </a:cxn>
                <a:cxn ang="0">
                  <a:pos x="38" y="70"/>
                </a:cxn>
                <a:cxn ang="0">
                  <a:pos x="38" y="68"/>
                </a:cxn>
                <a:cxn ang="0">
                  <a:pos x="36" y="68"/>
                </a:cxn>
                <a:cxn ang="0">
                  <a:pos x="36" y="66"/>
                </a:cxn>
                <a:cxn ang="0">
                  <a:pos x="42" y="64"/>
                </a:cxn>
                <a:cxn ang="0">
                  <a:pos x="38" y="56"/>
                </a:cxn>
                <a:cxn ang="0">
                  <a:pos x="38" y="54"/>
                </a:cxn>
                <a:cxn ang="0">
                  <a:pos x="42" y="58"/>
                </a:cxn>
                <a:cxn ang="0">
                  <a:pos x="46" y="62"/>
                </a:cxn>
                <a:cxn ang="0">
                  <a:pos x="52" y="62"/>
                </a:cxn>
                <a:cxn ang="0">
                  <a:pos x="52" y="64"/>
                </a:cxn>
                <a:cxn ang="0">
                  <a:pos x="52" y="66"/>
                </a:cxn>
                <a:cxn ang="0">
                  <a:pos x="58" y="72"/>
                </a:cxn>
                <a:cxn ang="0">
                  <a:pos x="60" y="78"/>
                </a:cxn>
                <a:cxn ang="0">
                  <a:pos x="60" y="86"/>
                </a:cxn>
                <a:cxn ang="0">
                  <a:pos x="62" y="94"/>
                </a:cxn>
                <a:cxn ang="0">
                  <a:pos x="64" y="96"/>
                </a:cxn>
                <a:cxn ang="0">
                  <a:pos x="68" y="100"/>
                </a:cxn>
                <a:cxn ang="0">
                  <a:pos x="74" y="98"/>
                </a:cxn>
                <a:cxn ang="0">
                  <a:pos x="74" y="92"/>
                </a:cxn>
                <a:cxn ang="0">
                  <a:pos x="70" y="80"/>
                </a:cxn>
                <a:cxn ang="0">
                  <a:pos x="70" y="68"/>
                </a:cxn>
                <a:cxn ang="0">
                  <a:pos x="62" y="64"/>
                </a:cxn>
                <a:cxn ang="0">
                  <a:pos x="54" y="60"/>
                </a:cxn>
                <a:cxn ang="0">
                  <a:pos x="60" y="42"/>
                </a:cxn>
                <a:cxn ang="0">
                  <a:pos x="62" y="40"/>
                </a:cxn>
                <a:cxn ang="0">
                  <a:pos x="62" y="30"/>
                </a:cxn>
                <a:cxn ang="0">
                  <a:pos x="60" y="24"/>
                </a:cxn>
                <a:cxn ang="0">
                  <a:pos x="44" y="28"/>
                </a:cxn>
                <a:cxn ang="0">
                  <a:pos x="32" y="28"/>
                </a:cxn>
                <a:cxn ang="0">
                  <a:pos x="32" y="8"/>
                </a:cxn>
                <a:cxn ang="0">
                  <a:pos x="20" y="6"/>
                </a:cxn>
                <a:cxn ang="0">
                  <a:pos x="8" y="6"/>
                </a:cxn>
                <a:cxn ang="0">
                  <a:pos x="12" y="20"/>
                </a:cxn>
                <a:cxn ang="0">
                  <a:pos x="0" y="26"/>
                </a:cxn>
                <a:cxn ang="0">
                  <a:pos x="4" y="38"/>
                </a:cxn>
                <a:cxn ang="0">
                  <a:pos x="14" y="48"/>
                </a:cxn>
                <a:cxn ang="0">
                  <a:pos x="16" y="62"/>
                </a:cxn>
                <a:cxn ang="0">
                  <a:pos x="14" y="78"/>
                </a:cxn>
                <a:cxn ang="0">
                  <a:pos x="14" y="82"/>
                </a:cxn>
              </a:cxnLst>
              <a:rect l="0" t="0" r="r" b="b"/>
              <a:pathLst>
                <a:path w="74" h="106">
                  <a:moveTo>
                    <a:pt x="14" y="82"/>
                  </a:moveTo>
                  <a:lnTo>
                    <a:pt x="14" y="82"/>
                  </a:lnTo>
                  <a:lnTo>
                    <a:pt x="14" y="86"/>
                  </a:lnTo>
                  <a:lnTo>
                    <a:pt x="14" y="86"/>
                  </a:lnTo>
                  <a:lnTo>
                    <a:pt x="18" y="86"/>
                  </a:lnTo>
                  <a:lnTo>
                    <a:pt x="20" y="84"/>
                  </a:lnTo>
                  <a:lnTo>
                    <a:pt x="22" y="82"/>
                  </a:lnTo>
                  <a:lnTo>
                    <a:pt x="22" y="82"/>
                  </a:lnTo>
                  <a:lnTo>
                    <a:pt x="26" y="82"/>
                  </a:lnTo>
                  <a:lnTo>
                    <a:pt x="26" y="80"/>
                  </a:lnTo>
                  <a:lnTo>
                    <a:pt x="26" y="80"/>
                  </a:lnTo>
                  <a:lnTo>
                    <a:pt x="28" y="80"/>
                  </a:lnTo>
                  <a:lnTo>
                    <a:pt x="30" y="80"/>
                  </a:lnTo>
                  <a:lnTo>
                    <a:pt x="30" y="78"/>
                  </a:lnTo>
                  <a:lnTo>
                    <a:pt x="30" y="78"/>
                  </a:lnTo>
                  <a:lnTo>
                    <a:pt x="32" y="78"/>
                  </a:lnTo>
                  <a:lnTo>
                    <a:pt x="32" y="78"/>
                  </a:lnTo>
                  <a:lnTo>
                    <a:pt x="34" y="80"/>
                  </a:lnTo>
                  <a:lnTo>
                    <a:pt x="34" y="80"/>
                  </a:lnTo>
                  <a:lnTo>
                    <a:pt x="38" y="78"/>
                  </a:lnTo>
                  <a:lnTo>
                    <a:pt x="38" y="78"/>
                  </a:lnTo>
                  <a:lnTo>
                    <a:pt x="40" y="76"/>
                  </a:lnTo>
                  <a:lnTo>
                    <a:pt x="40" y="74"/>
                  </a:lnTo>
                  <a:lnTo>
                    <a:pt x="40" y="74"/>
                  </a:lnTo>
                  <a:lnTo>
                    <a:pt x="38" y="72"/>
                  </a:lnTo>
                  <a:lnTo>
                    <a:pt x="38" y="70"/>
                  </a:lnTo>
                  <a:lnTo>
                    <a:pt x="38" y="70"/>
                  </a:lnTo>
                  <a:lnTo>
                    <a:pt x="38" y="70"/>
                  </a:lnTo>
                  <a:lnTo>
                    <a:pt x="38" y="68"/>
                  </a:lnTo>
                  <a:lnTo>
                    <a:pt x="38" y="68"/>
                  </a:lnTo>
                  <a:lnTo>
                    <a:pt x="36" y="68"/>
                  </a:lnTo>
                  <a:lnTo>
                    <a:pt x="36" y="68"/>
                  </a:lnTo>
                  <a:lnTo>
                    <a:pt x="36" y="66"/>
                  </a:lnTo>
                  <a:lnTo>
                    <a:pt x="36" y="66"/>
                  </a:lnTo>
                  <a:lnTo>
                    <a:pt x="42" y="64"/>
                  </a:lnTo>
                  <a:lnTo>
                    <a:pt x="42" y="64"/>
                  </a:lnTo>
                  <a:lnTo>
                    <a:pt x="38" y="56"/>
                  </a:lnTo>
                  <a:lnTo>
                    <a:pt x="38" y="56"/>
                  </a:lnTo>
                  <a:lnTo>
                    <a:pt x="38" y="56"/>
                  </a:lnTo>
                  <a:lnTo>
                    <a:pt x="38" y="54"/>
                  </a:lnTo>
                  <a:lnTo>
                    <a:pt x="38" y="54"/>
                  </a:lnTo>
                  <a:lnTo>
                    <a:pt x="42" y="58"/>
                  </a:lnTo>
                  <a:lnTo>
                    <a:pt x="46" y="62"/>
                  </a:lnTo>
                  <a:lnTo>
                    <a:pt x="46" y="62"/>
                  </a:lnTo>
                  <a:lnTo>
                    <a:pt x="48" y="64"/>
                  </a:lnTo>
                  <a:lnTo>
                    <a:pt x="52" y="62"/>
                  </a:lnTo>
                  <a:lnTo>
                    <a:pt x="52" y="62"/>
                  </a:lnTo>
                  <a:lnTo>
                    <a:pt x="52" y="64"/>
                  </a:lnTo>
                  <a:lnTo>
                    <a:pt x="52" y="66"/>
                  </a:lnTo>
                  <a:lnTo>
                    <a:pt x="52" y="66"/>
                  </a:lnTo>
                  <a:lnTo>
                    <a:pt x="58" y="72"/>
                  </a:lnTo>
                  <a:lnTo>
                    <a:pt x="58" y="72"/>
                  </a:lnTo>
                  <a:lnTo>
                    <a:pt x="58" y="76"/>
                  </a:lnTo>
                  <a:lnTo>
                    <a:pt x="60" y="78"/>
                  </a:lnTo>
                  <a:lnTo>
                    <a:pt x="60" y="78"/>
                  </a:lnTo>
                  <a:lnTo>
                    <a:pt x="60" y="86"/>
                  </a:lnTo>
                  <a:lnTo>
                    <a:pt x="62" y="94"/>
                  </a:lnTo>
                  <a:lnTo>
                    <a:pt x="62" y="94"/>
                  </a:lnTo>
                  <a:lnTo>
                    <a:pt x="64" y="96"/>
                  </a:lnTo>
                  <a:lnTo>
                    <a:pt x="64" y="96"/>
                  </a:lnTo>
                  <a:lnTo>
                    <a:pt x="68" y="106"/>
                  </a:lnTo>
                  <a:lnTo>
                    <a:pt x="68" y="100"/>
                  </a:lnTo>
                  <a:lnTo>
                    <a:pt x="70" y="96"/>
                  </a:lnTo>
                  <a:lnTo>
                    <a:pt x="74" y="98"/>
                  </a:lnTo>
                  <a:lnTo>
                    <a:pt x="74" y="98"/>
                  </a:lnTo>
                  <a:lnTo>
                    <a:pt x="74" y="92"/>
                  </a:lnTo>
                  <a:lnTo>
                    <a:pt x="72" y="88"/>
                  </a:lnTo>
                  <a:lnTo>
                    <a:pt x="70" y="80"/>
                  </a:lnTo>
                  <a:lnTo>
                    <a:pt x="70" y="74"/>
                  </a:lnTo>
                  <a:lnTo>
                    <a:pt x="70" y="68"/>
                  </a:lnTo>
                  <a:lnTo>
                    <a:pt x="64" y="58"/>
                  </a:lnTo>
                  <a:lnTo>
                    <a:pt x="62" y="64"/>
                  </a:lnTo>
                  <a:lnTo>
                    <a:pt x="56" y="64"/>
                  </a:lnTo>
                  <a:lnTo>
                    <a:pt x="54" y="60"/>
                  </a:lnTo>
                  <a:lnTo>
                    <a:pt x="56" y="50"/>
                  </a:lnTo>
                  <a:lnTo>
                    <a:pt x="60" y="42"/>
                  </a:lnTo>
                  <a:lnTo>
                    <a:pt x="60" y="42"/>
                  </a:lnTo>
                  <a:lnTo>
                    <a:pt x="62" y="40"/>
                  </a:lnTo>
                  <a:lnTo>
                    <a:pt x="64" y="36"/>
                  </a:lnTo>
                  <a:lnTo>
                    <a:pt x="62" y="30"/>
                  </a:lnTo>
                  <a:lnTo>
                    <a:pt x="70" y="24"/>
                  </a:lnTo>
                  <a:lnTo>
                    <a:pt x="60" y="24"/>
                  </a:lnTo>
                  <a:lnTo>
                    <a:pt x="52" y="26"/>
                  </a:lnTo>
                  <a:lnTo>
                    <a:pt x="44" y="28"/>
                  </a:lnTo>
                  <a:lnTo>
                    <a:pt x="36" y="28"/>
                  </a:lnTo>
                  <a:lnTo>
                    <a:pt x="32" y="28"/>
                  </a:lnTo>
                  <a:lnTo>
                    <a:pt x="30" y="16"/>
                  </a:lnTo>
                  <a:lnTo>
                    <a:pt x="32" y="8"/>
                  </a:lnTo>
                  <a:lnTo>
                    <a:pt x="26" y="6"/>
                  </a:lnTo>
                  <a:lnTo>
                    <a:pt x="20" y="6"/>
                  </a:lnTo>
                  <a:lnTo>
                    <a:pt x="12" y="0"/>
                  </a:lnTo>
                  <a:lnTo>
                    <a:pt x="8" y="6"/>
                  </a:lnTo>
                  <a:lnTo>
                    <a:pt x="14" y="14"/>
                  </a:lnTo>
                  <a:lnTo>
                    <a:pt x="12" y="20"/>
                  </a:lnTo>
                  <a:lnTo>
                    <a:pt x="6" y="22"/>
                  </a:lnTo>
                  <a:lnTo>
                    <a:pt x="0" y="26"/>
                  </a:lnTo>
                  <a:lnTo>
                    <a:pt x="2" y="36"/>
                  </a:lnTo>
                  <a:lnTo>
                    <a:pt x="4" y="38"/>
                  </a:lnTo>
                  <a:lnTo>
                    <a:pt x="12" y="42"/>
                  </a:lnTo>
                  <a:lnTo>
                    <a:pt x="14" y="48"/>
                  </a:lnTo>
                  <a:lnTo>
                    <a:pt x="12" y="58"/>
                  </a:lnTo>
                  <a:lnTo>
                    <a:pt x="16" y="62"/>
                  </a:lnTo>
                  <a:lnTo>
                    <a:pt x="16" y="72"/>
                  </a:lnTo>
                  <a:lnTo>
                    <a:pt x="14" y="78"/>
                  </a:lnTo>
                  <a:lnTo>
                    <a:pt x="14" y="82"/>
                  </a:lnTo>
                  <a:lnTo>
                    <a:pt x="14" y="8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7" name="Freeform 256"/>
            <p:cNvSpPr>
              <a:spLocks noChangeAspect="1" noEditPoints="1"/>
            </p:cNvSpPr>
            <p:nvPr/>
          </p:nvSpPr>
          <p:spPr bwMode="gray">
            <a:xfrm>
              <a:off x="5310034" y="3233362"/>
              <a:ext cx="112883" cy="101988"/>
            </a:xfrm>
            <a:custGeom>
              <a:avLst/>
              <a:gdLst/>
              <a:ahLst/>
              <a:cxnLst>
                <a:cxn ang="0">
                  <a:pos x="48" y="14"/>
                </a:cxn>
                <a:cxn ang="0">
                  <a:pos x="40" y="16"/>
                </a:cxn>
                <a:cxn ang="0">
                  <a:pos x="36" y="8"/>
                </a:cxn>
                <a:cxn ang="0">
                  <a:pos x="26" y="0"/>
                </a:cxn>
                <a:cxn ang="0">
                  <a:pos x="22" y="4"/>
                </a:cxn>
                <a:cxn ang="0">
                  <a:pos x="26" y="8"/>
                </a:cxn>
                <a:cxn ang="0">
                  <a:pos x="22" y="12"/>
                </a:cxn>
                <a:cxn ang="0">
                  <a:pos x="18" y="8"/>
                </a:cxn>
                <a:cxn ang="0">
                  <a:pos x="12" y="4"/>
                </a:cxn>
                <a:cxn ang="0">
                  <a:pos x="6" y="6"/>
                </a:cxn>
                <a:cxn ang="0">
                  <a:pos x="2" y="16"/>
                </a:cxn>
                <a:cxn ang="0">
                  <a:pos x="6" y="18"/>
                </a:cxn>
                <a:cxn ang="0">
                  <a:pos x="8" y="16"/>
                </a:cxn>
                <a:cxn ang="0">
                  <a:pos x="12" y="20"/>
                </a:cxn>
                <a:cxn ang="0">
                  <a:pos x="8" y="26"/>
                </a:cxn>
                <a:cxn ang="0">
                  <a:pos x="16" y="30"/>
                </a:cxn>
                <a:cxn ang="0">
                  <a:pos x="16" y="36"/>
                </a:cxn>
                <a:cxn ang="0">
                  <a:pos x="20" y="42"/>
                </a:cxn>
                <a:cxn ang="0">
                  <a:pos x="24" y="42"/>
                </a:cxn>
                <a:cxn ang="0">
                  <a:pos x="26" y="50"/>
                </a:cxn>
                <a:cxn ang="0">
                  <a:pos x="32" y="44"/>
                </a:cxn>
                <a:cxn ang="0">
                  <a:pos x="36" y="42"/>
                </a:cxn>
                <a:cxn ang="0">
                  <a:pos x="36" y="42"/>
                </a:cxn>
                <a:cxn ang="0">
                  <a:pos x="40" y="48"/>
                </a:cxn>
                <a:cxn ang="0">
                  <a:pos x="38" y="52"/>
                </a:cxn>
                <a:cxn ang="0">
                  <a:pos x="40" y="56"/>
                </a:cxn>
                <a:cxn ang="0">
                  <a:pos x="46" y="62"/>
                </a:cxn>
                <a:cxn ang="0">
                  <a:pos x="46" y="54"/>
                </a:cxn>
                <a:cxn ang="0">
                  <a:pos x="52" y="48"/>
                </a:cxn>
                <a:cxn ang="0">
                  <a:pos x="54" y="40"/>
                </a:cxn>
                <a:cxn ang="0">
                  <a:pos x="54" y="32"/>
                </a:cxn>
                <a:cxn ang="0">
                  <a:pos x="58" y="28"/>
                </a:cxn>
                <a:cxn ang="0">
                  <a:pos x="64" y="22"/>
                </a:cxn>
                <a:cxn ang="0">
                  <a:pos x="62" y="22"/>
                </a:cxn>
                <a:cxn ang="0">
                  <a:pos x="52" y="16"/>
                </a:cxn>
                <a:cxn ang="0">
                  <a:pos x="0" y="44"/>
                </a:cxn>
                <a:cxn ang="0">
                  <a:pos x="2" y="48"/>
                </a:cxn>
                <a:cxn ang="0">
                  <a:pos x="8" y="54"/>
                </a:cxn>
                <a:cxn ang="0">
                  <a:pos x="12" y="58"/>
                </a:cxn>
                <a:cxn ang="0">
                  <a:pos x="18" y="56"/>
                </a:cxn>
                <a:cxn ang="0">
                  <a:pos x="14" y="50"/>
                </a:cxn>
                <a:cxn ang="0">
                  <a:pos x="8" y="44"/>
                </a:cxn>
                <a:cxn ang="0">
                  <a:pos x="0" y="44"/>
                </a:cxn>
              </a:cxnLst>
              <a:rect l="0" t="0" r="r" b="b"/>
              <a:pathLst>
                <a:path w="66" h="62">
                  <a:moveTo>
                    <a:pt x="50" y="8"/>
                  </a:moveTo>
                  <a:lnTo>
                    <a:pt x="50" y="8"/>
                  </a:lnTo>
                  <a:lnTo>
                    <a:pt x="48" y="14"/>
                  </a:lnTo>
                  <a:lnTo>
                    <a:pt x="42" y="18"/>
                  </a:lnTo>
                  <a:lnTo>
                    <a:pt x="42" y="18"/>
                  </a:lnTo>
                  <a:lnTo>
                    <a:pt x="40" y="16"/>
                  </a:lnTo>
                  <a:lnTo>
                    <a:pt x="38" y="12"/>
                  </a:lnTo>
                  <a:lnTo>
                    <a:pt x="38" y="12"/>
                  </a:lnTo>
                  <a:lnTo>
                    <a:pt x="36" y="8"/>
                  </a:lnTo>
                  <a:lnTo>
                    <a:pt x="32" y="6"/>
                  </a:lnTo>
                  <a:lnTo>
                    <a:pt x="32" y="6"/>
                  </a:lnTo>
                  <a:lnTo>
                    <a:pt x="26" y="0"/>
                  </a:lnTo>
                  <a:lnTo>
                    <a:pt x="26" y="0"/>
                  </a:lnTo>
                  <a:lnTo>
                    <a:pt x="24" y="2"/>
                  </a:lnTo>
                  <a:lnTo>
                    <a:pt x="22" y="4"/>
                  </a:lnTo>
                  <a:lnTo>
                    <a:pt x="22" y="6"/>
                  </a:lnTo>
                  <a:lnTo>
                    <a:pt x="22" y="6"/>
                  </a:lnTo>
                  <a:lnTo>
                    <a:pt x="26" y="8"/>
                  </a:lnTo>
                  <a:lnTo>
                    <a:pt x="24" y="12"/>
                  </a:lnTo>
                  <a:lnTo>
                    <a:pt x="24" y="12"/>
                  </a:lnTo>
                  <a:lnTo>
                    <a:pt x="22" y="12"/>
                  </a:lnTo>
                  <a:lnTo>
                    <a:pt x="20" y="12"/>
                  </a:lnTo>
                  <a:lnTo>
                    <a:pt x="18" y="8"/>
                  </a:lnTo>
                  <a:lnTo>
                    <a:pt x="18" y="8"/>
                  </a:lnTo>
                  <a:lnTo>
                    <a:pt x="16" y="6"/>
                  </a:lnTo>
                  <a:lnTo>
                    <a:pt x="12" y="4"/>
                  </a:lnTo>
                  <a:lnTo>
                    <a:pt x="12" y="4"/>
                  </a:lnTo>
                  <a:lnTo>
                    <a:pt x="8" y="4"/>
                  </a:lnTo>
                  <a:lnTo>
                    <a:pt x="6" y="6"/>
                  </a:lnTo>
                  <a:lnTo>
                    <a:pt x="6" y="6"/>
                  </a:lnTo>
                  <a:lnTo>
                    <a:pt x="4" y="10"/>
                  </a:lnTo>
                  <a:lnTo>
                    <a:pt x="2" y="12"/>
                  </a:lnTo>
                  <a:lnTo>
                    <a:pt x="2" y="16"/>
                  </a:lnTo>
                  <a:lnTo>
                    <a:pt x="2" y="16"/>
                  </a:lnTo>
                  <a:lnTo>
                    <a:pt x="4" y="18"/>
                  </a:lnTo>
                  <a:lnTo>
                    <a:pt x="6" y="18"/>
                  </a:lnTo>
                  <a:lnTo>
                    <a:pt x="6" y="16"/>
                  </a:lnTo>
                  <a:lnTo>
                    <a:pt x="6" y="16"/>
                  </a:lnTo>
                  <a:lnTo>
                    <a:pt x="8" y="16"/>
                  </a:lnTo>
                  <a:lnTo>
                    <a:pt x="8" y="18"/>
                  </a:lnTo>
                  <a:lnTo>
                    <a:pt x="12" y="20"/>
                  </a:lnTo>
                  <a:lnTo>
                    <a:pt x="12" y="20"/>
                  </a:lnTo>
                  <a:lnTo>
                    <a:pt x="12" y="22"/>
                  </a:lnTo>
                  <a:lnTo>
                    <a:pt x="12" y="24"/>
                  </a:lnTo>
                  <a:lnTo>
                    <a:pt x="8" y="26"/>
                  </a:lnTo>
                  <a:lnTo>
                    <a:pt x="8" y="26"/>
                  </a:lnTo>
                  <a:lnTo>
                    <a:pt x="16" y="30"/>
                  </a:lnTo>
                  <a:lnTo>
                    <a:pt x="16" y="30"/>
                  </a:lnTo>
                  <a:lnTo>
                    <a:pt x="18" y="34"/>
                  </a:lnTo>
                  <a:lnTo>
                    <a:pt x="16" y="36"/>
                  </a:lnTo>
                  <a:lnTo>
                    <a:pt x="16" y="36"/>
                  </a:lnTo>
                  <a:lnTo>
                    <a:pt x="16" y="38"/>
                  </a:lnTo>
                  <a:lnTo>
                    <a:pt x="20" y="42"/>
                  </a:lnTo>
                  <a:lnTo>
                    <a:pt x="20" y="42"/>
                  </a:lnTo>
                  <a:lnTo>
                    <a:pt x="24" y="42"/>
                  </a:lnTo>
                  <a:lnTo>
                    <a:pt x="24" y="42"/>
                  </a:lnTo>
                  <a:lnTo>
                    <a:pt x="24" y="42"/>
                  </a:lnTo>
                  <a:lnTo>
                    <a:pt x="24" y="42"/>
                  </a:lnTo>
                  <a:lnTo>
                    <a:pt x="26" y="48"/>
                  </a:lnTo>
                  <a:lnTo>
                    <a:pt x="26" y="50"/>
                  </a:lnTo>
                  <a:lnTo>
                    <a:pt x="26" y="50"/>
                  </a:lnTo>
                  <a:lnTo>
                    <a:pt x="28" y="48"/>
                  </a:lnTo>
                  <a:lnTo>
                    <a:pt x="32" y="44"/>
                  </a:lnTo>
                  <a:lnTo>
                    <a:pt x="32" y="44"/>
                  </a:lnTo>
                  <a:lnTo>
                    <a:pt x="34" y="44"/>
                  </a:lnTo>
                  <a:lnTo>
                    <a:pt x="36" y="42"/>
                  </a:lnTo>
                  <a:lnTo>
                    <a:pt x="36" y="42"/>
                  </a:lnTo>
                  <a:lnTo>
                    <a:pt x="36" y="42"/>
                  </a:lnTo>
                  <a:lnTo>
                    <a:pt x="36" y="42"/>
                  </a:lnTo>
                  <a:lnTo>
                    <a:pt x="40" y="46"/>
                  </a:lnTo>
                  <a:lnTo>
                    <a:pt x="40" y="48"/>
                  </a:lnTo>
                  <a:lnTo>
                    <a:pt x="40" y="48"/>
                  </a:lnTo>
                  <a:lnTo>
                    <a:pt x="38" y="50"/>
                  </a:lnTo>
                  <a:lnTo>
                    <a:pt x="38" y="50"/>
                  </a:lnTo>
                  <a:lnTo>
                    <a:pt x="38" y="52"/>
                  </a:lnTo>
                  <a:lnTo>
                    <a:pt x="38" y="54"/>
                  </a:lnTo>
                  <a:lnTo>
                    <a:pt x="38" y="54"/>
                  </a:lnTo>
                  <a:lnTo>
                    <a:pt x="40" y="56"/>
                  </a:lnTo>
                  <a:lnTo>
                    <a:pt x="42" y="58"/>
                  </a:lnTo>
                  <a:lnTo>
                    <a:pt x="42" y="58"/>
                  </a:lnTo>
                  <a:lnTo>
                    <a:pt x="46" y="62"/>
                  </a:lnTo>
                  <a:lnTo>
                    <a:pt x="46" y="62"/>
                  </a:lnTo>
                  <a:lnTo>
                    <a:pt x="46" y="54"/>
                  </a:lnTo>
                  <a:lnTo>
                    <a:pt x="46" y="54"/>
                  </a:lnTo>
                  <a:lnTo>
                    <a:pt x="52" y="52"/>
                  </a:lnTo>
                  <a:lnTo>
                    <a:pt x="52" y="52"/>
                  </a:lnTo>
                  <a:lnTo>
                    <a:pt x="52" y="48"/>
                  </a:lnTo>
                  <a:lnTo>
                    <a:pt x="50" y="48"/>
                  </a:lnTo>
                  <a:lnTo>
                    <a:pt x="50" y="48"/>
                  </a:lnTo>
                  <a:lnTo>
                    <a:pt x="54" y="40"/>
                  </a:lnTo>
                  <a:lnTo>
                    <a:pt x="54" y="40"/>
                  </a:lnTo>
                  <a:lnTo>
                    <a:pt x="54" y="36"/>
                  </a:lnTo>
                  <a:lnTo>
                    <a:pt x="54" y="32"/>
                  </a:lnTo>
                  <a:lnTo>
                    <a:pt x="54" y="32"/>
                  </a:lnTo>
                  <a:lnTo>
                    <a:pt x="56" y="30"/>
                  </a:lnTo>
                  <a:lnTo>
                    <a:pt x="58" y="28"/>
                  </a:lnTo>
                  <a:lnTo>
                    <a:pt x="66" y="26"/>
                  </a:lnTo>
                  <a:lnTo>
                    <a:pt x="66" y="26"/>
                  </a:lnTo>
                  <a:lnTo>
                    <a:pt x="64" y="22"/>
                  </a:lnTo>
                  <a:lnTo>
                    <a:pt x="64" y="22"/>
                  </a:lnTo>
                  <a:lnTo>
                    <a:pt x="62" y="22"/>
                  </a:lnTo>
                  <a:lnTo>
                    <a:pt x="62" y="22"/>
                  </a:lnTo>
                  <a:lnTo>
                    <a:pt x="56" y="20"/>
                  </a:lnTo>
                  <a:lnTo>
                    <a:pt x="52" y="16"/>
                  </a:lnTo>
                  <a:lnTo>
                    <a:pt x="52" y="16"/>
                  </a:lnTo>
                  <a:lnTo>
                    <a:pt x="50" y="8"/>
                  </a:lnTo>
                  <a:lnTo>
                    <a:pt x="50" y="8"/>
                  </a:lnTo>
                  <a:close/>
                  <a:moveTo>
                    <a:pt x="0" y="44"/>
                  </a:moveTo>
                  <a:lnTo>
                    <a:pt x="0" y="44"/>
                  </a:lnTo>
                  <a:lnTo>
                    <a:pt x="0" y="46"/>
                  </a:lnTo>
                  <a:lnTo>
                    <a:pt x="2" y="48"/>
                  </a:lnTo>
                  <a:lnTo>
                    <a:pt x="2" y="48"/>
                  </a:lnTo>
                  <a:lnTo>
                    <a:pt x="4" y="52"/>
                  </a:lnTo>
                  <a:lnTo>
                    <a:pt x="8" y="54"/>
                  </a:lnTo>
                  <a:lnTo>
                    <a:pt x="8" y="54"/>
                  </a:lnTo>
                  <a:lnTo>
                    <a:pt x="10" y="56"/>
                  </a:lnTo>
                  <a:lnTo>
                    <a:pt x="12" y="58"/>
                  </a:lnTo>
                  <a:lnTo>
                    <a:pt x="12" y="58"/>
                  </a:lnTo>
                  <a:lnTo>
                    <a:pt x="18" y="56"/>
                  </a:lnTo>
                  <a:lnTo>
                    <a:pt x="18" y="56"/>
                  </a:lnTo>
                  <a:lnTo>
                    <a:pt x="18" y="54"/>
                  </a:lnTo>
                  <a:lnTo>
                    <a:pt x="14" y="50"/>
                  </a:lnTo>
                  <a:lnTo>
                    <a:pt x="14" y="50"/>
                  </a:lnTo>
                  <a:lnTo>
                    <a:pt x="10" y="44"/>
                  </a:lnTo>
                  <a:lnTo>
                    <a:pt x="10" y="44"/>
                  </a:lnTo>
                  <a:lnTo>
                    <a:pt x="8" y="44"/>
                  </a:lnTo>
                  <a:lnTo>
                    <a:pt x="4" y="44"/>
                  </a:lnTo>
                  <a:lnTo>
                    <a:pt x="4" y="44"/>
                  </a:lnTo>
                  <a:lnTo>
                    <a:pt x="0" y="44"/>
                  </a:lnTo>
                  <a:lnTo>
                    <a:pt x="0" y="4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8" name="Freeform 257"/>
            <p:cNvSpPr>
              <a:spLocks noChangeAspect="1"/>
            </p:cNvSpPr>
            <p:nvPr/>
          </p:nvSpPr>
          <p:spPr bwMode="gray">
            <a:xfrm>
              <a:off x="4510451" y="3003067"/>
              <a:ext cx="161484" cy="82249"/>
            </a:xfrm>
            <a:custGeom>
              <a:avLst/>
              <a:gdLst/>
              <a:ahLst/>
              <a:cxnLst>
                <a:cxn ang="0">
                  <a:pos x="0" y="36"/>
                </a:cxn>
                <a:cxn ang="0">
                  <a:pos x="4" y="38"/>
                </a:cxn>
                <a:cxn ang="0">
                  <a:pos x="4" y="44"/>
                </a:cxn>
                <a:cxn ang="0">
                  <a:pos x="13" y="46"/>
                </a:cxn>
                <a:cxn ang="0">
                  <a:pos x="13" y="46"/>
                </a:cxn>
                <a:cxn ang="0">
                  <a:pos x="17" y="44"/>
                </a:cxn>
                <a:cxn ang="0">
                  <a:pos x="19" y="46"/>
                </a:cxn>
                <a:cxn ang="0">
                  <a:pos x="23" y="46"/>
                </a:cxn>
                <a:cxn ang="0">
                  <a:pos x="27" y="48"/>
                </a:cxn>
                <a:cxn ang="0">
                  <a:pos x="29" y="50"/>
                </a:cxn>
                <a:cxn ang="0">
                  <a:pos x="31" y="50"/>
                </a:cxn>
                <a:cxn ang="0">
                  <a:pos x="35" y="48"/>
                </a:cxn>
                <a:cxn ang="0">
                  <a:pos x="43" y="48"/>
                </a:cxn>
                <a:cxn ang="0">
                  <a:pos x="47" y="48"/>
                </a:cxn>
                <a:cxn ang="0">
                  <a:pos x="49" y="46"/>
                </a:cxn>
                <a:cxn ang="0">
                  <a:pos x="55" y="44"/>
                </a:cxn>
                <a:cxn ang="0">
                  <a:pos x="61" y="46"/>
                </a:cxn>
                <a:cxn ang="0">
                  <a:pos x="63" y="42"/>
                </a:cxn>
                <a:cxn ang="0">
                  <a:pos x="71" y="38"/>
                </a:cxn>
                <a:cxn ang="0">
                  <a:pos x="75" y="40"/>
                </a:cxn>
                <a:cxn ang="0">
                  <a:pos x="79" y="40"/>
                </a:cxn>
                <a:cxn ang="0">
                  <a:pos x="85" y="36"/>
                </a:cxn>
                <a:cxn ang="0">
                  <a:pos x="87" y="32"/>
                </a:cxn>
                <a:cxn ang="0">
                  <a:pos x="89" y="32"/>
                </a:cxn>
                <a:cxn ang="0">
                  <a:pos x="91" y="28"/>
                </a:cxn>
                <a:cxn ang="0">
                  <a:pos x="93" y="24"/>
                </a:cxn>
                <a:cxn ang="0">
                  <a:pos x="93" y="18"/>
                </a:cxn>
                <a:cxn ang="0">
                  <a:pos x="93" y="12"/>
                </a:cxn>
                <a:cxn ang="0">
                  <a:pos x="89" y="10"/>
                </a:cxn>
                <a:cxn ang="0">
                  <a:pos x="93" y="4"/>
                </a:cxn>
                <a:cxn ang="0">
                  <a:pos x="83" y="6"/>
                </a:cxn>
                <a:cxn ang="0">
                  <a:pos x="77" y="4"/>
                </a:cxn>
                <a:cxn ang="0">
                  <a:pos x="73" y="2"/>
                </a:cxn>
                <a:cxn ang="0">
                  <a:pos x="67" y="0"/>
                </a:cxn>
                <a:cxn ang="0">
                  <a:pos x="65" y="0"/>
                </a:cxn>
                <a:cxn ang="0">
                  <a:pos x="59" y="8"/>
                </a:cxn>
                <a:cxn ang="0">
                  <a:pos x="59" y="8"/>
                </a:cxn>
                <a:cxn ang="0">
                  <a:pos x="53" y="8"/>
                </a:cxn>
                <a:cxn ang="0">
                  <a:pos x="49" y="4"/>
                </a:cxn>
                <a:cxn ang="0">
                  <a:pos x="45" y="8"/>
                </a:cxn>
                <a:cxn ang="0">
                  <a:pos x="43" y="12"/>
                </a:cxn>
                <a:cxn ang="0">
                  <a:pos x="39" y="16"/>
                </a:cxn>
                <a:cxn ang="0">
                  <a:pos x="35" y="18"/>
                </a:cxn>
                <a:cxn ang="0">
                  <a:pos x="35" y="20"/>
                </a:cxn>
                <a:cxn ang="0">
                  <a:pos x="37" y="22"/>
                </a:cxn>
                <a:cxn ang="0">
                  <a:pos x="39" y="24"/>
                </a:cxn>
                <a:cxn ang="0">
                  <a:pos x="35" y="30"/>
                </a:cxn>
                <a:cxn ang="0">
                  <a:pos x="33" y="26"/>
                </a:cxn>
                <a:cxn ang="0">
                  <a:pos x="29" y="26"/>
                </a:cxn>
                <a:cxn ang="0">
                  <a:pos x="25" y="26"/>
                </a:cxn>
                <a:cxn ang="0">
                  <a:pos x="21" y="24"/>
                </a:cxn>
                <a:cxn ang="0">
                  <a:pos x="19" y="28"/>
                </a:cxn>
                <a:cxn ang="0">
                  <a:pos x="15" y="30"/>
                </a:cxn>
                <a:cxn ang="0">
                  <a:pos x="8" y="30"/>
                </a:cxn>
                <a:cxn ang="0">
                  <a:pos x="4" y="34"/>
                </a:cxn>
                <a:cxn ang="0">
                  <a:pos x="0" y="36"/>
                </a:cxn>
              </a:cxnLst>
              <a:rect l="0" t="0" r="r" b="b"/>
              <a:pathLst>
                <a:path w="95" h="50">
                  <a:moveTo>
                    <a:pt x="0" y="36"/>
                  </a:moveTo>
                  <a:lnTo>
                    <a:pt x="0" y="36"/>
                  </a:lnTo>
                  <a:lnTo>
                    <a:pt x="4" y="36"/>
                  </a:lnTo>
                  <a:lnTo>
                    <a:pt x="4" y="38"/>
                  </a:lnTo>
                  <a:lnTo>
                    <a:pt x="4" y="44"/>
                  </a:lnTo>
                  <a:lnTo>
                    <a:pt x="4" y="44"/>
                  </a:lnTo>
                  <a:lnTo>
                    <a:pt x="8" y="46"/>
                  </a:lnTo>
                  <a:lnTo>
                    <a:pt x="13" y="46"/>
                  </a:lnTo>
                  <a:lnTo>
                    <a:pt x="13" y="46"/>
                  </a:lnTo>
                  <a:lnTo>
                    <a:pt x="13" y="46"/>
                  </a:lnTo>
                  <a:lnTo>
                    <a:pt x="13" y="44"/>
                  </a:lnTo>
                  <a:lnTo>
                    <a:pt x="17" y="44"/>
                  </a:lnTo>
                  <a:lnTo>
                    <a:pt x="17" y="44"/>
                  </a:lnTo>
                  <a:lnTo>
                    <a:pt x="19" y="46"/>
                  </a:lnTo>
                  <a:lnTo>
                    <a:pt x="23" y="46"/>
                  </a:lnTo>
                  <a:lnTo>
                    <a:pt x="23" y="46"/>
                  </a:lnTo>
                  <a:lnTo>
                    <a:pt x="25" y="46"/>
                  </a:lnTo>
                  <a:lnTo>
                    <a:pt x="27" y="48"/>
                  </a:lnTo>
                  <a:lnTo>
                    <a:pt x="27" y="48"/>
                  </a:lnTo>
                  <a:lnTo>
                    <a:pt x="29" y="50"/>
                  </a:lnTo>
                  <a:lnTo>
                    <a:pt x="29" y="50"/>
                  </a:lnTo>
                  <a:lnTo>
                    <a:pt x="31" y="50"/>
                  </a:lnTo>
                  <a:lnTo>
                    <a:pt x="35" y="48"/>
                  </a:lnTo>
                  <a:lnTo>
                    <a:pt x="35" y="48"/>
                  </a:lnTo>
                  <a:lnTo>
                    <a:pt x="43" y="48"/>
                  </a:lnTo>
                  <a:lnTo>
                    <a:pt x="43" y="48"/>
                  </a:lnTo>
                  <a:lnTo>
                    <a:pt x="47" y="48"/>
                  </a:lnTo>
                  <a:lnTo>
                    <a:pt x="47" y="48"/>
                  </a:lnTo>
                  <a:lnTo>
                    <a:pt x="49" y="46"/>
                  </a:lnTo>
                  <a:lnTo>
                    <a:pt x="49" y="46"/>
                  </a:lnTo>
                  <a:lnTo>
                    <a:pt x="49" y="44"/>
                  </a:lnTo>
                  <a:lnTo>
                    <a:pt x="55" y="44"/>
                  </a:lnTo>
                  <a:lnTo>
                    <a:pt x="55" y="44"/>
                  </a:lnTo>
                  <a:lnTo>
                    <a:pt x="61" y="46"/>
                  </a:lnTo>
                  <a:lnTo>
                    <a:pt x="63" y="42"/>
                  </a:lnTo>
                  <a:lnTo>
                    <a:pt x="63" y="42"/>
                  </a:lnTo>
                  <a:lnTo>
                    <a:pt x="67" y="40"/>
                  </a:lnTo>
                  <a:lnTo>
                    <a:pt x="71" y="38"/>
                  </a:lnTo>
                  <a:lnTo>
                    <a:pt x="71" y="38"/>
                  </a:lnTo>
                  <a:lnTo>
                    <a:pt x="75" y="40"/>
                  </a:lnTo>
                  <a:lnTo>
                    <a:pt x="79" y="40"/>
                  </a:lnTo>
                  <a:lnTo>
                    <a:pt x="79" y="40"/>
                  </a:lnTo>
                  <a:lnTo>
                    <a:pt x="85" y="36"/>
                  </a:lnTo>
                  <a:lnTo>
                    <a:pt x="85" y="36"/>
                  </a:lnTo>
                  <a:lnTo>
                    <a:pt x="85" y="34"/>
                  </a:lnTo>
                  <a:lnTo>
                    <a:pt x="87" y="32"/>
                  </a:lnTo>
                  <a:lnTo>
                    <a:pt x="89" y="32"/>
                  </a:lnTo>
                  <a:lnTo>
                    <a:pt x="89" y="32"/>
                  </a:lnTo>
                  <a:lnTo>
                    <a:pt x="91" y="32"/>
                  </a:lnTo>
                  <a:lnTo>
                    <a:pt x="91" y="28"/>
                  </a:lnTo>
                  <a:lnTo>
                    <a:pt x="93" y="24"/>
                  </a:lnTo>
                  <a:lnTo>
                    <a:pt x="93" y="24"/>
                  </a:lnTo>
                  <a:lnTo>
                    <a:pt x="91" y="20"/>
                  </a:lnTo>
                  <a:lnTo>
                    <a:pt x="93" y="18"/>
                  </a:lnTo>
                  <a:lnTo>
                    <a:pt x="95" y="18"/>
                  </a:lnTo>
                  <a:lnTo>
                    <a:pt x="93" y="12"/>
                  </a:lnTo>
                  <a:lnTo>
                    <a:pt x="93" y="12"/>
                  </a:lnTo>
                  <a:lnTo>
                    <a:pt x="89" y="10"/>
                  </a:lnTo>
                  <a:lnTo>
                    <a:pt x="89" y="8"/>
                  </a:lnTo>
                  <a:lnTo>
                    <a:pt x="93" y="4"/>
                  </a:lnTo>
                  <a:lnTo>
                    <a:pt x="93" y="4"/>
                  </a:lnTo>
                  <a:lnTo>
                    <a:pt x="83" y="6"/>
                  </a:lnTo>
                  <a:lnTo>
                    <a:pt x="83" y="6"/>
                  </a:lnTo>
                  <a:lnTo>
                    <a:pt x="77" y="4"/>
                  </a:lnTo>
                  <a:lnTo>
                    <a:pt x="73" y="2"/>
                  </a:lnTo>
                  <a:lnTo>
                    <a:pt x="73" y="2"/>
                  </a:lnTo>
                  <a:lnTo>
                    <a:pt x="71" y="0"/>
                  </a:lnTo>
                  <a:lnTo>
                    <a:pt x="67" y="0"/>
                  </a:lnTo>
                  <a:lnTo>
                    <a:pt x="65" y="0"/>
                  </a:lnTo>
                  <a:lnTo>
                    <a:pt x="65" y="0"/>
                  </a:lnTo>
                  <a:lnTo>
                    <a:pt x="63" y="2"/>
                  </a:lnTo>
                  <a:lnTo>
                    <a:pt x="59" y="8"/>
                  </a:lnTo>
                  <a:lnTo>
                    <a:pt x="59" y="8"/>
                  </a:lnTo>
                  <a:lnTo>
                    <a:pt x="59" y="8"/>
                  </a:lnTo>
                  <a:lnTo>
                    <a:pt x="57" y="10"/>
                  </a:lnTo>
                  <a:lnTo>
                    <a:pt x="53" y="8"/>
                  </a:lnTo>
                  <a:lnTo>
                    <a:pt x="49" y="4"/>
                  </a:lnTo>
                  <a:lnTo>
                    <a:pt x="49" y="4"/>
                  </a:lnTo>
                  <a:lnTo>
                    <a:pt x="47" y="6"/>
                  </a:lnTo>
                  <a:lnTo>
                    <a:pt x="45" y="8"/>
                  </a:lnTo>
                  <a:lnTo>
                    <a:pt x="43" y="12"/>
                  </a:lnTo>
                  <a:lnTo>
                    <a:pt x="43" y="12"/>
                  </a:lnTo>
                  <a:lnTo>
                    <a:pt x="43" y="14"/>
                  </a:lnTo>
                  <a:lnTo>
                    <a:pt x="39" y="16"/>
                  </a:lnTo>
                  <a:lnTo>
                    <a:pt x="39" y="16"/>
                  </a:lnTo>
                  <a:lnTo>
                    <a:pt x="35" y="18"/>
                  </a:lnTo>
                  <a:lnTo>
                    <a:pt x="35" y="20"/>
                  </a:lnTo>
                  <a:lnTo>
                    <a:pt x="35" y="20"/>
                  </a:lnTo>
                  <a:lnTo>
                    <a:pt x="37" y="20"/>
                  </a:lnTo>
                  <a:lnTo>
                    <a:pt x="37" y="22"/>
                  </a:lnTo>
                  <a:lnTo>
                    <a:pt x="39" y="24"/>
                  </a:lnTo>
                  <a:lnTo>
                    <a:pt x="39" y="24"/>
                  </a:lnTo>
                  <a:lnTo>
                    <a:pt x="39" y="30"/>
                  </a:lnTo>
                  <a:lnTo>
                    <a:pt x="35" y="30"/>
                  </a:lnTo>
                  <a:lnTo>
                    <a:pt x="35" y="30"/>
                  </a:lnTo>
                  <a:lnTo>
                    <a:pt x="33" y="26"/>
                  </a:lnTo>
                  <a:lnTo>
                    <a:pt x="31" y="26"/>
                  </a:lnTo>
                  <a:lnTo>
                    <a:pt x="29" y="26"/>
                  </a:lnTo>
                  <a:lnTo>
                    <a:pt x="29" y="26"/>
                  </a:lnTo>
                  <a:lnTo>
                    <a:pt x="25" y="26"/>
                  </a:lnTo>
                  <a:lnTo>
                    <a:pt x="23" y="24"/>
                  </a:lnTo>
                  <a:lnTo>
                    <a:pt x="21" y="24"/>
                  </a:lnTo>
                  <a:lnTo>
                    <a:pt x="21" y="24"/>
                  </a:lnTo>
                  <a:lnTo>
                    <a:pt x="19" y="28"/>
                  </a:lnTo>
                  <a:lnTo>
                    <a:pt x="15" y="30"/>
                  </a:lnTo>
                  <a:lnTo>
                    <a:pt x="15" y="30"/>
                  </a:lnTo>
                  <a:lnTo>
                    <a:pt x="11" y="30"/>
                  </a:lnTo>
                  <a:lnTo>
                    <a:pt x="8" y="30"/>
                  </a:lnTo>
                  <a:lnTo>
                    <a:pt x="8" y="30"/>
                  </a:lnTo>
                  <a:lnTo>
                    <a:pt x="4" y="34"/>
                  </a:lnTo>
                  <a:lnTo>
                    <a:pt x="0" y="36"/>
                  </a:lnTo>
                  <a:lnTo>
                    <a:pt x="0" y="3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499" name="Freeform 258"/>
            <p:cNvSpPr>
              <a:spLocks noChangeAspect="1" noEditPoints="1"/>
            </p:cNvSpPr>
            <p:nvPr/>
          </p:nvSpPr>
          <p:spPr bwMode="gray">
            <a:xfrm>
              <a:off x="6843351" y="4743445"/>
              <a:ext cx="909329" cy="940923"/>
            </a:xfrm>
            <a:custGeom>
              <a:avLst/>
              <a:gdLst/>
              <a:ahLst/>
              <a:cxnLst>
                <a:cxn ang="0">
                  <a:pos x="406" y="482"/>
                </a:cxn>
                <a:cxn ang="0">
                  <a:pos x="420" y="462"/>
                </a:cxn>
                <a:cxn ang="0">
                  <a:pos x="426" y="474"/>
                </a:cxn>
                <a:cxn ang="0">
                  <a:pos x="446" y="484"/>
                </a:cxn>
                <a:cxn ang="0">
                  <a:pos x="484" y="458"/>
                </a:cxn>
                <a:cxn ang="0">
                  <a:pos x="492" y="426"/>
                </a:cxn>
                <a:cxn ang="0">
                  <a:pos x="502" y="382"/>
                </a:cxn>
                <a:cxn ang="0">
                  <a:pos x="526" y="354"/>
                </a:cxn>
                <a:cxn ang="0">
                  <a:pos x="528" y="312"/>
                </a:cxn>
                <a:cxn ang="0">
                  <a:pos x="528" y="254"/>
                </a:cxn>
                <a:cxn ang="0">
                  <a:pos x="514" y="232"/>
                </a:cxn>
                <a:cxn ang="0">
                  <a:pos x="486" y="192"/>
                </a:cxn>
                <a:cxn ang="0">
                  <a:pos x="468" y="148"/>
                </a:cxn>
                <a:cxn ang="0">
                  <a:pos x="442" y="134"/>
                </a:cxn>
                <a:cxn ang="0">
                  <a:pos x="430" y="64"/>
                </a:cxn>
                <a:cxn ang="0">
                  <a:pos x="408" y="40"/>
                </a:cxn>
                <a:cxn ang="0">
                  <a:pos x="390" y="0"/>
                </a:cxn>
                <a:cxn ang="0">
                  <a:pos x="380" y="42"/>
                </a:cxn>
                <a:cxn ang="0">
                  <a:pos x="374" y="96"/>
                </a:cxn>
                <a:cxn ang="0">
                  <a:pos x="336" y="92"/>
                </a:cxn>
                <a:cxn ang="0">
                  <a:pos x="300" y="66"/>
                </a:cxn>
                <a:cxn ang="0">
                  <a:pos x="318" y="22"/>
                </a:cxn>
                <a:cxn ang="0">
                  <a:pos x="296" y="18"/>
                </a:cxn>
                <a:cxn ang="0">
                  <a:pos x="264" y="12"/>
                </a:cxn>
                <a:cxn ang="0">
                  <a:pos x="262" y="22"/>
                </a:cxn>
                <a:cxn ang="0">
                  <a:pos x="234" y="28"/>
                </a:cxn>
                <a:cxn ang="0">
                  <a:pos x="218" y="60"/>
                </a:cxn>
                <a:cxn ang="0">
                  <a:pos x="200" y="72"/>
                </a:cxn>
                <a:cxn ang="0">
                  <a:pos x="184" y="46"/>
                </a:cxn>
                <a:cxn ang="0">
                  <a:pos x="166" y="58"/>
                </a:cxn>
                <a:cxn ang="0">
                  <a:pos x="160" y="70"/>
                </a:cxn>
                <a:cxn ang="0">
                  <a:pos x="142" y="96"/>
                </a:cxn>
                <a:cxn ang="0">
                  <a:pos x="132" y="92"/>
                </a:cxn>
                <a:cxn ang="0">
                  <a:pos x="116" y="128"/>
                </a:cxn>
                <a:cxn ang="0">
                  <a:pos x="74" y="154"/>
                </a:cxn>
                <a:cxn ang="0">
                  <a:pos x="36" y="170"/>
                </a:cxn>
                <a:cxn ang="0">
                  <a:pos x="12" y="182"/>
                </a:cxn>
                <a:cxn ang="0">
                  <a:pos x="10" y="206"/>
                </a:cxn>
                <a:cxn ang="0">
                  <a:pos x="14" y="252"/>
                </a:cxn>
                <a:cxn ang="0">
                  <a:pos x="2" y="260"/>
                </a:cxn>
                <a:cxn ang="0">
                  <a:pos x="24" y="292"/>
                </a:cxn>
                <a:cxn ang="0">
                  <a:pos x="32" y="340"/>
                </a:cxn>
                <a:cxn ang="0">
                  <a:pos x="34" y="384"/>
                </a:cxn>
                <a:cxn ang="0">
                  <a:pos x="42" y="404"/>
                </a:cxn>
                <a:cxn ang="0">
                  <a:pos x="78" y="394"/>
                </a:cxn>
                <a:cxn ang="0">
                  <a:pos x="100" y="388"/>
                </a:cxn>
                <a:cxn ang="0">
                  <a:pos x="128" y="386"/>
                </a:cxn>
                <a:cxn ang="0">
                  <a:pos x="148" y="372"/>
                </a:cxn>
                <a:cxn ang="0">
                  <a:pos x="210" y="352"/>
                </a:cxn>
                <a:cxn ang="0">
                  <a:pos x="250" y="350"/>
                </a:cxn>
                <a:cxn ang="0">
                  <a:pos x="282" y="366"/>
                </a:cxn>
                <a:cxn ang="0">
                  <a:pos x="298" y="400"/>
                </a:cxn>
                <a:cxn ang="0">
                  <a:pos x="326" y="384"/>
                </a:cxn>
                <a:cxn ang="0">
                  <a:pos x="318" y="410"/>
                </a:cxn>
                <a:cxn ang="0">
                  <a:pos x="336" y="412"/>
                </a:cxn>
                <a:cxn ang="0">
                  <a:pos x="352" y="452"/>
                </a:cxn>
                <a:cxn ang="0">
                  <a:pos x="384" y="470"/>
                </a:cxn>
                <a:cxn ang="0">
                  <a:pos x="432" y="560"/>
                </a:cxn>
                <a:cxn ang="0">
                  <a:pos x="448" y="570"/>
                </a:cxn>
                <a:cxn ang="0">
                  <a:pos x="454" y="560"/>
                </a:cxn>
                <a:cxn ang="0">
                  <a:pos x="464" y="530"/>
                </a:cxn>
                <a:cxn ang="0">
                  <a:pos x="416" y="516"/>
                </a:cxn>
              </a:cxnLst>
              <a:rect l="0" t="0" r="r" b="b"/>
              <a:pathLst>
                <a:path w="536" h="572">
                  <a:moveTo>
                    <a:pt x="384" y="470"/>
                  </a:moveTo>
                  <a:lnTo>
                    <a:pt x="384" y="470"/>
                  </a:lnTo>
                  <a:lnTo>
                    <a:pt x="386" y="474"/>
                  </a:lnTo>
                  <a:lnTo>
                    <a:pt x="386" y="474"/>
                  </a:lnTo>
                  <a:lnTo>
                    <a:pt x="390" y="474"/>
                  </a:lnTo>
                  <a:lnTo>
                    <a:pt x="390" y="474"/>
                  </a:lnTo>
                  <a:lnTo>
                    <a:pt x="390" y="478"/>
                  </a:lnTo>
                  <a:lnTo>
                    <a:pt x="392" y="480"/>
                  </a:lnTo>
                  <a:lnTo>
                    <a:pt x="392" y="480"/>
                  </a:lnTo>
                  <a:lnTo>
                    <a:pt x="396" y="480"/>
                  </a:lnTo>
                  <a:lnTo>
                    <a:pt x="396" y="480"/>
                  </a:lnTo>
                  <a:lnTo>
                    <a:pt x="398" y="482"/>
                  </a:lnTo>
                  <a:lnTo>
                    <a:pt x="400" y="484"/>
                  </a:lnTo>
                  <a:lnTo>
                    <a:pt x="400" y="484"/>
                  </a:lnTo>
                  <a:lnTo>
                    <a:pt x="406" y="482"/>
                  </a:lnTo>
                  <a:lnTo>
                    <a:pt x="406" y="482"/>
                  </a:lnTo>
                  <a:lnTo>
                    <a:pt x="408" y="478"/>
                  </a:lnTo>
                  <a:lnTo>
                    <a:pt x="410" y="478"/>
                  </a:lnTo>
                  <a:lnTo>
                    <a:pt x="410" y="478"/>
                  </a:lnTo>
                  <a:lnTo>
                    <a:pt x="412" y="472"/>
                  </a:lnTo>
                  <a:lnTo>
                    <a:pt x="412" y="472"/>
                  </a:lnTo>
                  <a:lnTo>
                    <a:pt x="414" y="472"/>
                  </a:lnTo>
                  <a:lnTo>
                    <a:pt x="416" y="470"/>
                  </a:lnTo>
                  <a:lnTo>
                    <a:pt x="416" y="470"/>
                  </a:lnTo>
                  <a:lnTo>
                    <a:pt x="416" y="468"/>
                  </a:lnTo>
                  <a:lnTo>
                    <a:pt x="416" y="468"/>
                  </a:lnTo>
                  <a:lnTo>
                    <a:pt x="416" y="468"/>
                  </a:lnTo>
                  <a:lnTo>
                    <a:pt x="416" y="466"/>
                  </a:lnTo>
                  <a:lnTo>
                    <a:pt x="416" y="466"/>
                  </a:lnTo>
                  <a:lnTo>
                    <a:pt x="420" y="464"/>
                  </a:lnTo>
                  <a:lnTo>
                    <a:pt x="420" y="462"/>
                  </a:lnTo>
                  <a:lnTo>
                    <a:pt x="420" y="462"/>
                  </a:lnTo>
                  <a:lnTo>
                    <a:pt x="424" y="464"/>
                  </a:lnTo>
                  <a:lnTo>
                    <a:pt x="424" y="464"/>
                  </a:lnTo>
                  <a:lnTo>
                    <a:pt x="426" y="466"/>
                  </a:lnTo>
                  <a:lnTo>
                    <a:pt x="426" y="468"/>
                  </a:lnTo>
                  <a:lnTo>
                    <a:pt x="426" y="468"/>
                  </a:lnTo>
                  <a:lnTo>
                    <a:pt x="420" y="470"/>
                  </a:lnTo>
                  <a:lnTo>
                    <a:pt x="420" y="470"/>
                  </a:lnTo>
                  <a:lnTo>
                    <a:pt x="420" y="474"/>
                  </a:lnTo>
                  <a:lnTo>
                    <a:pt x="420" y="474"/>
                  </a:lnTo>
                  <a:lnTo>
                    <a:pt x="424" y="474"/>
                  </a:lnTo>
                  <a:lnTo>
                    <a:pt x="424" y="474"/>
                  </a:lnTo>
                  <a:lnTo>
                    <a:pt x="430" y="470"/>
                  </a:lnTo>
                  <a:lnTo>
                    <a:pt x="430" y="470"/>
                  </a:lnTo>
                  <a:lnTo>
                    <a:pt x="430" y="474"/>
                  </a:lnTo>
                  <a:lnTo>
                    <a:pt x="430" y="474"/>
                  </a:lnTo>
                  <a:lnTo>
                    <a:pt x="426" y="474"/>
                  </a:lnTo>
                  <a:lnTo>
                    <a:pt x="426" y="476"/>
                  </a:lnTo>
                  <a:lnTo>
                    <a:pt x="426" y="476"/>
                  </a:lnTo>
                  <a:lnTo>
                    <a:pt x="434" y="480"/>
                  </a:lnTo>
                  <a:lnTo>
                    <a:pt x="436" y="484"/>
                  </a:lnTo>
                  <a:lnTo>
                    <a:pt x="436" y="484"/>
                  </a:lnTo>
                  <a:lnTo>
                    <a:pt x="436" y="484"/>
                  </a:lnTo>
                  <a:lnTo>
                    <a:pt x="438" y="484"/>
                  </a:lnTo>
                  <a:lnTo>
                    <a:pt x="438" y="484"/>
                  </a:lnTo>
                  <a:lnTo>
                    <a:pt x="438" y="486"/>
                  </a:lnTo>
                  <a:lnTo>
                    <a:pt x="440" y="488"/>
                  </a:lnTo>
                  <a:lnTo>
                    <a:pt x="440" y="488"/>
                  </a:lnTo>
                  <a:lnTo>
                    <a:pt x="442" y="490"/>
                  </a:lnTo>
                  <a:lnTo>
                    <a:pt x="442" y="490"/>
                  </a:lnTo>
                  <a:lnTo>
                    <a:pt x="444" y="486"/>
                  </a:lnTo>
                  <a:lnTo>
                    <a:pt x="446" y="484"/>
                  </a:lnTo>
                  <a:lnTo>
                    <a:pt x="446" y="484"/>
                  </a:lnTo>
                  <a:lnTo>
                    <a:pt x="450" y="482"/>
                  </a:lnTo>
                  <a:lnTo>
                    <a:pt x="450" y="482"/>
                  </a:lnTo>
                  <a:lnTo>
                    <a:pt x="450" y="478"/>
                  </a:lnTo>
                  <a:lnTo>
                    <a:pt x="450" y="478"/>
                  </a:lnTo>
                  <a:lnTo>
                    <a:pt x="454" y="474"/>
                  </a:lnTo>
                  <a:lnTo>
                    <a:pt x="458" y="470"/>
                  </a:lnTo>
                  <a:lnTo>
                    <a:pt x="458" y="470"/>
                  </a:lnTo>
                  <a:lnTo>
                    <a:pt x="458" y="468"/>
                  </a:lnTo>
                  <a:lnTo>
                    <a:pt x="456" y="466"/>
                  </a:lnTo>
                  <a:lnTo>
                    <a:pt x="456" y="466"/>
                  </a:lnTo>
                  <a:lnTo>
                    <a:pt x="460" y="462"/>
                  </a:lnTo>
                  <a:lnTo>
                    <a:pt x="460" y="462"/>
                  </a:lnTo>
                  <a:lnTo>
                    <a:pt x="472" y="462"/>
                  </a:lnTo>
                  <a:lnTo>
                    <a:pt x="482" y="464"/>
                  </a:lnTo>
                  <a:lnTo>
                    <a:pt x="484" y="458"/>
                  </a:lnTo>
                  <a:lnTo>
                    <a:pt x="484" y="458"/>
                  </a:lnTo>
                  <a:lnTo>
                    <a:pt x="488" y="458"/>
                  </a:lnTo>
                  <a:lnTo>
                    <a:pt x="488" y="458"/>
                  </a:lnTo>
                  <a:lnTo>
                    <a:pt x="488" y="456"/>
                  </a:lnTo>
                  <a:lnTo>
                    <a:pt x="486" y="454"/>
                  </a:lnTo>
                  <a:lnTo>
                    <a:pt x="486" y="454"/>
                  </a:lnTo>
                  <a:lnTo>
                    <a:pt x="488" y="452"/>
                  </a:lnTo>
                  <a:lnTo>
                    <a:pt x="490" y="450"/>
                  </a:lnTo>
                  <a:lnTo>
                    <a:pt x="490" y="450"/>
                  </a:lnTo>
                  <a:lnTo>
                    <a:pt x="486" y="450"/>
                  </a:lnTo>
                  <a:lnTo>
                    <a:pt x="486" y="450"/>
                  </a:lnTo>
                  <a:lnTo>
                    <a:pt x="484" y="446"/>
                  </a:lnTo>
                  <a:lnTo>
                    <a:pt x="484" y="446"/>
                  </a:lnTo>
                  <a:lnTo>
                    <a:pt x="488" y="438"/>
                  </a:lnTo>
                  <a:lnTo>
                    <a:pt x="492" y="430"/>
                  </a:lnTo>
                  <a:lnTo>
                    <a:pt x="492" y="430"/>
                  </a:lnTo>
                  <a:lnTo>
                    <a:pt x="492" y="426"/>
                  </a:lnTo>
                  <a:lnTo>
                    <a:pt x="492" y="418"/>
                  </a:lnTo>
                  <a:lnTo>
                    <a:pt x="492" y="418"/>
                  </a:lnTo>
                  <a:lnTo>
                    <a:pt x="492" y="418"/>
                  </a:lnTo>
                  <a:lnTo>
                    <a:pt x="496" y="412"/>
                  </a:lnTo>
                  <a:lnTo>
                    <a:pt x="498" y="412"/>
                  </a:lnTo>
                  <a:lnTo>
                    <a:pt x="498" y="412"/>
                  </a:lnTo>
                  <a:lnTo>
                    <a:pt x="498" y="408"/>
                  </a:lnTo>
                  <a:lnTo>
                    <a:pt x="498" y="406"/>
                  </a:lnTo>
                  <a:lnTo>
                    <a:pt x="500" y="404"/>
                  </a:lnTo>
                  <a:lnTo>
                    <a:pt x="500" y="404"/>
                  </a:lnTo>
                  <a:lnTo>
                    <a:pt x="500" y="400"/>
                  </a:lnTo>
                  <a:lnTo>
                    <a:pt x="502" y="398"/>
                  </a:lnTo>
                  <a:lnTo>
                    <a:pt x="502" y="398"/>
                  </a:lnTo>
                  <a:lnTo>
                    <a:pt x="504" y="390"/>
                  </a:lnTo>
                  <a:lnTo>
                    <a:pt x="502" y="382"/>
                  </a:lnTo>
                  <a:lnTo>
                    <a:pt x="502" y="382"/>
                  </a:lnTo>
                  <a:lnTo>
                    <a:pt x="508" y="380"/>
                  </a:lnTo>
                  <a:lnTo>
                    <a:pt x="508" y="380"/>
                  </a:lnTo>
                  <a:lnTo>
                    <a:pt x="508" y="376"/>
                  </a:lnTo>
                  <a:lnTo>
                    <a:pt x="508" y="376"/>
                  </a:lnTo>
                  <a:lnTo>
                    <a:pt x="510" y="374"/>
                  </a:lnTo>
                  <a:lnTo>
                    <a:pt x="514" y="372"/>
                  </a:lnTo>
                  <a:lnTo>
                    <a:pt x="514" y="372"/>
                  </a:lnTo>
                  <a:lnTo>
                    <a:pt x="516" y="368"/>
                  </a:lnTo>
                  <a:lnTo>
                    <a:pt x="516" y="368"/>
                  </a:lnTo>
                  <a:lnTo>
                    <a:pt x="516" y="368"/>
                  </a:lnTo>
                  <a:lnTo>
                    <a:pt x="522" y="366"/>
                  </a:lnTo>
                  <a:lnTo>
                    <a:pt x="522" y="366"/>
                  </a:lnTo>
                  <a:lnTo>
                    <a:pt x="522" y="358"/>
                  </a:lnTo>
                  <a:lnTo>
                    <a:pt x="522" y="358"/>
                  </a:lnTo>
                  <a:lnTo>
                    <a:pt x="524" y="354"/>
                  </a:lnTo>
                  <a:lnTo>
                    <a:pt x="526" y="354"/>
                  </a:lnTo>
                  <a:lnTo>
                    <a:pt x="526" y="354"/>
                  </a:lnTo>
                  <a:lnTo>
                    <a:pt x="526" y="350"/>
                  </a:lnTo>
                  <a:lnTo>
                    <a:pt x="526" y="350"/>
                  </a:lnTo>
                  <a:lnTo>
                    <a:pt x="530" y="342"/>
                  </a:lnTo>
                  <a:lnTo>
                    <a:pt x="530" y="342"/>
                  </a:lnTo>
                  <a:lnTo>
                    <a:pt x="530" y="338"/>
                  </a:lnTo>
                  <a:lnTo>
                    <a:pt x="528" y="334"/>
                  </a:lnTo>
                  <a:lnTo>
                    <a:pt x="528" y="334"/>
                  </a:lnTo>
                  <a:lnTo>
                    <a:pt x="530" y="332"/>
                  </a:lnTo>
                  <a:lnTo>
                    <a:pt x="530" y="332"/>
                  </a:lnTo>
                  <a:lnTo>
                    <a:pt x="530" y="324"/>
                  </a:lnTo>
                  <a:lnTo>
                    <a:pt x="532" y="314"/>
                  </a:lnTo>
                  <a:lnTo>
                    <a:pt x="532" y="314"/>
                  </a:lnTo>
                  <a:lnTo>
                    <a:pt x="530" y="314"/>
                  </a:lnTo>
                  <a:lnTo>
                    <a:pt x="528" y="312"/>
                  </a:lnTo>
                  <a:lnTo>
                    <a:pt x="528" y="312"/>
                  </a:lnTo>
                  <a:lnTo>
                    <a:pt x="534" y="308"/>
                  </a:lnTo>
                  <a:lnTo>
                    <a:pt x="534" y="308"/>
                  </a:lnTo>
                  <a:lnTo>
                    <a:pt x="530" y="304"/>
                  </a:lnTo>
                  <a:lnTo>
                    <a:pt x="530" y="304"/>
                  </a:lnTo>
                  <a:lnTo>
                    <a:pt x="534" y="300"/>
                  </a:lnTo>
                  <a:lnTo>
                    <a:pt x="536" y="296"/>
                  </a:lnTo>
                  <a:lnTo>
                    <a:pt x="536" y="292"/>
                  </a:lnTo>
                  <a:lnTo>
                    <a:pt x="536" y="292"/>
                  </a:lnTo>
                  <a:lnTo>
                    <a:pt x="532" y="288"/>
                  </a:lnTo>
                  <a:lnTo>
                    <a:pt x="530" y="286"/>
                  </a:lnTo>
                  <a:lnTo>
                    <a:pt x="530" y="286"/>
                  </a:lnTo>
                  <a:lnTo>
                    <a:pt x="526" y="276"/>
                  </a:lnTo>
                  <a:lnTo>
                    <a:pt x="526" y="276"/>
                  </a:lnTo>
                  <a:lnTo>
                    <a:pt x="526" y="266"/>
                  </a:lnTo>
                  <a:lnTo>
                    <a:pt x="528" y="258"/>
                  </a:lnTo>
                  <a:lnTo>
                    <a:pt x="528" y="254"/>
                  </a:lnTo>
                  <a:lnTo>
                    <a:pt x="528" y="254"/>
                  </a:lnTo>
                  <a:lnTo>
                    <a:pt x="528" y="254"/>
                  </a:lnTo>
                  <a:lnTo>
                    <a:pt x="528" y="252"/>
                  </a:lnTo>
                  <a:lnTo>
                    <a:pt x="528" y="248"/>
                  </a:lnTo>
                  <a:lnTo>
                    <a:pt x="526" y="246"/>
                  </a:lnTo>
                  <a:lnTo>
                    <a:pt x="526" y="246"/>
                  </a:lnTo>
                  <a:lnTo>
                    <a:pt x="526" y="242"/>
                  </a:lnTo>
                  <a:lnTo>
                    <a:pt x="526" y="242"/>
                  </a:lnTo>
                  <a:lnTo>
                    <a:pt x="524" y="242"/>
                  </a:lnTo>
                  <a:lnTo>
                    <a:pt x="522" y="240"/>
                  </a:lnTo>
                  <a:lnTo>
                    <a:pt x="522" y="240"/>
                  </a:lnTo>
                  <a:lnTo>
                    <a:pt x="522" y="238"/>
                  </a:lnTo>
                  <a:lnTo>
                    <a:pt x="520" y="234"/>
                  </a:lnTo>
                  <a:lnTo>
                    <a:pt x="520" y="234"/>
                  </a:lnTo>
                  <a:lnTo>
                    <a:pt x="514" y="232"/>
                  </a:lnTo>
                  <a:lnTo>
                    <a:pt x="514" y="232"/>
                  </a:lnTo>
                  <a:lnTo>
                    <a:pt x="514" y="226"/>
                  </a:lnTo>
                  <a:lnTo>
                    <a:pt x="514" y="226"/>
                  </a:lnTo>
                  <a:lnTo>
                    <a:pt x="510" y="220"/>
                  </a:lnTo>
                  <a:lnTo>
                    <a:pt x="510" y="220"/>
                  </a:lnTo>
                  <a:lnTo>
                    <a:pt x="504" y="218"/>
                  </a:lnTo>
                  <a:lnTo>
                    <a:pt x="502" y="214"/>
                  </a:lnTo>
                  <a:lnTo>
                    <a:pt x="502" y="214"/>
                  </a:lnTo>
                  <a:lnTo>
                    <a:pt x="500" y="210"/>
                  </a:lnTo>
                  <a:lnTo>
                    <a:pt x="500" y="204"/>
                  </a:lnTo>
                  <a:lnTo>
                    <a:pt x="500" y="200"/>
                  </a:lnTo>
                  <a:lnTo>
                    <a:pt x="500" y="196"/>
                  </a:lnTo>
                  <a:lnTo>
                    <a:pt x="498" y="196"/>
                  </a:lnTo>
                  <a:lnTo>
                    <a:pt x="492" y="190"/>
                  </a:lnTo>
                  <a:lnTo>
                    <a:pt x="492" y="190"/>
                  </a:lnTo>
                  <a:lnTo>
                    <a:pt x="490" y="192"/>
                  </a:lnTo>
                  <a:lnTo>
                    <a:pt x="486" y="192"/>
                  </a:lnTo>
                  <a:lnTo>
                    <a:pt x="484" y="190"/>
                  </a:lnTo>
                  <a:lnTo>
                    <a:pt x="484" y="190"/>
                  </a:lnTo>
                  <a:lnTo>
                    <a:pt x="484" y="186"/>
                  </a:lnTo>
                  <a:lnTo>
                    <a:pt x="484" y="182"/>
                  </a:lnTo>
                  <a:lnTo>
                    <a:pt x="486" y="180"/>
                  </a:lnTo>
                  <a:lnTo>
                    <a:pt x="486" y="176"/>
                  </a:lnTo>
                  <a:lnTo>
                    <a:pt x="484" y="174"/>
                  </a:lnTo>
                  <a:lnTo>
                    <a:pt x="484" y="174"/>
                  </a:lnTo>
                  <a:lnTo>
                    <a:pt x="482" y="168"/>
                  </a:lnTo>
                  <a:lnTo>
                    <a:pt x="482" y="168"/>
                  </a:lnTo>
                  <a:lnTo>
                    <a:pt x="480" y="166"/>
                  </a:lnTo>
                  <a:lnTo>
                    <a:pt x="476" y="164"/>
                  </a:lnTo>
                  <a:lnTo>
                    <a:pt x="474" y="162"/>
                  </a:lnTo>
                  <a:lnTo>
                    <a:pt x="476" y="154"/>
                  </a:lnTo>
                  <a:lnTo>
                    <a:pt x="476" y="154"/>
                  </a:lnTo>
                  <a:lnTo>
                    <a:pt x="468" y="148"/>
                  </a:lnTo>
                  <a:lnTo>
                    <a:pt x="468" y="148"/>
                  </a:lnTo>
                  <a:lnTo>
                    <a:pt x="468" y="144"/>
                  </a:lnTo>
                  <a:lnTo>
                    <a:pt x="460" y="142"/>
                  </a:lnTo>
                  <a:lnTo>
                    <a:pt x="460" y="142"/>
                  </a:lnTo>
                  <a:lnTo>
                    <a:pt x="460" y="142"/>
                  </a:lnTo>
                  <a:lnTo>
                    <a:pt x="458" y="144"/>
                  </a:lnTo>
                  <a:lnTo>
                    <a:pt x="458" y="144"/>
                  </a:lnTo>
                  <a:lnTo>
                    <a:pt x="456" y="142"/>
                  </a:lnTo>
                  <a:lnTo>
                    <a:pt x="456" y="142"/>
                  </a:lnTo>
                  <a:lnTo>
                    <a:pt x="456" y="138"/>
                  </a:lnTo>
                  <a:lnTo>
                    <a:pt x="456" y="138"/>
                  </a:lnTo>
                  <a:lnTo>
                    <a:pt x="450" y="138"/>
                  </a:lnTo>
                  <a:lnTo>
                    <a:pt x="450" y="138"/>
                  </a:lnTo>
                  <a:lnTo>
                    <a:pt x="444" y="134"/>
                  </a:lnTo>
                  <a:lnTo>
                    <a:pt x="442" y="134"/>
                  </a:lnTo>
                  <a:lnTo>
                    <a:pt x="442" y="134"/>
                  </a:lnTo>
                  <a:lnTo>
                    <a:pt x="442" y="128"/>
                  </a:lnTo>
                  <a:lnTo>
                    <a:pt x="442" y="126"/>
                  </a:lnTo>
                  <a:lnTo>
                    <a:pt x="442" y="126"/>
                  </a:lnTo>
                  <a:lnTo>
                    <a:pt x="442" y="116"/>
                  </a:lnTo>
                  <a:lnTo>
                    <a:pt x="440" y="104"/>
                  </a:lnTo>
                  <a:lnTo>
                    <a:pt x="440" y="104"/>
                  </a:lnTo>
                  <a:lnTo>
                    <a:pt x="438" y="100"/>
                  </a:lnTo>
                  <a:lnTo>
                    <a:pt x="438" y="100"/>
                  </a:lnTo>
                  <a:lnTo>
                    <a:pt x="438" y="96"/>
                  </a:lnTo>
                  <a:lnTo>
                    <a:pt x="438" y="96"/>
                  </a:lnTo>
                  <a:lnTo>
                    <a:pt x="434" y="90"/>
                  </a:lnTo>
                  <a:lnTo>
                    <a:pt x="430" y="86"/>
                  </a:lnTo>
                  <a:lnTo>
                    <a:pt x="430" y="86"/>
                  </a:lnTo>
                  <a:lnTo>
                    <a:pt x="430" y="76"/>
                  </a:lnTo>
                  <a:lnTo>
                    <a:pt x="430" y="64"/>
                  </a:lnTo>
                  <a:lnTo>
                    <a:pt x="430" y="64"/>
                  </a:lnTo>
                  <a:lnTo>
                    <a:pt x="430" y="64"/>
                  </a:lnTo>
                  <a:lnTo>
                    <a:pt x="430" y="62"/>
                  </a:lnTo>
                  <a:lnTo>
                    <a:pt x="430" y="62"/>
                  </a:lnTo>
                  <a:lnTo>
                    <a:pt x="428" y="62"/>
                  </a:lnTo>
                  <a:lnTo>
                    <a:pt x="426" y="64"/>
                  </a:lnTo>
                  <a:lnTo>
                    <a:pt x="426" y="64"/>
                  </a:lnTo>
                  <a:lnTo>
                    <a:pt x="418" y="52"/>
                  </a:lnTo>
                  <a:lnTo>
                    <a:pt x="418" y="52"/>
                  </a:lnTo>
                  <a:lnTo>
                    <a:pt x="410" y="60"/>
                  </a:lnTo>
                  <a:lnTo>
                    <a:pt x="410" y="60"/>
                  </a:lnTo>
                  <a:lnTo>
                    <a:pt x="406" y="56"/>
                  </a:lnTo>
                  <a:lnTo>
                    <a:pt x="406" y="56"/>
                  </a:lnTo>
                  <a:lnTo>
                    <a:pt x="406" y="48"/>
                  </a:lnTo>
                  <a:lnTo>
                    <a:pt x="408" y="42"/>
                  </a:lnTo>
                  <a:lnTo>
                    <a:pt x="408" y="40"/>
                  </a:lnTo>
                  <a:lnTo>
                    <a:pt x="408" y="40"/>
                  </a:lnTo>
                  <a:lnTo>
                    <a:pt x="408" y="38"/>
                  </a:lnTo>
                  <a:lnTo>
                    <a:pt x="406" y="34"/>
                  </a:lnTo>
                  <a:lnTo>
                    <a:pt x="406" y="28"/>
                  </a:lnTo>
                  <a:lnTo>
                    <a:pt x="406" y="28"/>
                  </a:lnTo>
                  <a:lnTo>
                    <a:pt x="402" y="26"/>
                  </a:lnTo>
                  <a:lnTo>
                    <a:pt x="400" y="24"/>
                  </a:lnTo>
                  <a:lnTo>
                    <a:pt x="400" y="24"/>
                  </a:lnTo>
                  <a:lnTo>
                    <a:pt x="400" y="18"/>
                  </a:lnTo>
                  <a:lnTo>
                    <a:pt x="400" y="18"/>
                  </a:lnTo>
                  <a:lnTo>
                    <a:pt x="396" y="16"/>
                  </a:lnTo>
                  <a:lnTo>
                    <a:pt x="396" y="16"/>
                  </a:lnTo>
                  <a:lnTo>
                    <a:pt x="396" y="10"/>
                  </a:lnTo>
                  <a:lnTo>
                    <a:pt x="396" y="10"/>
                  </a:lnTo>
                  <a:lnTo>
                    <a:pt x="392" y="6"/>
                  </a:lnTo>
                  <a:lnTo>
                    <a:pt x="392" y="6"/>
                  </a:lnTo>
                  <a:lnTo>
                    <a:pt x="390" y="0"/>
                  </a:lnTo>
                  <a:lnTo>
                    <a:pt x="388" y="0"/>
                  </a:lnTo>
                  <a:lnTo>
                    <a:pt x="388" y="0"/>
                  </a:lnTo>
                  <a:lnTo>
                    <a:pt x="386" y="0"/>
                  </a:lnTo>
                  <a:lnTo>
                    <a:pt x="384" y="0"/>
                  </a:lnTo>
                  <a:lnTo>
                    <a:pt x="384" y="0"/>
                  </a:lnTo>
                  <a:lnTo>
                    <a:pt x="384" y="8"/>
                  </a:lnTo>
                  <a:lnTo>
                    <a:pt x="384" y="16"/>
                  </a:lnTo>
                  <a:lnTo>
                    <a:pt x="384" y="16"/>
                  </a:lnTo>
                  <a:lnTo>
                    <a:pt x="382" y="18"/>
                  </a:lnTo>
                  <a:lnTo>
                    <a:pt x="380" y="22"/>
                  </a:lnTo>
                  <a:lnTo>
                    <a:pt x="380" y="22"/>
                  </a:lnTo>
                  <a:lnTo>
                    <a:pt x="380" y="24"/>
                  </a:lnTo>
                  <a:lnTo>
                    <a:pt x="382" y="24"/>
                  </a:lnTo>
                  <a:lnTo>
                    <a:pt x="382" y="40"/>
                  </a:lnTo>
                  <a:lnTo>
                    <a:pt x="382" y="40"/>
                  </a:lnTo>
                  <a:lnTo>
                    <a:pt x="380" y="42"/>
                  </a:lnTo>
                  <a:lnTo>
                    <a:pt x="378" y="48"/>
                  </a:lnTo>
                  <a:lnTo>
                    <a:pt x="378" y="48"/>
                  </a:lnTo>
                  <a:lnTo>
                    <a:pt x="380" y="66"/>
                  </a:lnTo>
                  <a:lnTo>
                    <a:pt x="380" y="66"/>
                  </a:lnTo>
                  <a:lnTo>
                    <a:pt x="382" y="70"/>
                  </a:lnTo>
                  <a:lnTo>
                    <a:pt x="382" y="70"/>
                  </a:lnTo>
                  <a:lnTo>
                    <a:pt x="378" y="72"/>
                  </a:lnTo>
                  <a:lnTo>
                    <a:pt x="378" y="72"/>
                  </a:lnTo>
                  <a:lnTo>
                    <a:pt x="378" y="78"/>
                  </a:lnTo>
                  <a:lnTo>
                    <a:pt x="378" y="82"/>
                  </a:lnTo>
                  <a:lnTo>
                    <a:pt x="378" y="82"/>
                  </a:lnTo>
                  <a:lnTo>
                    <a:pt x="376" y="86"/>
                  </a:lnTo>
                  <a:lnTo>
                    <a:pt x="374" y="90"/>
                  </a:lnTo>
                  <a:lnTo>
                    <a:pt x="374" y="90"/>
                  </a:lnTo>
                  <a:lnTo>
                    <a:pt x="374" y="92"/>
                  </a:lnTo>
                  <a:lnTo>
                    <a:pt x="374" y="96"/>
                  </a:lnTo>
                  <a:lnTo>
                    <a:pt x="370" y="102"/>
                  </a:lnTo>
                  <a:lnTo>
                    <a:pt x="370" y="102"/>
                  </a:lnTo>
                  <a:lnTo>
                    <a:pt x="370" y="110"/>
                  </a:lnTo>
                  <a:lnTo>
                    <a:pt x="370" y="110"/>
                  </a:lnTo>
                  <a:lnTo>
                    <a:pt x="364" y="112"/>
                  </a:lnTo>
                  <a:lnTo>
                    <a:pt x="358" y="112"/>
                  </a:lnTo>
                  <a:lnTo>
                    <a:pt x="354" y="112"/>
                  </a:lnTo>
                  <a:lnTo>
                    <a:pt x="354" y="110"/>
                  </a:lnTo>
                  <a:lnTo>
                    <a:pt x="354" y="110"/>
                  </a:lnTo>
                  <a:lnTo>
                    <a:pt x="354" y="110"/>
                  </a:lnTo>
                  <a:lnTo>
                    <a:pt x="348" y="100"/>
                  </a:lnTo>
                  <a:lnTo>
                    <a:pt x="348" y="100"/>
                  </a:lnTo>
                  <a:lnTo>
                    <a:pt x="346" y="98"/>
                  </a:lnTo>
                  <a:lnTo>
                    <a:pt x="342" y="98"/>
                  </a:lnTo>
                  <a:lnTo>
                    <a:pt x="342" y="98"/>
                  </a:lnTo>
                  <a:lnTo>
                    <a:pt x="336" y="92"/>
                  </a:lnTo>
                  <a:lnTo>
                    <a:pt x="332" y="86"/>
                  </a:lnTo>
                  <a:lnTo>
                    <a:pt x="332" y="86"/>
                  </a:lnTo>
                  <a:lnTo>
                    <a:pt x="328" y="84"/>
                  </a:lnTo>
                  <a:lnTo>
                    <a:pt x="324" y="84"/>
                  </a:lnTo>
                  <a:lnTo>
                    <a:pt x="324" y="84"/>
                  </a:lnTo>
                  <a:lnTo>
                    <a:pt x="322" y="82"/>
                  </a:lnTo>
                  <a:lnTo>
                    <a:pt x="318" y="78"/>
                  </a:lnTo>
                  <a:lnTo>
                    <a:pt x="318" y="78"/>
                  </a:lnTo>
                  <a:lnTo>
                    <a:pt x="314" y="78"/>
                  </a:lnTo>
                  <a:lnTo>
                    <a:pt x="314" y="78"/>
                  </a:lnTo>
                  <a:lnTo>
                    <a:pt x="310" y="72"/>
                  </a:lnTo>
                  <a:lnTo>
                    <a:pt x="310" y="72"/>
                  </a:lnTo>
                  <a:lnTo>
                    <a:pt x="306" y="72"/>
                  </a:lnTo>
                  <a:lnTo>
                    <a:pt x="306" y="72"/>
                  </a:lnTo>
                  <a:lnTo>
                    <a:pt x="300" y="66"/>
                  </a:lnTo>
                  <a:lnTo>
                    <a:pt x="300" y="66"/>
                  </a:lnTo>
                  <a:lnTo>
                    <a:pt x="300" y="60"/>
                  </a:lnTo>
                  <a:lnTo>
                    <a:pt x="302" y="52"/>
                  </a:lnTo>
                  <a:lnTo>
                    <a:pt x="302" y="52"/>
                  </a:lnTo>
                  <a:lnTo>
                    <a:pt x="304" y="50"/>
                  </a:lnTo>
                  <a:lnTo>
                    <a:pt x="304" y="50"/>
                  </a:lnTo>
                  <a:lnTo>
                    <a:pt x="304" y="44"/>
                  </a:lnTo>
                  <a:lnTo>
                    <a:pt x="304" y="38"/>
                  </a:lnTo>
                  <a:lnTo>
                    <a:pt x="304" y="38"/>
                  </a:lnTo>
                  <a:lnTo>
                    <a:pt x="310" y="40"/>
                  </a:lnTo>
                  <a:lnTo>
                    <a:pt x="312" y="38"/>
                  </a:lnTo>
                  <a:lnTo>
                    <a:pt x="312" y="36"/>
                  </a:lnTo>
                  <a:lnTo>
                    <a:pt x="310" y="30"/>
                  </a:lnTo>
                  <a:lnTo>
                    <a:pt x="310" y="30"/>
                  </a:lnTo>
                  <a:lnTo>
                    <a:pt x="318" y="26"/>
                  </a:lnTo>
                  <a:lnTo>
                    <a:pt x="318" y="26"/>
                  </a:lnTo>
                  <a:lnTo>
                    <a:pt x="318" y="22"/>
                  </a:lnTo>
                  <a:lnTo>
                    <a:pt x="318" y="22"/>
                  </a:lnTo>
                  <a:lnTo>
                    <a:pt x="316" y="22"/>
                  </a:lnTo>
                  <a:lnTo>
                    <a:pt x="316" y="22"/>
                  </a:lnTo>
                  <a:lnTo>
                    <a:pt x="316" y="20"/>
                  </a:lnTo>
                  <a:lnTo>
                    <a:pt x="314" y="20"/>
                  </a:lnTo>
                  <a:lnTo>
                    <a:pt x="314" y="20"/>
                  </a:lnTo>
                  <a:lnTo>
                    <a:pt x="316" y="16"/>
                  </a:lnTo>
                  <a:lnTo>
                    <a:pt x="316" y="16"/>
                  </a:lnTo>
                  <a:lnTo>
                    <a:pt x="308" y="20"/>
                  </a:lnTo>
                  <a:lnTo>
                    <a:pt x="308" y="20"/>
                  </a:lnTo>
                  <a:lnTo>
                    <a:pt x="308" y="22"/>
                  </a:lnTo>
                  <a:lnTo>
                    <a:pt x="308" y="22"/>
                  </a:lnTo>
                  <a:lnTo>
                    <a:pt x="302" y="16"/>
                  </a:lnTo>
                  <a:lnTo>
                    <a:pt x="302" y="16"/>
                  </a:lnTo>
                  <a:lnTo>
                    <a:pt x="298" y="16"/>
                  </a:lnTo>
                  <a:lnTo>
                    <a:pt x="296" y="18"/>
                  </a:lnTo>
                  <a:lnTo>
                    <a:pt x="296" y="18"/>
                  </a:lnTo>
                  <a:lnTo>
                    <a:pt x="292" y="18"/>
                  </a:lnTo>
                  <a:lnTo>
                    <a:pt x="290" y="16"/>
                  </a:lnTo>
                  <a:lnTo>
                    <a:pt x="290" y="16"/>
                  </a:lnTo>
                  <a:lnTo>
                    <a:pt x="286" y="16"/>
                  </a:lnTo>
                  <a:lnTo>
                    <a:pt x="282" y="18"/>
                  </a:lnTo>
                  <a:lnTo>
                    <a:pt x="280" y="14"/>
                  </a:lnTo>
                  <a:lnTo>
                    <a:pt x="280" y="14"/>
                  </a:lnTo>
                  <a:lnTo>
                    <a:pt x="278" y="14"/>
                  </a:lnTo>
                  <a:lnTo>
                    <a:pt x="274" y="16"/>
                  </a:lnTo>
                  <a:lnTo>
                    <a:pt x="274" y="16"/>
                  </a:lnTo>
                  <a:lnTo>
                    <a:pt x="272" y="12"/>
                  </a:lnTo>
                  <a:lnTo>
                    <a:pt x="272" y="10"/>
                  </a:lnTo>
                  <a:lnTo>
                    <a:pt x="272" y="10"/>
                  </a:lnTo>
                  <a:lnTo>
                    <a:pt x="264" y="12"/>
                  </a:lnTo>
                  <a:lnTo>
                    <a:pt x="264" y="12"/>
                  </a:lnTo>
                  <a:lnTo>
                    <a:pt x="260" y="8"/>
                  </a:lnTo>
                  <a:lnTo>
                    <a:pt x="258" y="6"/>
                  </a:lnTo>
                  <a:lnTo>
                    <a:pt x="256" y="6"/>
                  </a:lnTo>
                  <a:lnTo>
                    <a:pt x="250" y="4"/>
                  </a:lnTo>
                  <a:lnTo>
                    <a:pt x="250" y="4"/>
                  </a:lnTo>
                  <a:lnTo>
                    <a:pt x="250" y="6"/>
                  </a:lnTo>
                  <a:lnTo>
                    <a:pt x="250" y="6"/>
                  </a:lnTo>
                  <a:lnTo>
                    <a:pt x="254" y="12"/>
                  </a:lnTo>
                  <a:lnTo>
                    <a:pt x="254" y="12"/>
                  </a:lnTo>
                  <a:lnTo>
                    <a:pt x="260" y="12"/>
                  </a:lnTo>
                  <a:lnTo>
                    <a:pt x="260" y="12"/>
                  </a:lnTo>
                  <a:lnTo>
                    <a:pt x="262" y="14"/>
                  </a:lnTo>
                  <a:lnTo>
                    <a:pt x="262" y="16"/>
                  </a:lnTo>
                  <a:lnTo>
                    <a:pt x="264" y="22"/>
                  </a:lnTo>
                  <a:lnTo>
                    <a:pt x="262" y="22"/>
                  </a:lnTo>
                  <a:lnTo>
                    <a:pt x="262" y="22"/>
                  </a:lnTo>
                  <a:lnTo>
                    <a:pt x="260" y="26"/>
                  </a:lnTo>
                  <a:lnTo>
                    <a:pt x="260" y="26"/>
                  </a:lnTo>
                  <a:lnTo>
                    <a:pt x="254" y="22"/>
                  </a:lnTo>
                  <a:lnTo>
                    <a:pt x="250" y="20"/>
                  </a:lnTo>
                  <a:lnTo>
                    <a:pt x="246" y="22"/>
                  </a:lnTo>
                  <a:lnTo>
                    <a:pt x="246" y="22"/>
                  </a:lnTo>
                  <a:lnTo>
                    <a:pt x="244" y="24"/>
                  </a:lnTo>
                  <a:lnTo>
                    <a:pt x="244" y="24"/>
                  </a:lnTo>
                  <a:lnTo>
                    <a:pt x="244" y="20"/>
                  </a:lnTo>
                  <a:lnTo>
                    <a:pt x="242" y="20"/>
                  </a:lnTo>
                  <a:lnTo>
                    <a:pt x="242" y="20"/>
                  </a:lnTo>
                  <a:lnTo>
                    <a:pt x="238" y="24"/>
                  </a:lnTo>
                  <a:lnTo>
                    <a:pt x="232" y="22"/>
                  </a:lnTo>
                  <a:lnTo>
                    <a:pt x="232" y="22"/>
                  </a:lnTo>
                  <a:lnTo>
                    <a:pt x="234" y="28"/>
                  </a:lnTo>
                  <a:lnTo>
                    <a:pt x="234" y="28"/>
                  </a:lnTo>
                  <a:lnTo>
                    <a:pt x="228" y="30"/>
                  </a:lnTo>
                  <a:lnTo>
                    <a:pt x="228" y="30"/>
                  </a:lnTo>
                  <a:lnTo>
                    <a:pt x="228" y="32"/>
                  </a:lnTo>
                  <a:lnTo>
                    <a:pt x="228" y="32"/>
                  </a:lnTo>
                  <a:lnTo>
                    <a:pt x="228" y="32"/>
                  </a:lnTo>
                  <a:lnTo>
                    <a:pt x="228" y="32"/>
                  </a:lnTo>
                  <a:lnTo>
                    <a:pt x="232" y="40"/>
                  </a:lnTo>
                  <a:lnTo>
                    <a:pt x="232" y="40"/>
                  </a:lnTo>
                  <a:lnTo>
                    <a:pt x="228" y="40"/>
                  </a:lnTo>
                  <a:lnTo>
                    <a:pt x="224" y="42"/>
                  </a:lnTo>
                  <a:lnTo>
                    <a:pt x="224" y="50"/>
                  </a:lnTo>
                  <a:lnTo>
                    <a:pt x="224" y="50"/>
                  </a:lnTo>
                  <a:lnTo>
                    <a:pt x="218" y="50"/>
                  </a:lnTo>
                  <a:lnTo>
                    <a:pt x="218" y="50"/>
                  </a:lnTo>
                  <a:lnTo>
                    <a:pt x="218" y="56"/>
                  </a:lnTo>
                  <a:lnTo>
                    <a:pt x="218" y="60"/>
                  </a:lnTo>
                  <a:lnTo>
                    <a:pt x="220" y="62"/>
                  </a:lnTo>
                  <a:lnTo>
                    <a:pt x="220" y="62"/>
                  </a:lnTo>
                  <a:lnTo>
                    <a:pt x="222" y="62"/>
                  </a:lnTo>
                  <a:lnTo>
                    <a:pt x="224" y="64"/>
                  </a:lnTo>
                  <a:lnTo>
                    <a:pt x="224" y="64"/>
                  </a:lnTo>
                  <a:lnTo>
                    <a:pt x="224" y="68"/>
                  </a:lnTo>
                  <a:lnTo>
                    <a:pt x="224" y="68"/>
                  </a:lnTo>
                  <a:lnTo>
                    <a:pt x="214" y="66"/>
                  </a:lnTo>
                  <a:lnTo>
                    <a:pt x="214" y="64"/>
                  </a:lnTo>
                  <a:lnTo>
                    <a:pt x="214" y="64"/>
                  </a:lnTo>
                  <a:lnTo>
                    <a:pt x="208" y="62"/>
                  </a:lnTo>
                  <a:lnTo>
                    <a:pt x="204" y="62"/>
                  </a:lnTo>
                  <a:lnTo>
                    <a:pt x="204" y="64"/>
                  </a:lnTo>
                  <a:lnTo>
                    <a:pt x="202" y="72"/>
                  </a:lnTo>
                  <a:lnTo>
                    <a:pt x="202" y="72"/>
                  </a:lnTo>
                  <a:lnTo>
                    <a:pt x="200" y="72"/>
                  </a:lnTo>
                  <a:lnTo>
                    <a:pt x="200" y="72"/>
                  </a:lnTo>
                  <a:lnTo>
                    <a:pt x="200" y="72"/>
                  </a:lnTo>
                  <a:lnTo>
                    <a:pt x="198" y="72"/>
                  </a:lnTo>
                  <a:lnTo>
                    <a:pt x="198" y="70"/>
                  </a:lnTo>
                  <a:lnTo>
                    <a:pt x="200" y="66"/>
                  </a:lnTo>
                  <a:lnTo>
                    <a:pt x="200" y="66"/>
                  </a:lnTo>
                  <a:lnTo>
                    <a:pt x="200" y="58"/>
                  </a:lnTo>
                  <a:lnTo>
                    <a:pt x="198" y="58"/>
                  </a:lnTo>
                  <a:lnTo>
                    <a:pt x="198" y="58"/>
                  </a:lnTo>
                  <a:lnTo>
                    <a:pt x="196" y="54"/>
                  </a:lnTo>
                  <a:lnTo>
                    <a:pt x="194" y="54"/>
                  </a:lnTo>
                  <a:lnTo>
                    <a:pt x="194" y="54"/>
                  </a:lnTo>
                  <a:lnTo>
                    <a:pt x="194" y="48"/>
                  </a:lnTo>
                  <a:lnTo>
                    <a:pt x="194" y="48"/>
                  </a:lnTo>
                  <a:lnTo>
                    <a:pt x="190" y="46"/>
                  </a:lnTo>
                  <a:lnTo>
                    <a:pt x="184" y="46"/>
                  </a:lnTo>
                  <a:lnTo>
                    <a:pt x="180" y="48"/>
                  </a:lnTo>
                  <a:lnTo>
                    <a:pt x="176" y="50"/>
                  </a:lnTo>
                  <a:lnTo>
                    <a:pt x="176" y="50"/>
                  </a:lnTo>
                  <a:lnTo>
                    <a:pt x="176" y="48"/>
                  </a:lnTo>
                  <a:lnTo>
                    <a:pt x="176" y="46"/>
                  </a:lnTo>
                  <a:lnTo>
                    <a:pt x="176" y="46"/>
                  </a:lnTo>
                  <a:lnTo>
                    <a:pt x="174" y="58"/>
                  </a:lnTo>
                  <a:lnTo>
                    <a:pt x="174" y="58"/>
                  </a:lnTo>
                  <a:lnTo>
                    <a:pt x="172" y="56"/>
                  </a:lnTo>
                  <a:lnTo>
                    <a:pt x="172" y="56"/>
                  </a:lnTo>
                  <a:lnTo>
                    <a:pt x="172" y="54"/>
                  </a:lnTo>
                  <a:lnTo>
                    <a:pt x="172" y="54"/>
                  </a:lnTo>
                  <a:lnTo>
                    <a:pt x="170" y="58"/>
                  </a:lnTo>
                  <a:lnTo>
                    <a:pt x="170" y="58"/>
                  </a:lnTo>
                  <a:lnTo>
                    <a:pt x="168" y="58"/>
                  </a:lnTo>
                  <a:lnTo>
                    <a:pt x="166" y="58"/>
                  </a:lnTo>
                  <a:lnTo>
                    <a:pt x="166" y="58"/>
                  </a:lnTo>
                  <a:lnTo>
                    <a:pt x="164" y="60"/>
                  </a:lnTo>
                  <a:lnTo>
                    <a:pt x="164" y="62"/>
                  </a:lnTo>
                  <a:lnTo>
                    <a:pt x="166" y="62"/>
                  </a:lnTo>
                  <a:lnTo>
                    <a:pt x="166" y="62"/>
                  </a:lnTo>
                  <a:lnTo>
                    <a:pt x="166" y="62"/>
                  </a:lnTo>
                  <a:lnTo>
                    <a:pt x="168" y="62"/>
                  </a:lnTo>
                  <a:lnTo>
                    <a:pt x="168" y="62"/>
                  </a:lnTo>
                  <a:lnTo>
                    <a:pt x="168" y="66"/>
                  </a:lnTo>
                  <a:lnTo>
                    <a:pt x="168" y="66"/>
                  </a:lnTo>
                  <a:lnTo>
                    <a:pt x="164" y="66"/>
                  </a:lnTo>
                  <a:lnTo>
                    <a:pt x="162" y="66"/>
                  </a:lnTo>
                  <a:lnTo>
                    <a:pt x="162" y="66"/>
                  </a:lnTo>
                  <a:lnTo>
                    <a:pt x="164" y="72"/>
                  </a:lnTo>
                  <a:lnTo>
                    <a:pt x="164" y="72"/>
                  </a:lnTo>
                  <a:lnTo>
                    <a:pt x="160" y="70"/>
                  </a:lnTo>
                  <a:lnTo>
                    <a:pt x="154" y="72"/>
                  </a:lnTo>
                  <a:lnTo>
                    <a:pt x="154" y="72"/>
                  </a:lnTo>
                  <a:lnTo>
                    <a:pt x="154" y="80"/>
                  </a:lnTo>
                  <a:lnTo>
                    <a:pt x="152" y="86"/>
                  </a:lnTo>
                  <a:lnTo>
                    <a:pt x="152" y="86"/>
                  </a:lnTo>
                  <a:lnTo>
                    <a:pt x="146" y="84"/>
                  </a:lnTo>
                  <a:lnTo>
                    <a:pt x="146" y="84"/>
                  </a:lnTo>
                  <a:lnTo>
                    <a:pt x="146" y="80"/>
                  </a:lnTo>
                  <a:lnTo>
                    <a:pt x="144" y="80"/>
                  </a:lnTo>
                  <a:lnTo>
                    <a:pt x="144" y="80"/>
                  </a:lnTo>
                  <a:lnTo>
                    <a:pt x="144" y="82"/>
                  </a:lnTo>
                  <a:lnTo>
                    <a:pt x="142" y="82"/>
                  </a:lnTo>
                  <a:lnTo>
                    <a:pt x="142" y="82"/>
                  </a:lnTo>
                  <a:lnTo>
                    <a:pt x="140" y="90"/>
                  </a:lnTo>
                  <a:lnTo>
                    <a:pt x="142" y="96"/>
                  </a:lnTo>
                  <a:lnTo>
                    <a:pt x="142" y="96"/>
                  </a:lnTo>
                  <a:lnTo>
                    <a:pt x="144" y="98"/>
                  </a:lnTo>
                  <a:lnTo>
                    <a:pt x="144" y="98"/>
                  </a:lnTo>
                  <a:lnTo>
                    <a:pt x="140" y="100"/>
                  </a:lnTo>
                  <a:lnTo>
                    <a:pt x="140" y="100"/>
                  </a:lnTo>
                  <a:lnTo>
                    <a:pt x="140" y="104"/>
                  </a:lnTo>
                  <a:lnTo>
                    <a:pt x="140" y="104"/>
                  </a:lnTo>
                  <a:lnTo>
                    <a:pt x="138" y="100"/>
                  </a:lnTo>
                  <a:lnTo>
                    <a:pt x="136" y="98"/>
                  </a:lnTo>
                  <a:lnTo>
                    <a:pt x="136" y="98"/>
                  </a:lnTo>
                  <a:lnTo>
                    <a:pt x="136" y="94"/>
                  </a:lnTo>
                  <a:lnTo>
                    <a:pt x="134" y="90"/>
                  </a:lnTo>
                  <a:lnTo>
                    <a:pt x="134" y="90"/>
                  </a:lnTo>
                  <a:lnTo>
                    <a:pt x="132" y="88"/>
                  </a:lnTo>
                  <a:lnTo>
                    <a:pt x="132" y="88"/>
                  </a:lnTo>
                  <a:lnTo>
                    <a:pt x="132" y="92"/>
                  </a:lnTo>
                  <a:lnTo>
                    <a:pt x="132" y="92"/>
                  </a:lnTo>
                  <a:lnTo>
                    <a:pt x="126" y="96"/>
                  </a:lnTo>
                  <a:lnTo>
                    <a:pt x="126" y="96"/>
                  </a:lnTo>
                  <a:lnTo>
                    <a:pt x="124" y="100"/>
                  </a:lnTo>
                  <a:lnTo>
                    <a:pt x="124" y="104"/>
                  </a:lnTo>
                  <a:lnTo>
                    <a:pt x="124" y="110"/>
                  </a:lnTo>
                  <a:lnTo>
                    <a:pt x="122" y="110"/>
                  </a:lnTo>
                  <a:lnTo>
                    <a:pt x="122" y="110"/>
                  </a:lnTo>
                  <a:lnTo>
                    <a:pt x="122" y="114"/>
                  </a:lnTo>
                  <a:lnTo>
                    <a:pt x="124" y="114"/>
                  </a:lnTo>
                  <a:lnTo>
                    <a:pt x="124" y="114"/>
                  </a:lnTo>
                  <a:lnTo>
                    <a:pt x="124" y="120"/>
                  </a:lnTo>
                  <a:lnTo>
                    <a:pt x="124" y="120"/>
                  </a:lnTo>
                  <a:lnTo>
                    <a:pt x="120" y="122"/>
                  </a:lnTo>
                  <a:lnTo>
                    <a:pt x="116" y="124"/>
                  </a:lnTo>
                  <a:lnTo>
                    <a:pt x="116" y="124"/>
                  </a:lnTo>
                  <a:lnTo>
                    <a:pt x="116" y="128"/>
                  </a:lnTo>
                  <a:lnTo>
                    <a:pt x="116" y="128"/>
                  </a:lnTo>
                  <a:lnTo>
                    <a:pt x="106" y="138"/>
                  </a:lnTo>
                  <a:lnTo>
                    <a:pt x="106" y="138"/>
                  </a:lnTo>
                  <a:lnTo>
                    <a:pt x="100" y="140"/>
                  </a:lnTo>
                  <a:lnTo>
                    <a:pt x="92" y="142"/>
                  </a:lnTo>
                  <a:lnTo>
                    <a:pt x="92" y="142"/>
                  </a:lnTo>
                  <a:lnTo>
                    <a:pt x="86" y="146"/>
                  </a:lnTo>
                  <a:lnTo>
                    <a:pt x="86" y="146"/>
                  </a:lnTo>
                  <a:lnTo>
                    <a:pt x="82" y="146"/>
                  </a:lnTo>
                  <a:lnTo>
                    <a:pt x="80" y="144"/>
                  </a:lnTo>
                  <a:lnTo>
                    <a:pt x="80" y="144"/>
                  </a:lnTo>
                  <a:lnTo>
                    <a:pt x="78" y="146"/>
                  </a:lnTo>
                  <a:lnTo>
                    <a:pt x="76" y="150"/>
                  </a:lnTo>
                  <a:lnTo>
                    <a:pt x="76" y="152"/>
                  </a:lnTo>
                  <a:lnTo>
                    <a:pt x="74" y="154"/>
                  </a:lnTo>
                  <a:lnTo>
                    <a:pt x="74" y="154"/>
                  </a:lnTo>
                  <a:lnTo>
                    <a:pt x="70" y="154"/>
                  </a:lnTo>
                  <a:lnTo>
                    <a:pt x="66" y="156"/>
                  </a:lnTo>
                  <a:lnTo>
                    <a:pt x="66" y="156"/>
                  </a:lnTo>
                  <a:lnTo>
                    <a:pt x="64" y="158"/>
                  </a:lnTo>
                  <a:lnTo>
                    <a:pt x="64" y="158"/>
                  </a:lnTo>
                  <a:lnTo>
                    <a:pt x="60" y="160"/>
                  </a:lnTo>
                  <a:lnTo>
                    <a:pt x="58" y="160"/>
                  </a:lnTo>
                  <a:lnTo>
                    <a:pt x="52" y="158"/>
                  </a:lnTo>
                  <a:lnTo>
                    <a:pt x="52" y="158"/>
                  </a:lnTo>
                  <a:lnTo>
                    <a:pt x="48" y="162"/>
                  </a:lnTo>
                  <a:lnTo>
                    <a:pt x="48" y="162"/>
                  </a:lnTo>
                  <a:lnTo>
                    <a:pt x="42" y="162"/>
                  </a:lnTo>
                  <a:lnTo>
                    <a:pt x="42" y="162"/>
                  </a:lnTo>
                  <a:lnTo>
                    <a:pt x="40" y="164"/>
                  </a:lnTo>
                  <a:lnTo>
                    <a:pt x="38" y="168"/>
                  </a:lnTo>
                  <a:lnTo>
                    <a:pt x="36" y="170"/>
                  </a:lnTo>
                  <a:lnTo>
                    <a:pt x="34" y="172"/>
                  </a:lnTo>
                  <a:lnTo>
                    <a:pt x="32" y="172"/>
                  </a:lnTo>
                  <a:lnTo>
                    <a:pt x="32" y="172"/>
                  </a:lnTo>
                  <a:lnTo>
                    <a:pt x="32" y="176"/>
                  </a:lnTo>
                  <a:lnTo>
                    <a:pt x="32" y="176"/>
                  </a:lnTo>
                  <a:lnTo>
                    <a:pt x="28" y="176"/>
                  </a:lnTo>
                  <a:lnTo>
                    <a:pt x="28" y="176"/>
                  </a:lnTo>
                  <a:lnTo>
                    <a:pt x="24" y="180"/>
                  </a:lnTo>
                  <a:lnTo>
                    <a:pt x="22" y="184"/>
                  </a:lnTo>
                  <a:lnTo>
                    <a:pt x="22" y="184"/>
                  </a:lnTo>
                  <a:lnTo>
                    <a:pt x="12" y="190"/>
                  </a:lnTo>
                  <a:lnTo>
                    <a:pt x="12" y="190"/>
                  </a:lnTo>
                  <a:lnTo>
                    <a:pt x="12" y="186"/>
                  </a:lnTo>
                  <a:lnTo>
                    <a:pt x="12" y="186"/>
                  </a:lnTo>
                  <a:lnTo>
                    <a:pt x="14" y="184"/>
                  </a:lnTo>
                  <a:lnTo>
                    <a:pt x="12" y="182"/>
                  </a:lnTo>
                  <a:lnTo>
                    <a:pt x="12" y="182"/>
                  </a:lnTo>
                  <a:lnTo>
                    <a:pt x="12" y="180"/>
                  </a:lnTo>
                  <a:lnTo>
                    <a:pt x="12" y="180"/>
                  </a:lnTo>
                  <a:lnTo>
                    <a:pt x="12" y="180"/>
                  </a:lnTo>
                  <a:lnTo>
                    <a:pt x="10" y="184"/>
                  </a:lnTo>
                  <a:lnTo>
                    <a:pt x="10" y="186"/>
                  </a:lnTo>
                  <a:lnTo>
                    <a:pt x="8" y="190"/>
                  </a:lnTo>
                  <a:lnTo>
                    <a:pt x="6" y="192"/>
                  </a:lnTo>
                  <a:lnTo>
                    <a:pt x="6" y="192"/>
                  </a:lnTo>
                  <a:lnTo>
                    <a:pt x="8" y="194"/>
                  </a:lnTo>
                  <a:lnTo>
                    <a:pt x="10" y="198"/>
                  </a:lnTo>
                  <a:lnTo>
                    <a:pt x="10" y="198"/>
                  </a:lnTo>
                  <a:lnTo>
                    <a:pt x="8" y="204"/>
                  </a:lnTo>
                  <a:lnTo>
                    <a:pt x="8" y="204"/>
                  </a:lnTo>
                  <a:lnTo>
                    <a:pt x="10" y="206"/>
                  </a:lnTo>
                  <a:lnTo>
                    <a:pt x="10" y="206"/>
                  </a:lnTo>
                  <a:lnTo>
                    <a:pt x="8" y="212"/>
                  </a:lnTo>
                  <a:lnTo>
                    <a:pt x="6" y="216"/>
                  </a:lnTo>
                  <a:lnTo>
                    <a:pt x="6" y="216"/>
                  </a:lnTo>
                  <a:lnTo>
                    <a:pt x="2" y="216"/>
                  </a:lnTo>
                  <a:lnTo>
                    <a:pt x="2" y="220"/>
                  </a:lnTo>
                  <a:lnTo>
                    <a:pt x="2" y="220"/>
                  </a:lnTo>
                  <a:lnTo>
                    <a:pt x="4" y="222"/>
                  </a:lnTo>
                  <a:lnTo>
                    <a:pt x="4" y="222"/>
                  </a:lnTo>
                  <a:lnTo>
                    <a:pt x="8" y="224"/>
                  </a:lnTo>
                  <a:lnTo>
                    <a:pt x="10" y="228"/>
                  </a:lnTo>
                  <a:lnTo>
                    <a:pt x="10" y="228"/>
                  </a:lnTo>
                  <a:lnTo>
                    <a:pt x="12" y="234"/>
                  </a:lnTo>
                  <a:lnTo>
                    <a:pt x="10" y="238"/>
                  </a:lnTo>
                  <a:lnTo>
                    <a:pt x="10" y="238"/>
                  </a:lnTo>
                  <a:lnTo>
                    <a:pt x="14" y="252"/>
                  </a:lnTo>
                  <a:lnTo>
                    <a:pt x="14" y="252"/>
                  </a:lnTo>
                  <a:lnTo>
                    <a:pt x="8" y="250"/>
                  </a:lnTo>
                  <a:lnTo>
                    <a:pt x="8" y="250"/>
                  </a:lnTo>
                  <a:lnTo>
                    <a:pt x="8" y="246"/>
                  </a:lnTo>
                  <a:lnTo>
                    <a:pt x="6" y="246"/>
                  </a:lnTo>
                  <a:lnTo>
                    <a:pt x="6" y="246"/>
                  </a:lnTo>
                  <a:lnTo>
                    <a:pt x="10" y="262"/>
                  </a:lnTo>
                  <a:lnTo>
                    <a:pt x="10" y="262"/>
                  </a:lnTo>
                  <a:lnTo>
                    <a:pt x="8" y="262"/>
                  </a:lnTo>
                  <a:lnTo>
                    <a:pt x="8" y="262"/>
                  </a:lnTo>
                  <a:lnTo>
                    <a:pt x="6" y="258"/>
                  </a:lnTo>
                  <a:lnTo>
                    <a:pt x="4" y="256"/>
                  </a:lnTo>
                  <a:lnTo>
                    <a:pt x="2" y="246"/>
                  </a:lnTo>
                  <a:lnTo>
                    <a:pt x="0" y="246"/>
                  </a:lnTo>
                  <a:lnTo>
                    <a:pt x="0" y="246"/>
                  </a:lnTo>
                  <a:lnTo>
                    <a:pt x="2" y="252"/>
                  </a:lnTo>
                  <a:lnTo>
                    <a:pt x="2" y="260"/>
                  </a:lnTo>
                  <a:lnTo>
                    <a:pt x="2" y="260"/>
                  </a:lnTo>
                  <a:lnTo>
                    <a:pt x="4" y="260"/>
                  </a:lnTo>
                  <a:lnTo>
                    <a:pt x="4" y="260"/>
                  </a:lnTo>
                  <a:lnTo>
                    <a:pt x="10" y="266"/>
                  </a:lnTo>
                  <a:lnTo>
                    <a:pt x="14" y="272"/>
                  </a:lnTo>
                  <a:lnTo>
                    <a:pt x="14" y="272"/>
                  </a:lnTo>
                  <a:lnTo>
                    <a:pt x="14" y="278"/>
                  </a:lnTo>
                  <a:lnTo>
                    <a:pt x="18" y="278"/>
                  </a:lnTo>
                  <a:lnTo>
                    <a:pt x="18" y="280"/>
                  </a:lnTo>
                  <a:lnTo>
                    <a:pt x="18" y="280"/>
                  </a:lnTo>
                  <a:lnTo>
                    <a:pt x="16" y="282"/>
                  </a:lnTo>
                  <a:lnTo>
                    <a:pt x="16" y="282"/>
                  </a:lnTo>
                  <a:lnTo>
                    <a:pt x="16" y="286"/>
                  </a:lnTo>
                  <a:lnTo>
                    <a:pt x="16" y="286"/>
                  </a:lnTo>
                  <a:lnTo>
                    <a:pt x="20" y="290"/>
                  </a:lnTo>
                  <a:lnTo>
                    <a:pt x="24" y="292"/>
                  </a:lnTo>
                  <a:lnTo>
                    <a:pt x="24" y="292"/>
                  </a:lnTo>
                  <a:lnTo>
                    <a:pt x="22" y="296"/>
                  </a:lnTo>
                  <a:lnTo>
                    <a:pt x="22" y="300"/>
                  </a:lnTo>
                  <a:lnTo>
                    <a:pt x="22" y="300"/>
                  </a:lnTo>
                  <a:lnTo>
                    <a:pt x="26" y="304"/>
                  </a:lnTo>
                  <a:lnTo>
                    <a:pt x="28" y="306"/>
                  </a:lnTo>
                  <a:lnTo>
                    <a:pt x="30" y="310"/>
                  </a:lnTo>
                  <a:lnTo>
                    <a:pt x="30" y="310"/>
                  </a:lnTo>
                  <a:lnTo>
                    <a:pt x="28" y="312"/>
                  </a:lnTo>
                  <a:lnTo>
                    <a:pt x="28" y="312"/>
                  </a:lnTo>
                  <a:lnTo>
                    <a:pt x="28" y="320"/>
                  </a:lnTo>
                  <a:lnTo>
                    <a:pt x="28" y="326"/>
                  </a:lnTo>
                  <a:lnTo>
                    <a:pt x="28" y="326"/>
                  </a:lnTo>
                  <a:lnTo>
                    <a:pt x="32" y="336"/>
                  </a:lnTo>
                  <a:lnTo>
                    <a:pt x="32" y="336"/>
                  </a:lnTo>
                  <a:lnTo>
                    <a:pt x="32" y="340"/>
                  </a:lnTo>
                  <a:lnTo>
                    <a:pt x="34" y="346"/>
                  </a:lnTo>
                  <a:lnTo>
                    <a:pt x="34" y="346"/>
                  </a:lnTo>
                  <a:lnTo>
                    <a:pt x="36" y="350"/>
                  </a:lnTo>
                  <a:lnTo>
                    <a:pt x="36" y="350"/>
                  </a:lnTo>
                  <a:lnTo>
                    <a:pt x="36" y="354"/>
                  </a:lnTo>
                  <a:lnTo>
                    <a:pt x="34" y="356"/>
                  </a:lnTo>
                  <a:lnTo>
                    <a:pt x="34" y="356"/>
                  </a:lnTo>
                  <a:lnTo>
                    <a:pt x="36" y="360"/>
                  </a:lnTo>
                  <a:lnTo>
                    <a:pt x="36" y="360"/>
                  </a:lnTo>
                  <a:lnTo>
                    <a:pt x="36" y="364"/>
                  </a:lnTo>
                  <a:lnTo>
                    <a:pt x="36" y="364"/>
                  </a:lnTo>
                  <a:lnTo>
                    <a:pt x="34" y="366"/>
                  </a:lnTo>
                  <a:lnTo>
                    <a:pt x="34" y="366"/>
                  </a:lnTo>
                  <a:lnTo>
                    <a:pt x="34" y="376"/>
                  </a:lnTo>
                  <a:lnTo>
                    <a:pt x="34" y="384"/>
                  </a:lnTo>
                  <a:lnTo>
                    <a:pt x="34" y="384"/>
                  </a:lnTo>
                  <a:lnTo>
                    <a:pt x="32" y="386"/>
                  </a:lnTo>
                  <a:lnTo>
                    <a:pt x="32" y="386"/>
                  </a:lnTo>
                  <a:lnTo>
                    <a:pt x="28" y="382"/>
                  </a:lnTo>
                  <a:lnTo>
                    <a:pt x="28" y="382"/>
                  </a:lnTo>
                  <a:lnTo>
                    <a:pt x="26" y="382"/>
                  </a:lnTo>
                  <a:lnTo>
                    <a:pt x="24" y="382"/>
                  </a:lnTo>
                  <a:lnTo>
                    <a:pt x="26" y="382"/>
                  </a:lnTo>
                  <a:lnTo>
                    <a:pt x="26" y="382"/>
                  </a:lnTo>
                  <a:lnTo>
                    <a:pt x="26" y="388"/>
                  </a:lnTo>
                  <a:lnTo>
                    <a:pt x="26" y="388"/>
                  </a:lnTo>
                  <a:lnTo>
                    <a:pt x="28" y="392"/>
                  </a:lnTo>
                  <a:lnTo>
                    <a:pt x="32" y="394"/>
                  </a:lnTo>
                  <a:lnTo>
                    <a:pt x="38" y="398"/>
                  </a:lnTo>
                  <a:lnTo>
                    <a:pt x="38" y="398"/>
                  </a:lnTo>
                  <a:lnTo>
                    <a:pt x="40" y="400"/>
                  </a:lnTo>
                  <a:lnTo>
                    <a:pt x="42" y="404"/>
                  </a:lnTo>
                  <a:lnTo>
                    <a:pt x="42" y="404"/>
                  </a:lnTo>
                  <a:lnTo>
                    <a:pt x="46" y="406"/>
                  </a:lnTo>
                  <a:lnTo>
                    <a:pt x="50" y="406"/>
                  </a:lnTo>
                  <a:lnTo>
                    <a:pt x="52" y="404"/>
                  </a:lnTo>
                  <a:lnTo>
                    <a:pt x="52" y="404"/>
                  </a:lnTo>
                  <a:lnTo>
                    <a:pt x="58" y="404"/>
                  </a:lnTo>
                  <a:lnTo>
                    <a:pt x="58" y="404"/>
                  </a:lnTo>
                  <a:lnTo>
                    <a:pt x="60" y="406"/>
                  </a:lnTo>
                  <a:lnTo>
                    <a:pt x="64" y="408"/>
                  </a:lnTo>
                  <a:lnTo>
                    <a:pt x="64" y="408"/>
                  </a:lnTo>
                  <a:lnTo>
                    <a:pt x="64" y="404"/>
                  </a:lnTo>
                  <a:lnTo>
                    <a:pt x="64" y="404"/>
                  </a:lnTo>
                  <a:lnTo>
                    <a:pt x="68" y="406"/>
                  </a:lnTo>
                  <a:lnTo>
                    <a:pt x="68" y="406"/>
                  </a:lnTo>
                  <a:lnTo>
                    <a:pt x="76" y="394"/>
                  </a:lnTo>
                  <a:lnTo>
                    <a:pt x="78" y="394"/>
                  </a:lnTo>
                  <a:lnTo>
                    <a:pt x="78" y="394"/>
                  </a:lnTo>
                  <a:lnTo>
                    <a:pt x="78" y="398"/>
                  </a:lnTo>
                  <a:lnTo>
                    <a:pt x="78" y="398"/>
                  </a:lnTo>
                  <a:lnTo>
                    <a:pt x="82" y="400"/>
                  </a:lnTo>
                  <a:lnTo>
                    <a:pt x="82" y="400"/>
                  </a:lnTo>
                  <a:lnTo>
                    <a:pt x="84" y="396"/>
                  </a:lnTo>
                  <a:lnTo>
                    <a:pt x="84" y="392"/>
                  </a:lnTo>
                  <a:lnTo>
                    <a:pt x="84" y="390"/>
                  </a:lnTo>
                  <a:lnTo>
                    <a:pt x="84" y="390"/>
                  </a:lnTo>
                  <a:lnTo>
                    <a:pt x="88" y="390"/>
                  </a:lnTo>
                  <a:lnTo>
                    <a:pt x="92" y="390"/>
                  </a:lnTo>
                  <a:lnTo>
                    <a:pt x="94" y="388"/>
                  </a:lnTo>
                  <a:lnTo>
                    <a:pt x="94" y="388"/>
                  </a:lnTo>
                  <a:lnTo>
                    <a:pt x="98" y="388"/>
                  </a:lnTo>
                  <a:lnTo>
                    <a:pt x="100" y="388"/>
                  </a:lnTo>
                  <a:lnTo>
                    <a:pt x="100" y="388"/>
                  </a:lnTo>
                  <a:lnTo>
                    <a:pt x="100" y="388"/>
                  </a:lnTo>
                  <a:lnTo>
                    <a:pt x="100" y="386"/>
                  </a:lnTo>
                  <a:lnTo>
                    <a:pt x="100" y="386"/>
                  </a:lnTo>
                  <a:lnTo>
                    <a:pt x="108" y="386"/>
                  </a:lnTo>
                  <a:lnTo>
                    <a:pt x="114" y="388"/>
                  </a:lnTo>
                  <a:lnTo>
                    <a:pt x="114" y="388"/>
                  </a:lnTo>
                  <a:lnTo>
                    <a:pt x="118" y="386"/>
                  </a:lnTo>
                  <a:lnTo>
                    <a:pt x="118" y="386"/>
                  </a:lnTo>
                  <a:lnTo>
                    <a:pt x="122" y="388"/>
                  </a:lnTo>
                  <a:lnTo>
                    <a:pt x="122" y="388"/>
                  </a:lnTo>
                  <a:lnTo>
                    <a:pt x="122" y="388"/>
                  </a:lnTo>
                  <a:lnTo>
                    <a:pt x="122" y="386"/>
                  </a:lnTo>
                  <a:lnTo>
                    <a:pt x="122" y="386"/>
                  </a:lnTo>
                  <a:lnTo>
                    <a:pt x="128" y="386"/>
                  </a:lnTo>
                  <a:lnTo>
                    <a:pt x="128" y="386"/>
                  </a:lnTo>
                  <a:lnTo>
                    <a:pt x="128" y="386"/>
                  </a:lnTo>
                  <a:lnTo>
                    <a:pt x="132" y="386"/>
                  </a:lnTo>
                  <a:lnTo>
                    <a:pt x="132" y="386"/>
                  </a:lnTo>
                  <a:lnTo>
                    <a:pt x="134" y="388"/>
                  </a:lnTo>
                  <a:lnTo>
                    <a:pt x="134" y="388"/>
                  </a:lnTo>
                  <a:lnTo>
                    <a:pt x="136" y="388"/>
                  </a:lnTo>
                  <a:lnTo>
                    <a:pt x="136" y="386"/>
                  </a:lnTo>
                  <a:lnTo>
                    <a:pt x="136" y="386"/>
                  </a:lnTo>
                  <a:lnTo>
                    <a:pt x="138" y="386"/>
                  </a:lnTo>
                  <a:lnTo>
                    <a:pt x="138" y="386"/>
                  </a:lnTo>
                  <a:lnTo>
                    <a:pt x="140" y="386"/>
                  </a:lnTo>
                  <a:lnTo>
                    <a:pt x="140" y="386"/>
                  </a:lnTo>
                  <a:lnTo>
                    <a:pt x="142" y="384"/>
                  </a:lnTo>
                  <a:lnTo>
                    <a:pt x="144" y="380"/>
                  </a:lnTo>
                  <a:lnTo>
                    <a:pt x="146" y="376"/>
                  </a:lnTo>
                  <a:lnTo>
                    <a:pt x="148" y="372"/>
                  </a:lnTo>
                  <a:lnTo>
                    <a:pt x="148" y="372"/>
                  </a:lnTo>
                  <a:lnTo>
                    <a:pt x="154" y="372"/>
                  </a:lnTo>
                  <a:lnTo>
                    <a:pt x="158" y="372"/>
                  </a:lnTo>
                  <a:lnTo>
                    <a:pt x="162" y="366"/>
                  </a:lnTo>
                  <a:lnTo>
                    <a:pt x="162" y="366"/>
                  </a:lnTo>
                  <a:lnTo>
                    <a:pt x="162" y="366"/>
                  </a:lnTo>
                  <a:lnTo>
                    <a:pt x="164" y="366"/>
                  </a:lnTo>
                  <a:lnTo>
                    <a:pt x="164" y="366"/>
                  </a:lnTo>
                  <a:lnTo>
                    <a:pt x="170" y="360"/>
                  </a:lnTo>
                  <a:lnTo>
                    <a:pt x="170" y="360"/>
                  </a:lnTo>
                  <a:lnTo>
                    <a:pt x="186" y="360"/>
                  </a:lnTo>
                  <a:lnTo>
                    <a:pt x="200" y="356"/>
                  </a:lnTo>
                  <a:lnTo>
                    <a:pt x="200" y="354"/>
                  </a:lnTo>
                  <a:lnTo>
                    <a:pt x="200" y="354"/>
                  </a:lnTo>
                  <a:lnTo>
                    <a:pt x="206" y="352"/>
                  </a:lnTo>
                  <a:lnTo>
                    <a:pt x="206" y="352"/>
                  </a:lnTo>
                  <a:lnTo>
                    <a:pt x="210" y="352"/>
                  </a:lnTo>
                  <a:lnTo>
                    <a:pt x="212" y="352"/>
                  </a:lnTo>
                  <a:lnTo>
                    <a:pt x="214" y="350"/>
                  </a:lnTo>
                  <a:lnTo>
                    <a:pt x="214" y="350"/>
                  </a:lnTo>
                  <a:lnTo>
                    <a:pt x="224" y="350"/>
                  </a:lnTo>
                  <a:lnTo>
                    <a:pt x="226" y="348"/>
                  </a:lnTo>
                  <a:lnTo>
                    <a:pt x="226" y="348"/>
                  </a:lnTo>
                  <a:lnTo>
                    <a:pt x="230" y="348"/>
                  </a:lnTo>
                  <a:lnTo>
                    <a:pt x="234" y="348"/>
                  </a:lnTo>
                  <a:lnTo>
                    <a:pt x="234" y="348"/>
                  </a:lnTo>
                  <a:lnTo>
                    <a:pt x="238" y="346"/>
                  </a:lnTo>
                  <a:lnTo>
                    <a:pt x="238" y="346"/>
                  </a:lnTo>
                  <a:lnTo>
                    <a:pt x="240" y="344"/>
                  </a:lnTo>
                  <a:lnTo>
                    <a:pt x="240" y="344"/>
                  </a:lnTo>
                  <a:lnTo>
                    <a:pt x="248" y="350"/>
                  </a:lnTo>
                  <a:lnTo>
                    <a:pt x="250" y="350"/>
                  </a:lnTo>
                  <a:lnTo>
                    <a:pt x="250" y="350"/>
                  </a:lnTo>
                  <a:lnTo>
                    <a:pt x="252" y="354"/>
                  </a:lnTo>
                  <a:lnTo>
                    <a:pt x="252" y="354"/>
                  </a:lnTo>
                  <a:lnTo>
                    <a:pt x="260" y="354"/>
                  </a:lnTo>
                  <a:lnTo>
                    <a:pt x="266" y="354"/>
                  </a:lnTo>
                  <a:lnTo>
                    <a:pt x="266" y="358"/>
                  </a:lnTo>
                  <a:lnTo>
                    <a:pt x="266" y="358"/>
                  </a:lnTo>
                  <a:lnTo>
                    <a:pt x="272" y="354"/>
                  </a:lnTo>
                  <a:lnTo>
                    <a:pt x="272" y="354"/>
                  </a:lnTo>
                  <a:lnTo>
                    <a:pt x="274" y="356"/>
                  </a:lnTo>
                  <a:lnTo>
                    <a:pt x="274" y="358"/>
                  </a:lnTo>
                  <a:lnTo>
                    <a:pt x="274" y="358"/>
                  </a:lnTo>
                  <a:lnTo>
                    <a:pt x="274" y="364"/>
                  </a:lnTo>
                  <a:lnTo>
                    <a:pt x="274" y="364"/>
                  </a:lnTo>
                  <a:lnTo>
                    <a:pt x="280" y="364"/>
                  </a:lnTo>
                  <a:lnTo>
                    <a:pt x="280" y="364"/>
                  </a:lnTo>
                  <a:lnTo>
                    <a:pt x="282" y="366"/>
                  </a:lnTo>
                  <a:lnTo>
                    <a:pt x="282" y="368"/>
                  </a:lnTo>
                  <a:lnTo>
                    <a:pt x="280" y="368"/>
                  </a:lnTo>
                  <a:lnTo>
                    <a:pt x="280" y="368"/>
                  </a:lnTo>
                  <a:lnTo>
                    <a:pt x="278" y="372"/>
                  </a:lnTo>
                  <a:lnTo>
                    <a:pt x="278" y="372"/>
                  </a:lnTo>
                  <a:lnTo>
                    <a:pt x="288" y="376"/>
                  </a:lnTo>
                  <a:lnTo>
                    <a:pt x="288" y="376"/>
                  </a:lnTo>
                  <a:lnTo>
                    <a:pt x="288" y="384"/>
                  </a:lnTo>
                  <a:lnTo>
                    <a:pt x="290" y="390"/>
                  </a:lnTo>
                  <a:lnTo>
                    <a:pt x="290" y="390"/>
                  </a:lnTo>
                  <a:lnTo>
                    <a:pt x="294" y="392"/>
                  </a:lnTo>
                  <a:lnTo>
                    <a:pt x="294" y="392"/>
                  </a:lnTo>
                  <a:lnTo>
                    <a:pt x="294" y="394"/>
                  </a:lnTo>
                  <a:lnTo>
                    <a:pt x="294" y="396"/>
                  </a:lnTo>
                  <a:lnTo>
                    <a:pt x="294" y="396"/>
                  </a:lnTo>
                  <a:lnTo>
                    <a:pt x="298" y="400"/>
                  </a:lnTo>
                  <a:lnTo>
                    <a:pt x="298" y="400"/>
                  </a:lnTo>
                  <a:lnTo>
                    <a:pt x="302" y="398"/>
                  </a:lnTo>
                  <a:lnTo>
                    <a:pt x="302" y="398"/>
                  </a:lnTo>
                  <a:lnTo>
                    <a:pt x="306" y="394"/>
                  </a:lnTo>
                  <a:lnTo>
                    <a:pt x="310" y="388"/>
                  </a:lnTo>
                  <a:lnTo>
                    <a:pt x="310" y="386"/>
                  </a:lnTo>
                  <a:lnTo>
                    <a:pt x="310" y="386"/>
                  </a:lnTo>
                  <a:lnTo>
                    <a:pt x="316" y="384"/>
                  </a:lnTo>
                  <a:lnTo>
                    <a:pt x="322" y="380"/>
                  </a:lnTo>
                  <a:lnTo>
                    <a:pt x="322" y="380"/>
                  </a:lnTo>
                  <a:lnTo>
                    <a:pt x="322" y="374"/>
                  </a:lnTo>
                  <a:lnTo>
                    <a:pt x="322" y="374"/>
                  </a:lnTo>
                  <a:lnTo>
                    <a:pt x="328" y="372"/>
                  </a:lnTo>
                  <a:lnTo>
                    <a:pt x="328" y="372"/>
                  </a:lnTo>
                  <a:lnTo>
                    <a:pt x="326" y="378"/>
                  </a:lnTo>
                  <a:lnTo>
                    <a:pt x="326" y="384"/>
                  </a:lnTo>
                  <a:lnTo>
                    <a:pt x="326" y="384"/>
                  </a:lnTo>
                  <a:lnTo>
                    <a:pt x="322" y="388"/>
                  </a:lnTo>
                  <a:lnTo>
                    <a:pt x="322" y="388"/>
                  </a:lnTo>
                  <a:lnTo>
                    <a:pt x="322" y="396"/>
                  </a:lnTo>
                  <a:lnTo>
                    <a:pt x="322" y="404"/>
                  </a:lnTo>
                  <a:lnTo>
                    <a:pt x="322" y="404"/>
                  </a:lnTo>
                  <a:lnTo>
                    <a:pt x="318" y="408"/>
                  </a:lnTo>
                  <a:lnTo>
                    <a:pt x="318" y="408"/>
                  </a:lnTo>
                  <a:lnTo>
                    <a:pt x="314" y="408"/>
                  </a:lnTo>
                  <a:lnTo>
                    <a:pt x="314" y="408"/>
                  </a:lnTo>
                  <a:lnTo>
                    <a:pt x="314" y="412"/>
                  </a:lnTo>
                  <a:lnTo>
                    <a:pt x="314" y="412"/>
                  </a:lnTo>
                  <a:lnTo>
                    <a:pt x="316" y="412"/>
                  </a:lnTo>
                  <a:lnTo>
                    <a:pt x="316" y="412"/>
                  </a:lnTo>
                  <a:lnTo>
                    <a:pt x="316" y="412"/>
                  </a:lnTo>
                  <a:lnTo>
                    <a:pt x="318" y="410"/>
                  </a:lnTo>
                  <a:lnTo>
                    <a:pt x="318" y="410"/>
                  </a:lnTo>
                  <a:lnTo>
                    <a:pt x="324" y="410"/>
                  </a:lnTo>
                  <a:lnTo>
                    <a:pt x="324" y="410"/>
                  </a:lnTo>
                  <a:lnTo>
                    <a:pt x="326" y="408"/>
                  </a:lnTo>
                  <a:lnTo>
                    <a:pt x="326" y="404"/>
                  </a:lnTo>
                  <a:lnTo>
                    <a:pt x="326" y="400"/>
                  </a:lnTo>
                  <a:lnTo>
                    <a:pt x="328" y="396"/>
                  </a:lnTo>
                  <a:lnTo>
                    <a:pt x="328" y="396"/>
                  </a:lnTo>
                  <a:lnTo>
                    <a:pt x="330" y="394"/>
                  </a:lnTo>
                  <a:lnTo>
                    <a:pt x="332" y="394"/>
                  </a:lnTo>
                  <a:lnTo>
                    <a:pt x="332" y="394"/>
                  </a:lnTo>
                  <a:lnTo>
                    <a:pt x="332" y="400"/>
                  </a:lnTo>
                  <a:lnTo>
                    <a:pt x="332" y="400"/>
                  </a:lnTo>
                  <a:lnTo>
                    <a:pt x="336" y="404"/>
                  </a:lnTo>
                  <a:lnTo>
                    <a:pt x="336" y="404"/>
                  </a:lnTo>
                  <a:lnTo>
                    <a:pt x="336" y="412"/>
                  </a:lnTo>
                  <a:lnTo>
                    <a:pt x="336" y="422"/>
                  </a:lnTo>
                  <a:lnTo>
                    <a:pt x="336" y="422"/>
                  </a:lnTo>
                  <a:lnTo>
                    <a:pt x="340" y="422"/>
                  </a:lnTo>
                  <a:lnTo>
                    <a:pt x="342" y="420"/>
                  </a:lnTo>
                  <a:lnTo>
                    <a:pt x="344" y="418"/>
                  </a:lnTo>
                  <a:lnTo>
                    <a:pt x="344" y="418"/>
                  </a:lnTo>
                  <a:lnTo>
                    <a:pt x="348" y="418"/>
                  </a:lnTo>
                  <a:lnTo>
                    <a:pt x="348" y="418"/>
                  </a:lnTo>
                  <a:lnTo>
                    <a:pt x="348" y="426"/>
                  </a:lnTo>
                  <a:lnTo>
                    <a:pt x="352" y="434"/>
                  </a:lnTo>
                  <a:lnTo>
                    <a:pt x="354" y="434"/>
                  </a:lnTo>
                  <a:lnTo>
                    <a:pt x="354" y="434"/>
                  </a:lnTo>
                  <a:lnTo>
                    <a:pt x="354" y="444"/>
                  </a:lnTo>
                  <a:lnTo>
                    <a:pt x="352" y="448"/>
                  </a:lnTo>
                  <a:lnTo>
                    <a:pt x="352" y="452"/>
                  </a:lnTo>
                  <a:lnTo>
                    <a:pt x="352" y="452"/>
                  </a:lnTo>
                  <a:lnTo>
                    <a:pt x="354" y="456"/>
                  </a:lnTo>
                  <a:lnTo>
                    <a:pt x="358" y="458"/>
                  </a:lnTo>
                  <a:lnTo>
                    <a:pt x="362" y="462"/>
                  </a:lnTo>
                  <a:lnTo>
                    <a:pt x="362" y="462"/>
                  </a:lnTo>
                  <a:lnTo>
                    <a:pt x="362" y="464"/>
                  </a:lnTo>
                  <a:lnTo>
                    <a:pt x="364" y="466"/>
                  </a:lnTo>
                  <a:lnTo>
                    <a:pt x="364" y="466"/>
                  </a:lnTo>
                  <a:lnTo>
                    <a:pt x="368" y="466"/>
                  </a:lnTo>
                  <a:lnTo>
                    <a:pt x="368" y="466"/>
                  </a:lnTo>
                  <a:lnTo>
                    <a:pt x="374" y="470"/>
                  </a:lnTo>
                  <a:lnTo>
                    <a:pt x="376" y="472"/>
                  </a:lnTo>
                  <a:lnTo>
                    <a:pt x="378" y="472"/>
                  </a:lnTo>
                  <a:lnTo>
                    <a:pt x="378" y="472"/>
                  </a:lnTo>
                  <a:lnTo>
                    <a:pt x="380" y="472"/>
                  </a:lnTo>
                  <a:lnTo>
                    <a:pt x="384" y="470"/>
                  </a:lnTo>
                  <a:lnTo>
                    <a:pt x="384" y="470"/>
                  </a:lnTo>
                  <a:close/>
                  <a:moveTo>
                    <a:pt x="416" y="516"/>
                  </a:moveTo>
                  <a:lnTo>
                    <a:pt x="416" y="516"/>
                  </a:lnTo>
                  <a:lnTo>
                    <a:pt x="414" y="524"/>
                  </a:lnTo>
                  <a:lnTo>
                    <a:pt x="416" y="530"/>
                  </a:lnTo>
                  <a:lnTo>
                    <a:pt x="416" y="530"/>
                  </a:lnTo>
                  <a:lnTo>
                    <a:pt x="426" y="544"/>
                  </a:lnTo>
                  <a:lnTo>
                    <a:pt x="426" y="546"/>
                  </a:lnTo>
                  <a:lnTo>
                    <a:pt x="426" y="546"/>
                  </a:lnTo>
                  <a:lnTo>
                    <a:pt x="430" y="546"/>
                  </a:lnTo>
                  <a:lnTo>
                    <a:pt x="430" y="546"/>
                  </a:lnTo>
                  <a:lnTo>
                    <a:pt x="426" y="548"/>
                  </a:lnTo>
                  <a:lnTo>
                    <a:pt x="426" y="548"/>
                  </a:lnTo>
                  <a:lnTo>
                    <a:pt x="426" y="554"/>
                  </a:lnTo>
                  <a:lnTo>
                    <a:pt x="426" y="554"/>
                  </a:lnTo>
                  <a:lnTo>
                    <a:pt x="428" y="558"/>
                  </a:lnTo>
                  <a:lnTo>
                    <a:pt x="432" y="560"/>
                  </a:lnTo>
                  <a:lnTo>
                    <a:pt x="432" y="560"/>
                  </a:lnTo>
                  <a:lnTo>
                    <a:pt x="432" y="564"/>
                  </a:lnTo>
                  <a:lnTo>
                    <a:pt x="434" y="566"/>
                  </a:lnTo>
                  <a:lnTo>
                    <a:pt x="434" y="566"/>
                  </a:lnTo>
                  <a:lnTo>
                    <a:pt x="436" y="566"/>
                  </a:lnTo>
                  <a:lnTo>
                    <a:pt x="438" y="566"/>
                  </a:lnTo>
                  <a:lnTo>
                    <a:pt x="438" y="566"/>
                  </a:lnTo>
                  <a:lnTo>
                    <a:pt x="436" y="568"/>
                  </a:lnTo>
                  <a:lnTo>
                    <a:pt x="436" y="570"/>
                  </a:lnTo>
                  <a:lnTo>
                    <a:pt x="438" y="570"/>
                  </a:lnTo>
                  <a:lnTo>
                    <a:pt x="438" y="572"/>
                  </a:lnTo>
                  <a:lnTo>
                    <a:pt x="438" y="572"/>
                  </a:lnTo>
                  <a:lnTo>
                    <a:pt x="448" y="572"/>
                  </a:lnTo>
                  <a:lnTo>
                    <a:pt x="448" y="572"/>
                  </a:lnTo>
                  <a:lnTo>
                    <a:pt x="448" y="570"/>
                  </a:lnTo>
                  <a:lnTo>
                    <a:pt x="448" y="570"/>
                  </a:lnTo>
                  <a:lnTo>
                    <a:pt x="450" y="570"/>
                  </a:lnTo>
                  <a:lnTo>
                    <a:pt x="452" y="570"/>
                  </a:lnTo>
                  <a:lnTo>
                    <a:pt x="452" y="570"/>
                  </a:lnTo>
                  <a:lnTo>
                    <a:pt x="452" y="568"/>
                  </a:lnTo>
                  <a:lnTo>
                    <a:pt x="452" y="566"/>
                  </a:lnTo>
                  <a:lnTo>
                    <a:pt x="452" y="568"/>
                  </a:lnTo>
                  <a:lnTo>
                    <a:pt x="452" y="568"/>
                  </a:lnTo>
                  <a:lnTo>
                    <a:pt x="450" y="568"/>
                  </a:lnTo>
                  <a:lnTo>
                    <a:pt x="450" y="568"/>
                  </a:lnTo>
                  <a:lnTo>
                    <a:pt x="448" y="564"/>
                  </a:lnTo>
                  <a:lnTo>
                    <a:pt x="448" y="564"/>
                  </a:lnTo>
                  <a:lnTo>
                    <a:pt x="452" y="562"/>
                  </a:lnTo>
                  <a:lnTo>
                    <a:pt x="452" y="560"/>
                  </a:lnTo>
                  <a:lnTo>
                    <a:pt x="452" y="560"/>
                  </a:lnTo>
                  <a:lnTo>
                    <a:pt x="452" y="560"/>
                  </a:lnTo>
                  <a:lnTo>
                    <a:pt x="454" y="560"/>
                  </a:lnTo>
                  <a:lnTo>
                    <a:pt x="456" y="560"/>
                  </a:lnTo>
                  <a:lnTo>
                    <a:pt x="454" y="560"/>
                  </a:lnTo>
                  <a:lnTo>
                    <a:pt x="454" y="560"/>
                  </a:lnTo>
                  <a:lnTo>
                    <a:pt x="456" y="566"/>
                  </a:lnTo>
                  <a:lnTo>
                    <a:pt x="456" y="566"/>
                  </a:lnTo>
                  <a:lnTo>
                    <a:pt x="460" y="564"/>
                  </a:lnTo>
                  <a:lnTo>
                    <a:pt x="460" y="564"/>
                  </a:lnTo>
                  <a:lnTo>
                    <a:pt x="458" y="558"/>
                  </a:lnTo>
                  <a:lnTo>
                    <a:pt x="458" y="554"/>
                  </a:lnTo>
                  <a:lnTo>
                    <a:pt x="460" y="544"/>
                  </a:lnTo>
                  <a:lnTo>
                    <a:pt x="460" y="544"/>
                  </a:lnTo>
                  <a:lnTo>
                    <a:pt x="462" y="544"/>
                  </a:lnTo>
                  <a:lnTo>
                    <a:pt x="464" y="544"/>
                  </a:lnTo>
                  <a:lnTo>
                    <a:pt x="464" y="544"/>
                  </a:lnTo>
                  <a:lnTo>
                    <a:pt x="464" y="536"/>
                  </a:lnTo>
                  <a:lnTo>
                    <a:pt x="464" y="530"/>
                  </a:lnTo>
                  <a:lnTo>
                    <a:pt x="460" y="518"/>
                  </a:lnTo>
                  <a:lnTo>
                    <a:pt x="460" y="518"/>
                  </a:lnTo>
                  <a:lnTo>
                    <a:pt x="452" y="524"/>
                  </a:lnTo>
                  <a:lnTo>
                    <a:pt x="452" y="524"/>
                  </a:lnTo>
                  <a:lnTo>
                    <a:pt x="450" y="526"/>
                  </a:lnTo>
                  <a:lnTo>
                    <a:pt x="450" y="526"/>
                  </a:lnTo>
                  <a:lnTo>
                    <a:pt x="444" y="526"/>
                  </a:lnTo>
                  <a:lnTo>
                    <a:pt x="438" y="524"/>
                  </a:lnTo>
                  <a:lnTo>
                    <a:pt x="426" y="518"/>
                  </a:lnTo>
                  <a:lnTo>
                    <a:pt x="426" y="518"/>
                  </a:lnTo>
                  <a:lnTo>
                    <a:pt x="424" y="520"/>
                  </a:lnTo>
                  <a:lnTo>
                    <a:pt x="422" y="520"/>
                  </a:lnTo>
                  <a:lnTo>
                    <a:pt x="422" y="520"/>
                  </a:lnTo>
                  <a:lnTo>
                    <a:pt x="418" y="516"/>
                  </a:lnTo>
                  <a:lnTo>
                    <a:pt x="418" y="516"/>
                  </a:lnTo>
                  <a:lnTo>
                    <a:pt x="416" y="516"/>
                  </a:lnTo>
                  <a:lnTo>
                    <a:pt x="416" y="51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0" name="Freeform 259"/>
            <p:cNvSpPr>
              <a:spLocks noChangeAspect="1"/>
            </p:cNvSpPr>
            <p:nvPr/>
          </p:nvSpPr>
          <p:spPr bwMode="gray">
            <a:xfrm>
              <a:off x="5277110" y="3253102"/>
              <a:ext cx="78390" cy="72379"/>
            </a:xfrm>
            <a:custGeom>
              <a:avLst/>
              <a:gdLst/>
              <a:ahLst/>
              <a:cxnLst>
                <a:cxn ang="0">
                  <a:pos x="4" y="0"/>
                </a:cxn>
                <a:cxn ang="0">
                  <a:pos x="6" y="8"/>
                </a:cxn>
                <a:cxn ang="0">
                  <a:pos x="4" y="10"/>
                </a:cxn>
                <a:cxn ang="0">
                  <a:pos x="0" y="16"/>
                </a:cxn>
                <a:cxn ang="0">
                  <a:pos x="0" y="18"/>
                </a:cxn>
                <a:cxn ang="0">
                  <a:pos x="6" y="22"/>
                </a:cxn>
                <a:cxn ang="0">
                  <a:pos x="14" y="24"/>
                </a:cxn>
                <a:cxn ang="0">
                  <a:pos x="20" y="30"/>
                </a:cxn>
                <a:cxn ang="0">
                  <a:pos x="20" y="32"/>
                </a:cxn>
                <a:cxn ang="0">
                  <a:pos x="24" y="32"/>
                </a:cxn>
                <a:cxn ang="0">
                  <a:pos x="30" y="32"/>
                </a:cxn>
                <a:cxn ang="0">
                  <a:pos x="34" y="38"/>
                </a:cxn>
                <a:cxn ang="0">
                  <a:pos x="38" y="42"/>
                </a:cxn>
                <a:cxn ang="0">
                  <a:pos x="38" y="44"/>
                </a:cxn>
                <a:cxn ang="0">
                  <a:pos x="42" y="42"/>
                </a:cxn>
                <a:cxn ang="0">
                  <a:pos x="46" y="38"/>
                </a:cxn>
                <a:cxn ang="0">
                  <a:pos x="44" y="30"/>
                </a:cxn>
                <a:cxn ang="0">
                  <a:pos x="44" y="30"/>
                </a:cxn>
                <a:cxn ang="0">
                  <a:pos x="40" y="30"/>
                </a:cxn>
                <a:cxn ang="0">
                  <a:pos x="36" y="26"/>
                </a:cxn>
                <a:cxn ang="0">
                  <a:pos x="38" y="22"/>
                </a:cxn>
                <a:cxn ang="0">
                  <a:pos x="36" y="18"/>
                </a:cxn>
                <a:cxn ang="0">
                  <a:pos x="28" y="14"/>
                </a:cxn>
                <a:cxn ang="0">
                  <a:pos x="32" y="12"/>
                </a:cxn>
                <a:cxn ang="0">
                  <a:pos x="32" y="8"/>
                </a:cxn>
                <a:cxn ang="0">
                  <a:pos x="28" y="6"/>
                </a:cxn>
                <a:cxn ang="0">
                  <a:pos x="26" y="4"/>
                </a:cxn>
                <a:cxn ang="0">
                  <a:pos x="26" y="6"/>
                </a:cxn>
                <a:cxn ang="0">
                  <a:pos x="22" y="4"/>
                </a:cxn>
                <a:cxn ang="0">
                  <a:pos x="22" y="0"/>
                </a:cxn>
                <a:cxn ang="0">
                  <a:pos x="14" y="0"/>
                </a:cxn>
                <a:cxn ang="0">
                  <a:pos x="4" y="0"/>
                </a:cxn>
              </a:cxnLst>
              <a:rect l="0" t="0" r="r" b="b"/>
              <a:pathLst>
                <a:path w="46" h="44">
                  <a:moveTo>
                    <a:pt x="4" y="0"/>
                  </a:moveTo>
                  <a:lnTo>
                    <a:pt x="4" y="0"/>
                  </a:lnTo>
                  <a:lnTo>
                    <a:pt x="4" y="4"/>
                  </a:lnTo>
                  <a:lnTo>
                    <a:pt x="6" y="8"/>
                  </a:lnTo>
                  <a:lnTo>
                    <a:pt x="4" y="10"/>
                  </a:lnTo>
                  <a:lnTo>
                    <a:pt x="4" y="10"/>
                  </a:lnTo>
                  <a:lnTo>
                    <a:pt x="2" y="12"/>
                  </a:lnTo>
                  <a:lnTo>
                    <a:pt x="0" y="16"/>
                  </a:lnTo>
                  <a:lnTo>
                    <a:pt x="0" y="16"/>
                  </a:lnTo>
                  <a:lnTo>
                    <a:pt x="0" y="18"/>
                  </a:lnTo>
                  <a:lnTo>
                    <a:pt x="2" y="20"/>
                  </a:lnTo>
                  <a:lnTo>
                    <a:pt x="6" y="22"/>
                  </a:lnTo>
                  <a:lnTo>
                    <a:pt x="14" y="24"/>
                  </a:lnTo>
                  <a:lnTo>
                    <a:pt x="14" y="24"/>
                  </a:lnTo>
                  <a:lnTo>
                    <a:pt x="18" y="26"/>
                  </a:lnTo>
                  <a:lnTo>
                    <a:pt x="20" y="30"/>
                  </a:lnTo>
                  <a:lnTo>
                    <a:pt x="20" y="32"/>
                  </a:lnTo>
                  <a:lnTo>
                    <a:pt x="20" y="32"/>
                  </a:lnTo>
                  <a:lnTo>
                    <a:pt x="24" y="32"/>
                  </a:lnTo>
                  <a:lnTo>
                    <a:pt x="24" y="32"/>
                  </a:lnTo>
                  <a:lnTo>
                    <a:pt x="28" y="32"/>
                  </a:lnTo>
                  <a:lnTo>
                    <a:pt x="30" y="32"/>
                  </a:lnTo>
                  <a:lnTo>
                    <a:pt x="30" y="32"/>
                  </a:lnTo>
                  <a:lnTo>
                    <a:pt x="34" y="38"/>
                  </a:lnTo>
                  <a:lnTo>
                    <a:pt x="34" y="38"/>
                  </a:lnTo>
                  <a:lnTo>
                    <a:pt x="38" y="42"/>
                  </a:lnTo>
                  <a:lnTo>
                    <a:pt x="38" y="44"/>
                  </a:lnTo>
                  <a:lnTo>
                    <a:pt x="38" y="44"/>
                  </a:lnTo>
                  <a:lnTo>
                    <a:pt x="42" y="42"/>
                  </a:lnTo>
                  <a:lnTo>
                    <a:pt x="42" y="42"/>
                  </a:lnTo>
                  <a:lnTo>
                    <a:pt x="46" y="38"/>
                  </a:lnTo>
                  <a:lnTo>
                    <a:pt x="46" y="38"/>
                  </a:lnTo>
                  <a:lnTo>
                    <a:pt x="46" y="36"/>
                  </a:lnTo>
                  <a:lnTo>
                    <a:pt x="44" y="30"/>
                  </a:lnTo>
                  <a:lnTo>
                    <a:pt x="44" y="30"/>
                  </a:lnTo>
                  <a:lnTo>
                    <a:pt x="44" y="30"/>
                  </a:lnTo>
                  <a:lnTo>
                    <a:pt x="44" y="30"/>
                  </a:lnTo>
                  <a:lnTo>
                    <a:pt x="40" y="30"/>
                  </a:lnTo>
                  <a:lnTo>
                    <a:pt x="40" y="30"/>
                  </a:lnTo>
                  <a:lnTo>
                    <a:pt x="36" y="26"/>
                  </a:lnTo>
                  <a:lnTo>
                    <a:pt x="36" y="24"/>
                  </a:lnTo>
                  <a:lnTo>
                    <a:pt x="38" y="22"/>
                  </a:lnTo>
                  <a:lnTo>
                    <a:pt x="38" y="22"/>
                  </a:lnTo>
                  <a:lnTo>
                    <a:pt x="36" y="18"/>
                  </a:lnTo>
                  <a:lnTo>
                    <a:pt x="36" y="18"/>
                  </a:lnTo>
                  <a:lnTo>
                    <a:pt x="28" y="14"/>
                  </a:lnTo>
                  <a:lnTo>
                    <a:pt x="28" y="14"/>
                  </a:lnTo>
                  <a:lnTo>
                    <a:pt x="32" y="12"/>
                  </a:lnTo>
                  <a:lnTo>
                    <a:pt x="32" y="10"/>
                  </a:lnTo>
                  <a:lnTo>
                    <a:pt x="32" y="8"/>
                  </a:lnTo>
                  <a:lnTo>
                    <a:pt x="32" y="8"/>
                  </a:lnTo>
                  <a:lnTo>
                    <a:pt x="28" y="6"/>
                  </a:lnTo>
                  <a:lnTo>
                    <a:pt x="28" y="4"/>
                  </a:lnTo>
                  <a:lnTo>
                    <a:pt x="26" y="4"/>
                  </a:lnTo>
                  <a:lnTo>
                    <a:pt x="26" y="4"/>
                  </a:lnTo>
                  <a:lnTo>
                    <a:pt x="26" y="6"/>
                  </a:lnTo>
                  <a:lnTo>
                    <a:pt x="24" y="6"/>
                  </a:lnTo>
                  <a:lnTo>
                    <a:pt x="22" y="4"/>
                  </a:lnTo>
                  <a:lnTo>
                    <a:pt x="22" y="0"/>
                  </a:lnTo>
                  <a:lnTo>
                    <a:pt x="22" y="0"/>
                  </a:lnTo>
                  <a:lnTo>
                    <a:pt x="14" y="0"/>
                  </a:lnTo>
                  <a:lnTo>
                    <a:pt x="14" y="0"/>
                  </a:lnTo>
                  <a:lnTo>
                    <a:pt x="4" y="0"/>
                  </a:lnTo>
                  <a:lnTo>
                    <a:pt x="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1" name="Freeform 260"/>
            <p:cNvSpPr>
              <a:spLocks noChangeAspect="1" noEditPoints="1"/>
            </p:cNvSpPr>
            <p:nvPr/>
          </p:nvSpPr>
          <p:spPr bwMode="gray">
            <a:xfrm>
              <a:off x="2611834" y="5026379"/>
              <a:ext cx="442122" cy="1023171"/>
            </a:xfrm>
            <a:custGeom>
              <a:avLst/>
              <a:gdLst/>
              <a:ahLst/>
              <a:cxnLst>
                <a:cxn ang="0">
                  <a:pos x="116" y="10"/>
                </a:cxn>
                <a:cxn ang="0">
                  <a:pos x="80" y="16"/>
                </a:cxn>
                <a:cxn ang="0">
                  <a:pos x="76" y="40"/>
                </a:cxn>
                <a:cxn ang="0">
                  <a:pos x="70" y="74"/>
                </a:cxn>
                <a:cxn ang="0">
                  <a:pos x="62" y="102"/>
                </a:cxn>
                <a:cxn ang="0">
                  <a:pos x="50" y="148"/>
                </a:cxn>
                <a:cxn ang="0">
                  <a:pos x="46" y="192"/>
                </a:cxn>
                <a:cxn ang="0">
                  <a:pos x="38" y="236"/>
                </a:cxn>
                <a:cxn ang="0">
                  <a:pos x="32" y="258"/>
                </a:cxn>
                <a:cxn ang="0">
                  <a:pos x="30" y="292"/>
                </a:cxn>
                <a:cxn ang="0">
                  <a:pos x="16" y="326"/>
                </a:cxn>
                <a:cxn ang="0">
                  <a:pos x="18" y="352"/>
                </a:cxn>
                <a:cxn ang="0">
                  <a:pos x="20" y="388"/>
                </a:cxn>
                <a:cxn ang="0">
                  <a:pos x="24" y="412"/>
                </a:cxn>
                <a:cxn ang="0">
                  <a:pos x="18" y="432"/>
                </a:cxn>
                <a:cxn ang="0">
                  <a:pos x="18" y="462"/>
                </a:cxn>
                <a:cxn ang="0">
                  <a:pos x="14" y="488"/>
                </a:cxn>
                <a:cxn ang="0">
                  <a:pos x="0" y="518"/>
                </a:cxn>
                <a:cxn ang="0">
                  <a:pos x="10" y="530"/>
                </a:cxn>
                <a:cxn ang="0">
                  <a:pos x="22" y="564"/>
                </a:cxn>
                <a:cxn ang="0">
                  <a:pos x="56" y="554"/>
                </a:cxn>
                <a:cxn ang="0">
                  <a:pos x="58" y="534"/>
                </a:cxn>
                <a:cxn ang="0">
                  <a:pos x="58" y="520"/>
                </a:cxn>
                <a:cxn ang="0">
                  <a:pos x="76" y="520"/>
                </a:cxn>
                <a:cxn ang="0">
                  <a:pos x="82" y="500"/>
                </a:cxn>
                <a:cxn ang="0">
                  <a:pos x="102" y="482"/>
                </a:cxn>
                <a:cxn ang="0">
                  <a:pos x="92" y="464"/>
                </a:cxn>
                <a:cxn ang="0">
                  <a:pos x="74" y="444"/>
                </a:cxn>
                <a:cxn ang="0">
                  <a:pos x="104" y="424"/>
                </a:cxn>
                <a:cxn ang="0">
                  <a:pos x="108" y="402"/>
                </a:cxn>
                <a:cxn ang="0">
                  <a:pos x="112" y="378"/>
                </a:cxn>
                <a:cxn ang="0">
                  <a:pos x="124" y="382"/>
                </a:cxn>
                <a:cxn ang="0">
                  <a:pos x="124" y="368"/>
                </a:cxn>
                <a:cxn ang="0">
                  <a:pos x="114" y="358"/>
                </a:cxn>
                <a:cxn ang="0">
                  <a:pos x="112" y="344"/>
                </a:cxn>
                <a:cxn ang="0">
                  <a:pos x="132" y="352"/>
                </a:cxn>
                <a:cxn ang="0">
                  <a:pos x="148" y="336"/>
                </a:cxn>
                <a:cxn ang="0">
                  <a:pos x="144" y="310"/>
                </a:cxn>
                <a:cxn ang="0">
                  <a:pos x="152" y="306"/>
                </a:cxn>
                <a:cxn ang="0">
                  <a:pos x="188" y="300"/>
                </a:cxn>
                <a:cxn ang="0">
                  <a:pos x="222" y="258"/>
                </a:cxn>
                <a:cxn ang="0">
                  <a:pos x="210" y="250"/>
                </a:cxn>
                <a:cxn ang="0">
                  <a:pos x="200" y="230"/>
                </a:cxn>
                <a:cxn ang="0">
                  <a:pos x="194" y="212"/>
                </a:cxn>
                <a:cxn ang="0">
                  <a:pos x="202" y="180"/>
                </a:cxn>
                <a:cxn ang="0">
                  <a:pos x="208" y="154"/>
                </a:cxn>
                <a:cxn ang="0">
                  <a:pos x="222" y="124"/>
                </a:cxn>
                <a:cxn ang="0">
                  <a:pos x="244" y="102"/>
                </a:cxn>
                <a:cxn ang="0">
                  <a:pos x="260" y="92"/>
                </a:cxn>
                <a:cxn ang="0">
                  <a:pos x="252" y="68"/>
                </a:cxn>
                <a:cxn ang="0">
                  <a:pos x="244" y="86"/>
                </a:cxn>
                <a:cxn ang="0">
                  <a:pos x="216" y="96"/>
                </a:cxn>
                <a:cxn ang="0">
                  <a:pos x="194" y="94"/>
                </a:cxn>
                <a:cxn ang="0">
                  <a:pos x="204" y="60"/>
                </a:cxn>
                <a:cxn ang="0">
                  <a:pos x="180" y="42"/>
                </a:cxn>
                <a:cxn ang="0">
                  <a:pos x="162" y="20"/>
                </a:cxn>
                <a:cxn ang="0">
                  <a:pos x="80" y="620"/>
                </a:cxn>
                <a:cxn ang="0">
                  <a:pos x="102" y="620"/>
                </a:cxn>
                <a:cxn ang="0">
                  <a:pos x="80" y="606"/>
                </a:cxn>
                <a:cxn ang="0">
                  <a:pos x="62" y="586"/>
                </a:cxn>
                <a:cxn ang="0">
                  <a:pos x="60" y="574"/>
                </a:cxn>
              </a:cxnLst>
              <a:rect l="0" t="0" r="r" b="b"/>
              <a:pathLst>
                <a:path w="260" h="622">
                  <a:moveTo>
                    <a:pt x="144" y="2"/>
                  </a:moveTo>
                  <a:lnTo>
                    <a:pt x="126" y="2"/>
                  </a:lnTo>
                  <a:lnTo>
                    <a:pt x="126" y="2"/>
                  </a:lnTo>
                  <a:lnTo>
                    <a:pt x="124" y="0"/>
                  </a:lnTo>
                  <a:lnTo>
                    <a:pt x="122" y="2"/>
                  </a:lnTo>
                  <a:lnTo>
                    <a:pt x="120" y="4"/>
                  </a:lnTo>
                  <a:lnTo>
                    <a:pt x="120" y="4"/>
                  </a:lnTo>
                  <a:lnTo>
                    <a:pt x="116" y="12"/>
                  </a:lnTo>
                  <a:lnTo>
                    <a:pt x="116" y="12"/>
                  </a:lnTo>
                  <a:lnTo>
                    <a:pt x="116" y="10"/>
                  </a:lnTo>
                  <a:lnTo>
                    <a:pt x="116" y="10"/>
                  </a:lnTo>
                  <a:lnTo>
                    <a:pt x="110" y="2"/>
                  </a:lnTo>
                  <a:lnTo>
                    <a:pt x="102" y="2"/>
                  </a:lnTo>
                  <a:lnTo>
                    <a:pt x="102" y="2"/>
                  </a:lnTo>
                  <a:lnTo>
                    <a:pt x="94" y="2"/>
                  </a:lnTo>
                  <a:lnTo>
                    <a:pt x="90" y="0"/>
                  </a:lnTo>
                  <a:lnTo>
                    <a:pt x="80" y="8"/>
                  </a:lnTo>
                  <a:lnTo>
                    <a:pt x="80" y="8"/>
                  </a:lnTo>
                  <a:lnTo>
                    <a:pt x="80" y="12"/>
                  </a:lnTo>
                  <a:lnTo>
                    <a:pt x="80" y="16"/>
                  </a:lnTo>
                  <a:lnTo>
                    <a:pt x="82" y="18"/>
                  </a:lnTo>
                  <a:lnTo>
                    <a:pt x="82" y="18"/>
                  </a:lnTo>
                  <a:lnTo>
                    <a:pt x="86" y="22"/>
                  </a:lnTo>
                  <a:lnTo>
                    <a:pt x="86" y="24"/>
                  </a:lnTo>
                  <a:lnTo>
                    <a:pt x="84" y="32"/>
                  </a:lnTo>
                  <a:lnTo>
                    <a:pt x="84" y="32"/>
                  </a:lnTo>
                  <a:lnTo>
                    <a:pt x="84" y="36"/>
                  </a:lnTo>
                  <a:lnTo>
                    <a:pt x="80" y="36"/>
                  </a:lnTo>
                  <a:lnTo>
                    <a:pt x="78" y="38"/>
                  </a:lnTo>
                  <a:lnTo>
                    <a:pt x="76" y="40"/>
                  </a:lnTo>
                  <a:lnTo>
                    <a:pt x="76" y="40"/>
                  </a:lnTo>
                  <a:lnTo>
                    <a:pt x="74" y="44"/>
                  </a:lnTo>
                  <a:lnTo>
                    <a:pt x="70" y="46"/>
                  </a:lnTo>
                  <a:lnTo>
                    <a:pt x="68" y="46"/>
                  </a:lnTo>
                  <a:lnTo>
                    <a:pt x="66" y="48"/>
                  </a:lnTo>
                  <a:lnTo>
                    <a:pt x="66" y="48"/>
                  </a:lnTo>
                  <a:lnTo>
                    <a:pt x="66" y="64"/>
                  </a:lnTo>
                  <a:lnTo>
                    <a:pt x="66" y="64"/>
                  </a:lnTo>
                  <a:lnTo>
                    <a:pt x="70" y="72"/>
                  </a:lnTo>
                  <a:lnTo>
                    <a:pt x="70" y="74"/>
                  </a:lnTo>
                  <a:lnTo>
                    <a:pt x="68" y="76"/>
                  </a:lnTo>
                  <a:lnTo>
                    <a:pt x="68" y="76"/>
                  </a:lnTo>
                  <a:lnTo>
                    <a:pt x="66" y="78"/>
                  </a:lnTo>
                  <a:lnTo>
                    <a:pt x="66" y="80"/>
                  </a:lnTo>
                  <a:lnTo>
                    <a:pt x="68" y="84"/>
                  </a:lnTo>
                  <a:lnTo>
                    <a:pt x="68" y="84"/>
                  </a:lnTo>
                  <a:lnTo>
                    <a:pt x="68" y="90"/>
                  </a:lnTo>
                  <a:lnTo>
                    <a:pt x="66" y="96"/>
                  </a:lnTo>
                  <a:lnTo>
                    <a:pt x="66" y="96"/>
                  </a:lnTo>
                  <a:lnTo>
                    <a:pt x="62" y="102"/>
                  </a:lnTo>
                  <a:lnTo>
                    <a:pt x="60" y="108"/>
                  </a:lnTo>
                  <a:lnTo>
                    <a:pt x="60" y="108"/>
                  </a:lnTo>
                  <a:lnTo>
                    <a:pt x="58" y="112"/>
                  </a:lnTo>
                  <a:lnTo>
                    <a:pt x="56" y="114"/>
                  </a:lnTo>
                  <a:lnTo>
                    <a:pt x="54" y="116"/>
                  </a:lnTo>
                  <a:lnTo>
                    <a:pt x="52" y="122"/>
                  </a:lnTo>
                  <a:lnTo>
                    <a:pt x="52" y="122"/>
                  </a:lnTo>
                  <a:lnTo>
                    <a:pt x="50" y="140"/>
                  </a:lnTo>
                  <a:lnTo>
                    <a:pt x="50" y="140"/>
                  </a:lnTo>
                  <a:lnTo>
                    <a:pt x="50" y="148"/>
                  </a:lnTo>
                  <a:lnTo>
                    <a:pt x="50" y="154"/>
                  </a:lnTo>
                  <a:lnTo>
                    <a:pt x="50" y="154"/>
                  </a:lnTo>
                  <a:lnTo>
                    <a:pt x="48" y="158"/>
                  </a:lnTo>
                  <a:lnTo>
                    <a:pt x="46" y="166"/>
                  </a:lnTo>
                  <a:lnTo>
                    <a:pt x="46" y="166"/>
                  </a:lnTo>
                  <a:lnTo>
                    <a:pt x="46" y="174"/>
                  </a:lnTo>
                  <a:lnTo>
                    <a:pt x="46" y="180"/>
                  </a:lnTo>
                  <a:lnTo>
                    <a:pt x="46" y="180"/>
                  </a:lnTo>
                  <a:lnTo>
                    <a:pt x="46" y="188"/>
                  </a:lnTo>
                  <a:lnTo>
                    <a:pt x="46" y="192"/>
                  </a:lnTo>
                  <a:lnTo>
                    <a:pt x="46" y="192"/>
                  </a:lnTo>
                  <a:lnTo>
                    <a:pt x="42" y="198"/>
                  </a:lnTo>
                  <a:lnTo>
                    <a:pt x="44" y="204"/>
                  </a:lnTo>
                  <a:lnTo>
                    <a:pt x="44" y="204"/>
                  </a:lnTo>
                  <a:lnTo>
                    <a:pt x="44" y="210"/>
                  </a:lnTo>
                  <a:lnTo>
                    <a:pt x="44" y="216"/>
                  </a:lnTo>
                  <a:lnTo>
                    <a:pt x="44" y="216"/>
                  </a:lnTo>
                  <a:lnTo>
                    <a:pt x="42" y="226"/>
                  </a:lnTo>
                  <a:lnTo>
                    <a:pt x="38" y="236"/>
                  </a:lnTo>
                  <a:lnTo>
                    <a:pt x="38" y="236"/>
                  </a:lnTo>
                  <a:lnTo>
                    <a:pt x="36" y="242"/>
                  </a:lnTo>
                  <a:lnTo>
                    <a:pt x="38" y="246"/>
                  </a:lnTo>
                  <a:lnTo>
                    <a:pt x="38" y="246"/>
                  </a:lnTo>
                  <a:lnTo>
                    <a:pt x="38" y="252"/>
                  </a:lnTo>
                  <a:lnTo>
                    <a:pt x="38" y="256"/>
                  </a:lnTo>
                  <a:lnTo>
                    <a:pt x="38" y="256"/>
                  </a:lnTo>
                  <a:lnTo>
                    <a:pt x="36" y="258"/>
                  </a:lnTo>
                  <a:lnTo>
                    <a:pt x="34" y="258"/>
                  </a:lnTo>
                  <a:lnTo>
                    <a:pt x="32" y="258"/>
                  </a:lnTo>
                  <a:lnTo>
                    <a:pt x="32" y="258"/>
                  </a:lnTo>
                  <a:lnTo>
                    <a:pt x="30" y="262"/>
                  </a:lnTo>
                  <a:lnTo>
                    <a:pt x="28" y="264"/>
                  </a:lnTo>
                  <a:lnTo>
                    <a:pt x="26" y="268"/>
                  </a:lnTo>
                  <a:lnTo>
                    <a:pt x="26" y="268"/>
                  </a:lnTo>
                  <a:lnTo>
                    <a:pt x="26" y="274"/>
                  </a:lnTo>
                  <a:lnTo>
                    <a:pt x="26" y="282"/>
                  </a:lnTo>
                  <a:lnTo>
                    <a:pt x="26" y="282"/>
                  </a:lnTo>
                  <a:lnTo>
                    <a:pt x="26" y="284"/>
                  </a:lnTo>
                  <a:lnTo>
                    <a:pt x="28" y="286"/>
                  </a:lnTo>
                  <a:lnTo>
                    <a:pt x="30" y="292"/>
                  </a:lnTo>
                  <a:lnTo>
                    <a:pt x="30" y="292"/>
                  </a:lnTo>
                  <a:lnTo>
                    <a:pt x="28" y="294"/>
                  </a:lnTo>
                  <a:lnTo>
                    <a:pt x="28" y="294"/>
                  </a:lnTo>
                  <a:lnTo>
                    <a:pt x="26" y="296"/>
                  </a:lnTo>
                  <a:lnTo>
                    <a:pt x="26" y="296"/>
                  </a:lnTo>
                  <a:lnTo>
                    <a:pt x="22" y="306"/>
                  </a:lnTo>
                  <a:lnTo>
                    <a:pt x="20" y="316"/>
                  </a:lnTo>
                  <a:lnTo>
                    <a:pt x="20" y="316"/>
                  </a:lnTo>
                  <a:lnTo>
                    <a:pt x="20" y="322"/>
                  </a:lnTo>
                  <a:lnTo>
                    <a:pt x="16" y="326"/>
                  </a:lnTo>
                  <a:lnTo>
                    <a:pt x="16" y="326"/>
                  </a:lnTo>
                  <a:lnTo>
                    <a:pt x="14" y="330"/>
                  </a:lnTo>
                  <a:lnTo>
                    <a:pt x="16" y="332"/>
                  </a:lnTo>
                  <a:lnTo>
                    <a:pt x="16" y="336"/>
                  </a:lnTo>
                  <a:lnTo>
                    <a:pt x="18" y="340"/>
                  </a:lnTo>
                  <a:lnTo>
                    <a:pt x="18" y="340"/>
                  </a:lnTo>
                  <a:lnTo>
                    <a:pt x="16" y="346"/>
                  </a:lnTo>
                  <a:lnTo>
                    <a:pt x="16" y="350"/>
                  </a:lnTo>
                  <a:lnTo>
                    <a:pt x="18" y="352"/>
                  </a:lnTo>
                  <a:lnTo>
                    <a:pt x="18" y="352"/>
                  </a:lnTo>
                  <a:lnTo>
                    <a:pt x="22" y="352"/>
                  </a:lnTo>
                  <a:lnTo>
                    <a:pt x="22" y="356"/>
                  </a:lnTo>
                  <a:lnTo>
                    <a:pt x="22" y="356"/>
                  </a:lnTo>
                  <a:lnTo>
                    <a:pt x="22" y="368"/>
                  </a:lnTo>
                  <a:lnTo>
                    <a:pt x="22" y="368"/>
                  </a:lnTo>
                  <a:lnTo>
                    <a:pt x="18" y="376"/>
                  </a:lnTo>
                  <a:lnTo>
                    <a:pt x="18" y="380"/>
                  </a:lnTo>
                  <a:lnTo>
                    <a:pt x="18" y="382"/>
                  </a:lnTo>
                  <a:lnTo>
                    <a:pt x="18" y="382"/>
                  </a:lnTo>
                  <a:lnTo>
                    <a:pt x="20" y="388"/>
                  </a:lnTo>
                  <a:lnTo>
                    <a:pt x="22" y="390"/>
                  </a:lnTo>
                  <a:lnTo>
                    <a:pt x="22" y="392"/>
                  </a:lnTo>
                  <a:lnTo>
                    <a:pt x="22" y="392"/>
                  </a:lnTo>
                  <a:lnTo>
                    <a:pt x="22" y="396"/>
                  </a:lnTo>
                  <a:lnTo>
                    <a:pt x="22" y="402"/>
                  </a:lnTo>
                  <a:lnTo>
                    <a:pt x="22" y="402"/>
                  </a:lnTo>
                  <a:lnTo>
                    <a:pt x="24" y="408"/>
                  </a:lnTo>
                  <a:lnTo>
                    <a:pt x="24" y="410"/>
                  </a:lnTo>
                  <a:lnTo>
                    <a:pt x="24" y="412"/>
                  </a:lnTo>
                  <a:lnTo>
                    <a:pt x="24" y="412"/>
                  </a:lnTo>
                  <a:lnTo>
                    <a:pt x="22" y="416"/>
                  </a:lnTo>
                  <a:lnTo>
                    <a:pt x="22" y="420"/>
                  </a:lnTo>
                  <a:lnTo>
                    <a:pt x="22" y="420"/>
                  </a:lnTo>
                  <a:lnTo>
                    <a:pt x="24" y="424"/>
                  </a:lnTo>
                  <a:lnTo>
                    <a:pt x="24" y="424"/>
                  </a:lnTo>
                  <a:lnTo>
                    <a:pt x="22" y="426"/>
                  </a:lnTo>
                  <a:lnTo>
                    <a:pt x="22" y="426"/>
                  </a:lnTo>
                  <a:lnTo>
                    <a:pt x="20" y="426"/>
                  </a:lnTo>
                  <a:lnTo>
                    <a:pt x="20" y="428"/>
                  </a:lnTo>
                  <a:lnTo>
                    <a:pt x="18" y="432"/>
                  </a:lnTo>
                  <a:lnTo>
                    <a:pt x="18" y="432"/>
                  </a:lnTo>
                  <a:lnTo>
                    <a:pt x="18" y="432"/>
                  </a:lnTo>
                  <a:lnTo>
                    <a:pt x="18" y="434"/>
                  </a:lnTo>
                  <a:lnTo>
                    <a:pt x="20" y="440"/>
                  </a:lnTo>
                  <a:lnTo>
                    <a:pt x="20" y="440"/>
                  </a:lnTo>
                  <a:lnTo>
                    <a:pt x="20" y="444"/>
                  </a:lnTo>
                  <a:lnTo>
                    <a:pt x="20" y="450"/>
                  </a:lnTo>
                  <a:lnTo>
                    <a:pt x="20" y="450"/>
                  </a:lnTo>
                  <a:lnTo>
                    <a:pt x="18" y="456"/>
                  </a:lnTo>
                  <a:lnTo>
                    <a:pt x="18" y="462"/>
                  </a:lnTo>
                  <a:lnTo>
                    <a:pt x="18" y="462"/>
                  </a:lnTo>
                  <a:lnTo>
                    <a:pt x="18" y="466"/>
                  </a:lnTo>
                  <a:lnTo>
                    <a:pt x="18" y="468"/>
                  </a:lnTo>
                  <a:lnTo>
                    <a:pt x="18" y="468"/>
                  </a:lnTo>
                  <a:lnTo>
                    <a:pt x="14" y="472"/>
                  </a:lnTo>
                  <a:lnTo>
                    <a:pt x="14" y="472"/>
                  </a:lnTo>
                  <a:lnTo>
                    <a:pt x="12" y="478"/>
                  </a:lnTo>
                  <a:lnTo>
                    <a:pt x="12" y="482"/>
                  </a:lnTo>
                  <a:lnTo>
                    <a:pt x="12" y="482"/>
                  </a:lnTo>
                  <a:lnTo>
                    <a:pt x="14" y="488"/>
                  </a:lnTo>
                  <a:lnTo>
                    <a:pt x="10" y="492"/>
                  </a:lnTo>
                  <a:lnTo>
                    <a:pt x="10" y="492"/>
                  </a:lnTo>
                  <a:lnTo>
                    <a:pt x="4" y="496"/>
                  </a:lnTo>
                  <a:lnTo>
                    <a:pt x="2" y="498"/>
                  </a:lnTo>
                  <a:lnTo>
                    <a:pt x="2" y="500"/>
                  </a:lnTo>
                  <a:lnTo>
                    <a:pt x="2" y="500"/>
                  </a:lnTo>
                  <a:lnTo>
                    <a:pt x="4" y="508"/>
                  </a:lnTo>
                  <a:lnTo>
                    <a:pt x="2" y="512"/>
                  </a:lnTo>
                  <a:lnTo>
                    <a:pt x="2" y="512"/>
                  </a:lnTo>
                  <a:lnTo>
                    <a:pt x="0" y="518"/>
                  </a:lnTo>
                  <a:lnTo>
                    <a:pt x="0" y="524"/>
                  </a:lnTo>
                  <a:lnTo>
                    <a:pt x="0" y="524"/>
                  </a:lnTo>
                  <a:lnTo>
                    <a:pt x="0" y="530"/>
                  </a:lnTo>
                  <a:lnTo>
                    <a:pt x="0" y="532"/>
                  </a:lnTo>
                  <a:lnTo>
                    <a:pt x="2" y="532"/>
                  </a:lnTo>
                  <a:lnTo>
                    <a:pt x="2" y="532"/>
                  </a:lnTo>
                  <a:lnTo>
                    <a:pt x="4" y="532"/>
                  </a:lnTo>
                  <a:lnTo>
                    <a:pt x="6" y="530"/>
                  </a:lnTo>
                  <a:lnTo>
                    <a:pt x="8" y="530"/>
                  </a:lnTo>
                  <a:lnTo>
                    <a:pt x="10" y="530"/>
                  </a:lnTo>
                  <a:lnTo>
                    <a:pt x="10" y="530"/>
                  </a:lnTo>
                  <a:lnTo>
                    <a:pt x="12" y="536"/>
                  </a:lnTo>
                  <a:lnTo>
                    <a:pt x="10" y="540"/>
                  </a:lnTo>
                  <a:lnTo>
                    <a:pt x="10" y="540"/>
                  </a:lnTo>
                  <a:lnTo>
                    <a:pt x="8" y="542"/>
                  </a:lnTo>
                  <a:lnTo>
                    <a:pt x="8" y="544"/>
                  </a:lnTo>
                  <a:lnTo>
                    <a:pt x="10" y="550"/>
                  </a:lnTo>
                  <a:lnTo>
                    <a:pt x="10" y="550"/>
                  </a:lnTo>
                  <a:lnTo>
                    <a:pt x="18" y="558"/>
                  </a:lnTo>
                  <a:lnTo>
                    <a:pt x="22" y="564"/>
                  </a:lnTo>
                  <a:lnTo>
                    <a:pt x="22" y="564"/>
                  </a:lnTo>
                  <a:lnTo>
                    <a:pt x="40" y="562"/>
                  </a:lnTo>
                  <a:lnTo>
                    <a:pt x="40" y="562"/>
                  </a:lnTo>
                  <a:lnTo>
                    <a:pt x="64" y="564"/>
                  </a:lnTo>
                  <a:lnTo>
                    <a:pt x="64" y="564"/>
                  </a:lnTo>
                  <a:lnTo>
                    <a:pt x="60" y="556"/>
                  </a:lnTo>
                  <a:lnTo>
                    <a:pt x="60" y="556"/>
                  </a:lnTo>
                  <a:lnTo>
                    <a:pt x="52" y="556"/>
                  </a:lnTo>
                  <a:lnTo>
                    <a:pt x="52" y="556"/>
                  </a:lnTo>
                  <a:lnTo>
                    <a:pt x="56" y="554"/>
                  </a:lnTo>
                  <a:lnTo>
                    <a:pt x="56" y="552"/>
                  </a:lnTo>
                  <a:lnTo>
                    <a:pt x="54" y="544"/>
                  </a:lnTo>
                  <a:lnTo>
                    <a:pt x="54" y="544"/>
                  </a:lnTo>
                  <a:lnTo>
                    <a:pt x="52" y="546"/>
                  </a:lnTo>
                  <a:lnTo>
                    <a:pt x="52" y="544"/>
                  </a:lnTo>
                  <a:lnTo>
                    <a:pt x="52" y="544"/>
                  </a:lnTo>
                  <a:lnTo>
                    <a:pt x="56" y="542"/>
                  </a:lnTo>
                  <a:lnTo>
                    <a:pt x="56" y="542"/>
                  </a:lnTo>
                  <a:lnTo>
                    <a:pt x="56" y="536"/>
                  </a:lnTo>
                  <a:lnTo>
                    <a:pt x="58" y="534"/>
                  </a:lnTo>
                  <a:lnTo>
                    <a:pt x="60" y="534"/>
                  </a:lnTo>
                  <a:lnTo>
                    <a:pt x="60" y="532"/>
                  </a:lnTo>
                  <a:lnTo>
                    <a:pt x="60" y="532"/>
                  </a:lnTo>
                  <a:lnTo>
                    <a:pt x="64" y="532"/>
                  </a:lnTo>
                  <a:lnTo>
                    <a:pt x="64" y="532"/>
                  </a:lnTo>
                  <a:lnTo>
                    <a:pt x="64" y="528"/>
                  </a:lnTo>
                  <a:lnTo>
                    <a:pt x="64" y="528"/>
                  </a:lnTo>
                  <a:lnTo>
                    <a:pt x="58" y="524"/>
                  </a:lnTo>
                  <a:lnTo>
                    <a:pt x="58" y="524"/>
                  </a:lnTo>
                  <a:lnTo>
                    <a:pt x="58" y="520"/>
                  </a:lnTo>
                  <a:lnTo>
                    <a:pt x="58" y="520"/>
                  </a:lnTo>
                  <a:lnTo>
                    <a:pt x="60" y="518"/>
                  </a:lnTo>
                  <a:lnTo>
                    <a:pt x="60" y="518"/>
                  </a:lnTo>
                  <a:lnTo>
                    <a:pt x="64" y="520"/>
                  </a:lnTo>
                  <a:lnTo>
                    <a:pt x="64" y="520"/>
                  </a:lnTo>
                  <a:lnTo>
                    <a:pt x="66" y="526"/>
                  </a:lnTo>
                  <a:lnTo>
                    <a:pt x="66" y="526"/>
                  </a:lnTo>
                  <a:lnTo>
                    <a:pt x="72" y="524"/>
                  </a:lnTo>
                  <a:lnTo>
                    <a:pt x="76" y="520"/>
                  </a:lnTo>
                  <a:lnTo>
                    <a:pt x="76" y="520"/>
                  </a:lnTo>
                  <a:lnTo>
                    <a:pt x="76" y="516"/>
                  </a:lnTo>
                  <a:lnTo>
                    <a:pt x="76" y="514"/>
                  </a:lnTo>
                  <a:lnTo>
                    <a:pt x="76" y="512"/>
                  </a:lnTo>
                  <a:lnTo>
                    <a:pt x="76" y="512"/>
                  </a:lnTo>
                  <a:lnTo>
                    <a:pt x="74" y="512"/>
                  </a:lnTo>
                  <a:lnTo>
                    <a:pt x="72" y="512"/>
                  </a:lnTo>
                  <a:lnTo>
                    <a:pt x="72" y="510"/>
                  </a:lnTo>
                  <a:lnTo>
                    <a:pt x="72" y="510"/>
                  </a:lnTo>
                  <a:lnTo>
                    <a:pt x="76" y="506"/>
                  </a:lnTo>
                  <a:lnTo>
                    <a:pt x="82" y="500"/>
                  </a:lnTo>
                  <a:lnTo>
                    <a:pt x="82" y="500"/>
                  </a:lnTo>
                  <a:lnTo>
                    <a:pt x="82" y="496"/>
                  </a:lnTo>
                  <a:lnTo>
                    <a:pt x="82" y="496"/>
                  </a:lnTo>
                  <a:lnTo>
                    <a:pt x="86" y="496"/>
                  </a:lnTo>
                  <a:lnTo>
                    <a:pt x="86" y="496"/>
                  </a:lnTo>
                  <a:lnTo>
                    <a:pt x="90" y="490"/>
                  </a:lnTo>
                  <a:lnTo>
                    <a:pt x="90" y="490"/>
                  </a:lnTo>
                  <a:lnTo>
                    <a:pt x="92" y="490"/>
                  </a:lnTo>
                  <a:lnTo>
                    <a:pt x="92" y="490"/>
                  </a:lnTo>
                  <a:lnTo>
                    <a:pt x="102" y="482"/>
                  </a:lnTo>
                  <a:lnTo>
                    <a:pt x="102" y="482"/>
                  </a:lnTo>
                  <a:lnTo>
                    <a:pt x="96" y="478"/>
                  </a:lnTo>
                  <a:lnTo>
                    <a:pt x="96" y="478"/>
                  </a:lnTo>
                  <a:lnTo>
                    <a:pt x="96" y="478"/>
                  </a:lnTo>
                  <a:lnTo>
                    <a:pt x="98" y="476"/>
                  </a:lnTo>
                  <a:lnTo>
                    <a:pt x="98" y="472"/>
                  </a:lnTo>
                  <a:lnTo>
                    <a:pt x="98" y="466"/>
                  </a:lnTo>
                  <a:lnTo>
                    <a:pt x="98" y="466"/>
                  </a:lnTo>
                  <a:lnTo>
                    <a:pt x="96" y="464"/>
                  </a:lnTo>
                  <a:lnTo>
                    <a:pt x="92" y="464"/>
                  </a:lnTo>
                  <a:lnTo>
                    <a:pt x="86" y="464"/>
                  </a:lnTo>
                  <a:lnTo>
                    <a:pt x="86" y="464"/>
                  </a:lnTo>
                  <a:lnTo>
                    <a:pt x="84" y="458"/>
                  </a:lnTo>
                  <a:lnTo>
                    <a:pt x="84" y="458"/>
                  </a:lnTo>
                  <a:lnTo>
                    <a:pt x="80" y="456"/>
                  </a:lnTo>
                  <a:lnTo>
                    <a:pt x="80" y="456"/>
                  </a:lnTo>
                  <a:lnTo>
                    <a:pt x="78" y="454"/>
                  </a:lnTo>
                  <a:lnTo>
                    <a:pt x="76" y="450"/>
                  </a:lnTo>
                  <a:lnTo>
                    <a:pt x="76" y="450"/>
                  </a:lnTo>
                  <a:lnTo>
                    <a:pt x="74" y="444"/>
                  </a:lnTo>
                  <a:lnTo>
                    <a:pt x="78" y="440"/>
                  </a:lnTo>
                  <a:lnTo>
                    <a:pt x="80" y="440"/>
                  </a:lnTo>
                  <a:lnTo>
                    <a:pt x="80" y="440"/>
                  </a:lnTo>
                  <a:lnTo>
                    <a:pt x="80" y="436"/>
                  </a:lnTo>
                  <a:lnTo>
                    <a:pt x="80" y="436"/>
                  </a:lnTo>
                  <a:lnTo>
                    <a:pt x="86" y="432"/>
                  </a:lnTo>
                  <a:lnTo>
                    <a:pt x="86" y="432"/>
                  </a:lnTo>
                  <a:lnTo>
                    <a:pt x="92" y="424"/>
                  </a:lnTo>
                  <a:lnTo>
                    <a:pt x="96" y="424"/>
                  </a:lnTo>
                  <a:lnTo>
                    <a:pt x="104" y="424"/>
                  </a:lnTo>
                  <a:lnTo>
                    <a:pt x="104" y="424"/>
                  </a:lnTo>
                  <a:lnTo>
                    <a:pt x="104" y="418"/>
                  </a:lnTo>
                  <a:lnTo>
                    <a:pt x="104" y="418"/>
                  </a:lnTo>
                  <a:lnTo>
                    <a:pt x="102" y="418"/>
                  </a:lnTo>
                  <a:lnTo>
                    <a:pt x="102" y="414"/>
                  </a:lnTo>
                  <a:lnTo>
                    <a:pt x="108" y="410"/>
                  </a:lnTo>
                  <a:lnTo>
                    <a:pt x="108" y="410"/>
                  </a:lnTo>
                  <a:lnTo>
                    <a:pt x="108" y="404"/>
                  </a:lnTo>
                  <a:lnTo>
                    <a:pt x="108" y="402"/>
                  </a:lnTo>
                  <a:lnTo>
                    <a:pt x="108" y="402"/>
                  </a:lnTo>
                  <a:lnTo>
                    <a:pt x="110" y="392"/>
                  </a:lnTo>
                  <a:lnTo>
                    <a:pt x="112" y="386"/>
                  </a:lnTo>
                  <a:lnTo>
                    <a:pt x="114" y="384"/>
                  </a:lnTo>
                  <a:lnTo>
                    <a:pt x="114" y="384"/>
                  </a:lnTo>
                  <a:lnTo>
                    <a:pt x="120" y="382"/>
                  </a:lnTo>
                  <a:lnTo>
                    <a:pt x="120" y="382"/>
                  </a:lnTo>
                  <a:lnTo>
                    <a:pt x="120" y="378"/>
                  </a:lnTo>
                  <a:lnTo>
                    <a:pt x="120" y="378"/>
                  </a:lnTo>
                  <a:lnTo>
                    <a:pt x="112" y="378"/>
                  </a:lnTo>
                  <a:lnTo>
                    <a:pt x="112" y="378"/>
                  </a:lnTo>
                  <a:lnTo>
                    <a:pt x="112" y="378"/>
                  </a:lnTo>
                  <a:lnTo>
                    <a:pt x="112" y="378"/>
                  </a:lnTo>
                  <a:lnTo>
                    <a:pt x="112" y="378"/>
                  </a:lnTo>
                  <a:lnTo>
                    <a:pt x="116" y="376"/>
                  </a:lnTo>
                  <a:lnTo>
                    <a:pt x="122" y="376"/>
                  </a:lnTo>
                  <a:lnTo>
                    <a:pt x="122" y="376"/>
                  </a:lnTo>
                  <a:lnTo>
                    <a:pt x="124" y="378"/>
                  </a:lnTo>
                  <a:lnTo>
                    <a:pt x="124" y="378"/>
                  </a:lnTo>
                  <a:lnTo>
                    <a:pt x="124" y="382"/>
                  </a:lnTo>
                  <a:lnTo>
                    <a:pt x="124" y="382"/>
                  </a:lnTo>
                  <a:lnTo>
                    <a:pt x="128" y="380"/>
                  </a:lnTo>
                  <a:lnTo>
                    <a:pt x="130" y="378"/>
                  </a:lnTo>
                  <a:lnTo>
                    <a:pt x="132" y="376"/>
                  </a:lnTo>
                  <a:lnTo>
                    <a:pt x="132" y="376"/>
                  </a:lnTo>
                  <a:lnTo>
                    <a:pt x="132" y="372"/>
                  </a:lnTo>
                  <a:lnTo>
                    <a:pt x="132" y="372"/>
                  </a:lnTo>
                  <a:lnTo>
                    <a:pt x="130" y="370"/>
                  </a:lnTo>
                  <a:lnTo>
                    <a:pt x="130" y="368"/>
                  </a:lnTo>
                  <a:lnTo>
                    <a:pt x="130" y="368"/>
                  </a:lnTo>
                  <a:lnTo>
                    <a:pt x="124" y="368"/>
                  </a:lnTo>
                  <a:lnTo>
                    <a:pt x="124" y="368"/>
                  </a:lnTo>
                  <a:lnTo>
                    <a:pt x="124" y="372"/>
                  </a:lnTo>
                  <a:lnTo>
                    <a:pt x="124" y="372"/>
                  </a:lnTo>
                  <a:lnTo>
                    <a:pt x="122" y="372"/>
                  </a:lnTo>
                  <a:lnTo>
                    <a:pt x="122" y="372"/>
                  </a:lnTo>
                  <a:lnTo>
                    <a:pt x="116" y="368"/>
                  </a:lnTo>
                  <a:lnTo>
                    <a:pt x="116" y="368"/>
                  </a:lnTo>
                  <a:lnTo>
                    <a:pt x="114" y="368"/>
                  </a:lnTo>
                  <a:lnTo>
                    <a:pt x="114" y="368"/>
                  </a:lnTo>
                  <a:lnTo>
                    <a:pt x="114" y="358"/>
                  </a:lnTo>
                  <a:lnTo>
                    <a:pt x="114" y="358"/>
                  </a:lnTo>
                  <a:lnTo>
                    <a:pt x="108" y="358"/>
                  </a:lnTo>
                  <a:lnTo>
                    <a:pt x="108" y="358"/>
                  </a:lnTo>
                  <a:lnTo>
                    <a:pt x="108" y="356"/>
                  </a:lnTo>
                  <a:lnTo>
                    <a:pt x="108" y="354"/>
                  </a:lnTo>
                  <a:lnTo>
                    <a:pt x="108" y="354"/>
                  </a:lnTo>
                  <a:lnTo>
                    <a:pt x="110" y="352"/>
                  </a:lnTo>
                  <a:lnTo>
                    <a:pt x="110" y="350"/>
                  </a:lnTo>
                  <a:lnTo>
                    <a:pt x="112" y="344"/>
                  </a:lnTo>
                  <a:lnTo>
                    <a:pt x="112" y="344"/>
                  </a:lnTo>
                  <a:lnTo>
                    <a:pt x="114" y="342"/>
                  </a:lnTo>
                  <a:lnTo>
                    <a:pt x="116" y="342"/>
                  </a:lnTo>
                  <a:lnTo>
                    <a:pt x="116" y="342"/>
                  </a:lnTo>
                  <a:lnTo>
                    <a:pt x="116" y="344"/>
                  </a:lnTo>
                  <a:lnTo>
                    <a:pt x="116" y="344"/>
                  </a:lnTo>
                  <a:lnTo>
                    <a:pt x="120" y="344"/>
                  </a:lnTo>
                  <a:lnTo>
                    <a:pt x="120" y="344"/>
                  </a:lnTo>
                  <a:lnTo>
                    <a:pt x="124" y="350"/>
                  </a:lnTo>
                  <a:lnTo>
                    <a:pt x="126" y="352"/>
                  </a:lnTo>
                  <a:lnTo>
                    <a:pt x="132" y="352"/>
                  </a:lnTo>
                  <a:lnTo>
                    <a:pt x="132" y="352"/>
                  </a:lnTo>
                  <a:lnTo>
                    <a:pt x="136" y="350"/>
                  </a:lnTo>
                  <a:lnTo>
                    <a:pt x="140" y="348"/>
                  </a:lnTo>
                  <a:lnTo>
                    <a:pt x="140" y="348"/>
                  </a:lnTo>
                  <a:lnTo>
                    <a:pt x="140" y="346"/>
                  </a:lnTo>
                  <a:lnTo>
                    <a:pt x="140" y="346"/>
                  </a:lnTo>
                  <a:lnTo>
                    <a:pt x="144" y="344"/>
                  </a:lnTo>
                  <a:lnTo>
                    <a:pt x="146" y="342"/>
                  </a:lnTo>
                  <a:lnTo>
                    <a:pt x="146" y="342"/>
                  </a:lnTo>
                  <a:lnTo>
                    <a:pt x="148" y="336"/>
                  </a:lnTo>
                  <a:lnTo>
                    <a:pt x="146" y="332"/>
                  </a:lnTo>
                  <a:lnTo>
                    <a:pt x="146" y="326"/>
                  </a:lnTo>
                  <a:lnTo>
                    <a:pt x="146" y="322"/>
                  </a:lnTo>
                  <a:lnTo>
                    <a:pt x="148" y="322"/>
                  </a:lnTo>
                  <a:lnTo>
                    <a:pt x="148" y="322"/>
                  </a:lnTo>
                  <a:lnTo>
                    <a:pt x="150" y="314"/>
                  </a:lnTo>
                  <a:lnTo>
                    <a:pt x="150" y="314"/>
                  </a:lnTo>
                  <a:lnTo>
                    <a:pt x="146" y="314"/>
                  </a:lnTo>
                  <a:lnTo>
                    <a:pt x="144" y="310"/>
                  </a:lnTo>
                  <a:lnTo>
                    <a:pt x="144" y="310"/>
                  </a:lnTo>
                  <a:lnTo>
                    <a:pt x="144" y="306"/>
                  </a:lnTo>
                  <a:lnTo>
                    <a:pt x="144" y="306"/>
                  </a:lnTo>
                  <a:lnTo>
                    <a:pt x="144" y="304"/>
                  </a:lnTo>
                  <a:lnTo>
                    <a:pt x="146" y="304"/>
                  </a:lnTo>
                  <a:lnTo>
                    <a:pt x="148" y="304"/>
                  </a:lnTo>
                  <a:lnTo>
                    <a:pt x="152" y="310"/>
                  </a:lnTo>
                  <a:lnTo>
                    <a:pt x="152" y="310"/>
                  </a:lnTo>
                  <a:lnTo>
                    <a:pt x="154" y="308"/>
                  </a:lnTo>
                  <a:lnTo>
                    <a:pt x="154" y="308"/>
                  </a:lnTo>
                  <a:lnTo>
                    <a:pt x="152" y="306"/>
                  </a:lnTo>
                  <a:lnTo>
                    <a:pt x="152" y="306"/>
                  </a:lnTo>
                  <a:lnTo>
                    <a:pt x="156" y="306"/>
                  </a:lnTo>
                  <a:lnTo>
                    <a:pt x="156" y="306"/>
                  </a:lnTo>
                  <a:lnTo>
                    <a:pt x="166" y="304"/>
                  </a:lnTo>
                  <a:lnTo>
                    <a:pt x="166" y="304"/>
                  </a:lnTo>
                  <a:lnTo>
                    <a:pt x="178" y="304"/>
                  </a:lnTo>
                  <a:lnTo>
                    <a:pt x="178" y="304"/>
                  </a:lnTo>
                  <a:lnTo>
                    <a:pt x="188" y="302"/>
                  </a:lnTo>
                  <a:lnTo>
                    <a:pt x="188" y="302"/>
                  </a:lnTo>
                  <a:lnTo>
                    <a:pt x="188" y="300"/>
                  </a:lnTo>
                  <a:lnTo>
                    <a:pt x="188" y="300"/>
                  </a:lnTo>
                  <a:lnTo>
                    <a:pt x="196" y="298"/>
                  </a:lnTo>
                  <a:lnTo>
                    <a:pt x="202" y="296"/>
                  </a:lnTo>
                  <a:lnTo>
                    <a:pt x="202" y="296"/>
                  </a:lnTo>
                  <a:lnTo>
                    <a:pt x="208" y="290"/>
                  </a:lnTo>
                  <a:lnTo>
                    <a:pt x="214" y="280"/>
                  </a:lnTo>
                  <a:lnTo>
                    <a:pt x="220" y="270"/>
                  </a:lnTo>
                  <a:lnTo>
                    <a:pt x="222" y="260"/>
                  </a:lnTo>
                  <a:lnTo>
                    <a:pt x="222" y="260"/>
                  </a:lnTo>
                  <a:lnTo>
                    <a:pt x="222" y="258"/>
                  </a:lnTo>
                  <a:lnTo>
                    <a:pt x="222" y="258"/>
                  </a:lnTo>
                  <a:lnTo>
                    <a:pt x="218" y="258"/>
                  </a:lnTo>
                  <a:lnTo>
                    <a:pt x="214" y="256"/>
                  </a:lnTo>
                  <a:lnTo>
                    <a:pt x="214" y="256"/>
                  </a:lnTo>
                  <a:lnTo>
                    <a:pt x="214" y="256"/>
                  </a:lnTo>
                  <a:lnTo>
                    <a:pt x="214" y="254"/>
                  </a:lnTo>
                  <a:lnTo>
                    <a:pt x="214" y="254"/>
                  </a:lnTo>
                  <a:lnTo>
                    <a:pt x="212" y="254"/>
                  </a:lnTo>
                  <a:lnTo>
                    <a:pt x="212" y="254"/>
                  </a:lnTo>
                  <a:lnTo>
                    <a:pt x="210" y="250"/>
                  </a:lnTo>
                  <a:lnTo>
                    <a:pt x="210" y="246"/>
                  </a:lnTo>
                  <a:lnTo>
                    <a:pt x="210" y="246"/>
                  </a:lnTo>
                  <a:lnTo>
                    <a:pt x="214" y="244"/>
                  </a:lnTo>
                  <a:lnTo>
                    <a:pt x="214" y="244"/>
                  </a:lnTo>
                  <a:lnTo>
                    <a:pt x="214" y="242"/>
                  </a:lnTo>
                  <a:lnTo>
                    <a:pt x="214" y="242"/>
                  </a:lnTo>
                  <a:lnTo>
                    <a:pt x="208" y="234"/>
                  </a:lnTo>
                  <a:lnTo>
                    <a:pt x="208" y="234"/>
                  </a:lnTo>
                  <a:lnTo>
                    <a:pt x="204" y="232"/>
                  </a:lnTo>
                  <a:lnTo>
                    <a:pt x="200" y="230"/>
                  </a:lnTo>
                  <a:lnTo>
                    <a:pt x="200" y="230"/>
                  </a:lnTo>
                  <a:lnTo>
                    <a:pt x="200" y="226"/>
                  </a:lnTo>
                  <a:lnTo>
                    <a:pt x="198" y="224"/>
                  </a:lnTo>
                  <a:lnTo>
                    <a:pt x="196" y="222"/>
                  </a:lnTo>
                  <a:lnTo>
                    <a:pt x="196" y="222"/>
                  </a:lnTo>
                  <a:lnTo>
                    <a:pt x="196" y="220"/>
                  </a:lnTo>
                  <a:lnTo>
                    <a:pt x="196" y="218"/>
                  </a:lnTo>
                  <a:lnTo>
                    <a:pt x="196" y="218"/>
                  </a:lnTo>
                  <a:lnTo>
                    <a:pt x="196" y="216"/>
                  </a:lnTo>
                  <a:lnTo>
                    <a:pt x="194" y="212"/>
                  </a:lnTo>
                  <a:lnTo>
                    <a:pt x="198" y="212"/>
                  </a:lnTo>
                  <a:lnTo>
                    <a:pt x="198" y="212"/>
                  </a:lnTo>
                  <a:lnTo>
                    <a:pt x="198" y="196"/>
                  </a:lnTo>
                  <a:lnTo>
                    <a:pt x="200" y="196"/>
                  </a:lnTo>
                  <a:lnTo>
                    <a:pt x="200" y="196"/>
                  </a:lnTo>
                  <a:lnTo>
                    <a:pt x="200" y="192"/>
                  </a:lnTo>
                  <a:lnTo>
                    <a:pt x="200" y="184"/>
                  </a:lnTo>
                  <a:lnTo>
                    <a:pt x="200" y="184"/>
                  </a:lnTo>
                  <a:lnTo>
                    <a:pt x="200" y="182"/>
                  </a:lnTo>
                  <a:lnTo>
                    <a:pt x="202" y="180"/>
                  </a:lnTo>
                  <a:lnTo>
                    <a:pt x="202" y="176"/>
                  </a:lnTo>
                  <a:lnTo>
                    <a:pt x="202" y="172"/>
                  </a:lnTo>
                  <a:lnTo>
                    <a:pt x="202" y="172"/>
                  </a:lnTo>
                  <a:lnTo>
                    <a:pt x="204" y="170"/>
                  </a:lnTo>
                  <a:lnTo>
                    <a:pt x="204" y="168"/>
                  </a:lnTo>
                  <a:lnTo>
                    <a:pt x="206" y="166"/>
                  </a:lnTo>
                  <a:lnTo>
                    <a:pt x="206" y="162"/>
                  </a:lnTo>
                  <a:lnTo>
                    <a:pt x="206" y="162"/>
                  </a:lnTo>
                  <a:lnTo>
                    <a:pt x="206" y="158"/>
                  </a:lnTo>
                  <a:lnTo>
                    <a:pt x="208" y="154"/>
                  </a:lnTo>
                  <a:lnTo>
                    <a:pt x="210" y="152"/>
                  </a:lnTo>
                  <a:lnTo>
                    <a:pt x="210" y="152"/>
                  </a:lnTo>
                  <a:lnTo>
                    <a:pt x="212" y="142"/>
                  </a:lnTo>
                  <a:lnTo>
                    <a:pt x="212" y="142"/>
                  </a:lnTo>
                  <a:lnTo>
                    <a:pt x="214" y="138"/>
                  </a:lnTo>
                  <a:lnTo>
                    <a:pt x="218" y="136"/>
                  </a:lnTo>
                  <a:lnTo>
                    <a:pt x="218" y="136"/>
                  </a:lnTo>
                  <a:lnTo>
                    <a:pt x="222" y="130"/>
                  </a:lnTo>
                  <a:lnTo>
                    <a:pt x="222" y="124"/>
                  </a:lnTo>
                  <a:lnTo>
                    <a:pt x="222" y="124"/>
                  </a:lnTo>
                  <a:lnTo>
                    <a:pt x="224" y="122"/>
                  </a:lnTo>
                  <a:lnTo>
                    <a:pt x="226" y="120"/>
                  </a:lnTo>
                  <a:lnTo>
                    <a:pt x="230" y="120"/>
                  </a:lnTo>
                  <a:lnTo>
                    <a:pt x="232" y="118"/>
                  </a:lnTo>
                  <a:lnTo>
                    <a:pt x="232" y="118"/>
                  </a:lnTo>
                  <a:lnTo>
                    <a:pt x="234" y="114"/>
                  </a:lnTo>
                  <a:lnTo>
                    <a:pt x="238" y="112"/>
                  </a:lnTo>
                  <a:lnTo>
                    <a:pt x="238" y="112"/>
                  </a:lnTo>
                  <a:lnTo>
                    <a:pt x="242" y="108"/>
                  </a:lnTo>
                  <a:lnTo>
                    <a:pt x="244" y="102"/>
                  </a:lnTo>
                  <a:lnTo>
                    <a:pt x="244" y="102"/>
                  </a:lnTo>
                  <a:lnTo>
                    <a:pt x="246" y="100"/>
                  </a:lnTo>
                  <a:lnTo>
                    <a:pt x="250" y="100"/>
                  </a:lnTo>
                  <a:lnTo>
                    <a:pt x="254" y="98"/>
                  </a:lnTo>
                  <a:lnTo>
                    <a:pt x="256" y="98"/>
                  </a:lnTo>
                  <a:lnTo>
                    <a:pt x="256" y="98"/>
                  </a:lnTo>
                  <a:lnTo>
                    <a:pt x="260" y="94"/>
                  </a:lnTo>
                  <a:lnTo>
                    <a:pt x="260" y="94"/>
                  </a:lnTo>
                  <a:lnTo>
                    <a:pt x="260" y="92"/>
                  </a:lnTo>
                  <a:lnTo>
                    <a:pt x="260" y="92"/>
                  </a:lnTo>
                  <a:lnTo>
                    <a:pt x="260" y="78"/>
                  </a:lnTo>
                  <a:lnTo>
                    <a:pt x="260" y="78"/>
                  </a:lnTo>
                  <a:lnTo>
                    <a:pt x="260" y="66"/>
                  </a:lnTo>
                  <a:lnTo>
                    <a:pt x="260" y="66"/>
                  </a:lnTo>
                  <a:lnTo>
                    <a:pt x="256" y="66"/>
                  </a:lnTo>
                  <a:lnTo>
                    <a:pt x="254" y="66"/>
                  </a:lnTo>
                  <a:lnTo>
                    <a:pt x="254" y="68"/>
                  </a:lnTo>
                  <a:lnTo>
                    <a:pt x="254" y="68"/>
                  </a:lnTo>
                  <a:lnTo>
                    <a:pt x="254" y="68"/>
                  </a:lnTo>
                  <a:lnTo>
                    <a:pt x="252" y="68"/>
                  </a:lnTo>
                  <a:lnTo>
                    <a:pt x="248" y="66"/>
                  </a:lnTo>
                  <a:lnTo>
                    <a:pt x="248" y="66"/>
                  </a:lnTo>
                  <a:lnTo>
                    <a:pt x="246" y="68"/>
                  </a:lnTo>
                  <a:lnTo>
                    <a:pt x="244" y="70"/>
                  </a:lnTo>
                  <a:lnTo>
                    <a:pt x="246" y="72"/>
                  </a:lnTo>
                  <a:lnTo>
                    <a:pt x="246" y="72"/>
                  </a:lnTo>
                  <a:lnTo>
                    <a:pt x="246" y="80"/>
                  </a:lnTo>
                  <a:lnTo>
                    <a:pt x="246" y="84"/>
                  </a:lnTo>
                  <a:lnTo>
                    <a:pt x="244" y="86"/>
                  </a:lnTo>
                  <a:lnTo>
                    <a:pt x="244" y="86"/>
                  </a:lnTo>
                  <a:lnTo>
                    <a:pt x="240" y="90"/>
                  </a:lnTo>
                  <a:lnTo>
                    <a:pt x="238" y="94"/>
                  </a:lnTo>
                  <a:lnTo>
                    <a:pt x="238" y="94"/>
                  </a:lnTo>
                  <a:lnTo>
                    <a:pt x="236" y="96"/>
                  </a:lnTo>
                  <a:lnTo>
                    <a:pt x="236" y="96"/>
                  </a:lnTo>
                  <a:lnTo>
                    <a:pt x="234" y="98"/>
                  </a:lnTo>
                  <a:lnTo>
                    <a:pt x="228" y="98"/>
                  </a:lnTo>
                  <a:lnTo>
                    <a:pt x="228" y="98"/>
                  </a:lnTo>
                  <a:lnTo>
                    <a:pt x="222" y="96"/>
                  </a:lnTo>
                  <a:lnTo>
                    <a:pt x="216" y="96"/>
                  </a:lnTo>
                  <a:lnTo>
                    <a:pt x="216" y="96"/>
                  </a:lnTo>
                  <a:lnTo>
                    <a:pt x="212" y="98"/>
                  </a:lnTo>
                  <a:lnTo>
                    <a:pt x="208" y="96"/>
                  </a:lnTo>
                  <a:lnTo>
                    <a:pt x="208" y="96"/>
                  </a:lnTo>
                  <a:lnTo>
                    <a:pt x="202" y="94"/>
                  </a:lnTo>
                  <a:lnTo>
                    <a:pt x="198" y="94"/>
                  </a:lnTo>
                  <a:lnTo>
                    <a:pt x="198" y="94"/>
                  </a:lnTo>
                  <a:lnTo>
                    <a:pt x="194" y="94"/>
                  </a:lnTo>
                  <a:lnTo>
                    <a:pt x="194" y="94"/>
                  </a:lnTo>
                  <a:lnTo>
                    <a:pt x="194" y="94"/>
                  </a:lnTo>
                  <a:lnTo>
                    <a:pt x="194" y="90"/>
                  </a:lnTo>
                  <a:lnTo>
                    <a:pt x="198" y="84"/>
                  </a:lnTo>
                  <a:lnTo>
                    <a:pt x="198" y="84"/>
                  </a:lnTo>
                  <a:lnTo>
                    <a:pt x="202" y="78"/>
                  </a:lnTo>
                  <a:lnTo>
                    <a:pt x="204" y="70"/>
                  </a:lnTo>
                  <a:lnTo>
                    <a:pt x="204" y="70"/>
                  </a:lnTo>
                  <a:lnTo>
                    <a:pt x="206" y="64"/>
                  </a:lnTo>
                  <a:lnTo>
                    <a:pt x="206" y="62"/>
                  </a:lnTo>
                  <a:lnTo>
                    <a:pt x="204" y="60"/>
                  </a:lnTo>
                  <a:lnTo>
                    <a:pt x="204" y="60"/>
                  </a:lnTo>
                  <a:lnTo>
                    <a:pt x="198" y="54"/>
                  </a:lnTo>
                  <a:lnTo>
                    <a:pt x="196" y="50"/>
                  </a:lnTo>
                  <a:lnTo>
                    <a:pt x="196" y="50"/>
                  </a:lnTo>
                  <a:lnTo>
                    <a:pt x="190" y="46"/>
                  </a:lnTo>
                  <a:lnTo>
                    <a:pt x="190" y="46"/>
                  </a:lnTo>
                  <a:lnTo>
                    <a:pt x="188" y="44"/>
                  </a:lnTo>
                  <a:lnTo>
                    <a:pt x="186" y="44"/>
                  </a:lnTo>
                  <a:lnTo>
                    <a:pt x="184" y="44"/>
                  </a:lnTo>
                  <a:lnTo>
                    <a:pt x="180" y="42"/>
                  </a:lnTo>
                  <a:lnTo>
                    <a:pt x="180" y="42"/>
                  </a:lnTo>
                  <a:lnTo>
                    <a:pt x="178" y="36"/>
                  </a:lnTo>
                  <a:lnTo>
                    <a:pt x="172" y="36"/>
                  </a:lnTo>
                  <a:lnTo>
                    <a:pt x="172" y="36"/>
                  </a:lnTo>
                  <a:lnTo>
                    <a:pt x="170" y="34"/>
                  </a:lnTo>
                  <a:lnTo>
                    <a:pt x="170" y="32"/>
                  </a:lnTo>
                  <a:lnTo>
                    <a:pt x="166" y="26"/>
                  </a:lnTo>
                  <a:lnTo>
                    <a:pt x="166" y="26"/>
                  </a:lnTo>
                  <a:lnTo>
                    <a:pt x="164" y="22"/>
                  </a:lnTo>
                  <a:lnTo>
                    <a:pt x="162" y="20"/>
                  </a:lnTo>
                  <a:lnTo>
                    <a:pt x="162" y="20"/>
                  </a:lnTo>
                  <a:lnTo>
                    <a:pt x="158" y="18"/>
                  </a:lnTo>
                  <a:lnTo>
                    <a:pt x="156" y="14"/>
                  </a:lnTo>
                  <a:lnTo>
                    <a:pt x="156" y="14"/>
                  </a:lnTo>
                  <a:lnTo>
                    <a:pt x="152" y="8"/>
                  </a:lnTo>
                  <a:lnTo>
                    <a:pt x="144" y="2"/>
                  </a:lnTo>
                  <a:close/>
                  <a:moveTo>
                    <a:pt x="72" y="618"/>
                  </a:moveTo>
                  <a:lnTo>
                    <a:pt x="74" y="618"/>
                  </a:lnTo>
                  <a:lnTo>
                    <a:pt x="74" y="618"/>
                  </a:lnTo>
                  <a:lnTo>
                    <a:pt x="78" y="618"/>
                  </a:lnTo>
                  <a:lnTo>
                    <a:pt x="80" y="620"/>
                  </a:lnTo>
                  <a:lnTo>
                    <a:pt x="80" y="618"/>
                  </a:lnTo>
                  <a:lnTo>
                    <a:pt x="80" y="618"/>
                  </a:lnTo>
                  <a:lnTo>
                    <a:pt x="84" y="622"/>
                  </a:lnTo>
                  <a:lnTo>
                    <a:pt x="84" y="622"/>
                  </a:lnTo>
                  <a:lnTo>
                    <a:pt x="92" y="620"/>
                  </a:lnTo>
                  <a:lnTo>
                    <a:pt x="92" y="618"/>
                  </a:lnTo>
                  <a:lnTo>
                    <a:pt x="92" y="618"/>
                  </a:lnTo>
                  <a:lnTo>
                    <a:pt x="102" y="618"/>
                  </a:lnTo>
                  <a:lnTo>
                    <a:pt x="102" y="618"/>
                  </a:lnTo>
                  <a:lnTo>
                    <a:pt x="102" y="620"/>
                  </a:lnTo>
                  <a:lnTo>
                    <a:pt x="102" y="620"/>
                  </a:lnTo>
                  <a:lnTo>
                    <a:pt x="102" y="620"/>
                  </a:lnTo>
                  <a:lnTo>
                    <a:pt x="106" y="616"/>
                  </a:lnTo>
                  <a:lnTo>
                    <a:pt x="106" y="616"/>
                  </a:lnTo>
                  <a:lnTo>
                    <a:pt x="92" y="612"/>
                  </a:lnTo>
                  <a:lnTo>
                    <a:pt x="92" y="612"/>
                  </a:lnTo>
                  <a:lnTo>
                    <a:pt x="86" y="612"/>
                  </a:lnTo>
                  <a:lnTo>
                    <a:pt x="86" y="612"/>
                  </a:lnTo>
                  <a:lnTo>
                    <a:pt x="82" y="608"/>
                  </a:lnTo>
                  <a:lnTo>
                    <a:pt x="80" y="606"/>
                  </a:lnTo>
                  <a:lnTo>
                    <a:pt x="80" y="606"/>
                  </a:lnTo>
                  <a:lnTo>
                    <a:pt x="76" y="604"/>
                  </a:lnTo>
                  <a:lnTo>
                    <a:pt x="76" y="604"/>
                  </a:lnTo>
                  <a:lnTo>
                    <a:pt x="74" y="600"/>
                  </a:lnTo>
                  <a:lnTo>
                    <a:pt x="74" y="598"/>
                  </a:lnTo>
                  <a:lnTo>
                    <a:pt x="74" y="598"/>
                  </a:lnTo>
                  <a:lnTo>
                    <a:pt x="70" y="596"/>
                  </a:lnTo>
                  <a:lnTo>
                    <a:pt x="70" y="596"/>
                  </a:lnTo>
                  <a:lnTo>
                    <a:pt x="66" y="592"/>
                  </a:lnTo>
                  <a:lnTo>
                    <a:pt x="62" y="586"/>
                  </a:lnTo>
                  <a:lnTo>
                    <a:pt x="62" y="586"/>
                  </a:lnTo>
                  <a:lnTo>
                    <a:pt x="62" y="586"/>
                  </a:lnTo>
                  <a:lnTo>
                    <a:pt x="62" y="584"/>
                  </a:lnTo>
                  <a:lnTo>
                    <a:pt x="64" y="582"/>
                  </a:lnTo>
                  <a:lnTo>
                    <a:pt x="64" y="582"/>
                  </a:lnTo>
                  <a:lnTo>
                    <a:pt x="60" y="574"/>
                  </a:lnTo>
                  <a:lnTo>
                    <a:pt x="60" y="574"/>
                  </a:lnTo>
                  <a:lnTo>
                    <a:pt x="60" y="574"/>
                  </a:lnTo>
                  <a:lnTo>
                    <a:pt x="60" y="574"/>
                  </a:lnTo>
                  <a:lnTo>
                    <a:pt x="60" y="574"/>
                  </a:lnTo>
                  <a:lnTo>
                    <a:pt x="58" y="574"/>
                  </a:lnTo>
                  <a:lnTo>
                    <a:pt x="62" y="620"/>
                  </a:lnTo>
                  <a:lnTo>
                    <a:pt x="62" y="620"/>
                  </a:lnTo>
                  <a:lnTo>
                    <a:pt x="66" y="618"/>
                  </a:lnTo>
                  <a:lnTo>
                    <a:pt x="72" y="618"/>
                  </a:lnTo>
                  <a:lnTo>
                    <a:pt x="72" y="6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2" name="Freeform 262"/>
            <p:cNvSpPr>
              <a:spLocks noChangeAspect="1"/>
            </p:cNvSpPr>
            <p:nvPr/>
          </p:nvSpPr>
          <p:spPr bwMode="gray">
            <a:xfrm>
              <a:off x="4317610" y="3216913"/>
              <a:ext cx="9406" cy="6580"/>
            </a:xfrm>
            <a:custGeom>
              <a:avLst/>
              <a:gdLst/>
              <a:ahLst/>
              <a:cxnLst>
                <a:cxn ang="0">
                  <a:pos x="6" y="2"/>
                </a:cxn>
                <a:cxn ang="0">
                  <a:pos x="2" y="4"/>
                </a:cxn>
                <a:cxn ang="0">
                  <a:pos x="0" y="0"/>
                </a:cxn>
                <a:cxn ang="0">
                  <a:pos x="0" y="0"/>
                </a:cxn>
                <a:cxn ang="0">
                  <a:pos x="2" y="0"/>
                </a:cxn>
                <a:cxn ang="0">
                  <a:pos x="4" y="0"/>
                </a:cxn>
                <a:cxn ang="0">
                  <a:pos x="4" y="0"/>
                </a:cxn>
                <a:cxn ang="0">
                  <a:pos x="6" y="2"/>
                </a:cxn>
              </a:cxnLst>
              <a:rect l="0" t="0" r="r" b="b"/>
              <a:pathLst>
                <a:path w="6" h="4">
                  <a:moveTo>
                    <a:pt x="6" y="2"/>
                  </a:moveTo>
                  <a:lnTo>
                    <a:pt x="2" y="4"/>
                  </a:lnTo>
                  <a:lnTo>
                    <a:pt x="0" y="0"/>
                  </a:lnTo>
                  <a:lnTo>
                    <a:pt x="0" y="0"/>
                  </a:lnTo>
                  <a:lnTo>
                    <a:pt x="2" y="0"/>
                  </a:lnTo>
                  <a:lnTo>
                    <a:pt x="4" y="0"/>
                  </a:lnTo>
                  <a:lnTo>
                    <a:pt x="4" y="0"/>
                  </a:lnTo>
                  <a:lnTo>
                    <a:pt x="6"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3" name="Freeform 8"/>
            <p:cNvSpPr>
              <a:spLocks noChangeAspect="1"/>
            </p:cNvSpPr>
            <p:nvPr/>
          </p:nvSpPr>
          <p:spPr bwMode="gray">
            <a:xfrm>
              <a:off x="5261574" y="3907800"/>
              <a:ext cx="248217" cy="174367"/>
            </a:xfrm>
            <a:custGeom>
              <a:avLst/>
              <a:gdLst/>
              <a:ahLst/>
              <a:cxnLst>
                <a:cxn ang="0">
                  <a:pos x="0" y="34"/>
                </a:cxn>
                <a:cxn ang="0">
                  <a:pos x="4" y="30"/>
                </a:cxn>
                <a:cxn ang="0">
                  <a:pos x="4" y="30"/>
                </a:cxn>
                <a:cxn ang="0">
                  <a:pos x="6" y="28"/>
                </a:cxn>
                <a:cxn ang="0">
                  <a:pos x="6" y="26"/>
                </a:cxn>
                <a:cxn ang="0">
                  <a:pos x="8" y="22"/>
                </a:cxn>
                <a:cxn ang="0">
                  <a:pos x="10" y="20"/>
                </a:cxn>
                <a:cxn ang="0">
                  <a:pos x="12" y="20"/>
                </a:cxn>
                <a:cxn ang="0">
                  <a:pos x="16" y="20"/>
                </a:cxn>
                <a:cxn ang="0">
                  <a:pos x="16" y="24"/>
                </a:cxn>
                <a:cxn ang="0">
                  <a:pos x="20" y="24"/>
                </a:cxn>
                <a:cxn ang="0">
                  <a:pos x="24" y="24"/>
                </a:cxn>
                <a:cxn ang="0">
                  <a:pos x="48" y="30"/>
                </a:cxn>
                <a:cxn ang="0">
                  <a:pos x="50" y="48"/>
                </a:cxn>
                <a:cxn ang="0">
                  <a:pos x="76" y="16"/>
                </a:cxn>
                <a:cxn ang="0">
                  <a:pos x="122" y="4"/>
                </a:cxn>
                <a:cxn ang="0">
                  <a:pos x="146" y="36"/>
                </a:cxn>
                <a:cxn ang="0">
                  <a:pos x="142" y="36"/>
                </a:cxn>
                <a:cxn ang="0">
                  <a:pos x="140" y="40"/>
                </a:cxn>
                <a:cxn ang="0">
                  <a:pos x="136" y="40"/>
                </a:cxn>
                <a:cxn ang="0">
                  <a:pos x="134" y="40"/>
                </a:cxn>
                <a:cxn ang="0">
                  <a:pos x="128" y="46"/>
                </a:cxn>
                <a:cxn ang="0">
                  <a:pos x="130" y="52"/>
                </a:cxn>
                <a:cxn ang="0">
                  <a:pos x="126" y="54"/>
                </a:cxn>
                <a:cxn ang="0">
                  <a:pos x="120" y="62"/>
                </a:cxn>
                <a:cxn ang="0">
                  <a:pos x="102" y="70"/>
                </a:cxn>
                <a:cxn ang="0">
                  <a:pos x="96" y="74"/>
                </a:cxn>
                <a:cxn ang="0">
                  <a:pos x="90" y="74"/>
                </a:cxn>
                <a:cxn ang="0">
                  <a:pos x="80" y="82"/>
                </a:cxn>
                <a:cxn ang="0">
                  <a:pos x="80" y="84"/>
                </a:cxn>
                <a:cxn ang="0">
                  <a:pos x="74" y="84"/>
                </a:cxn>
                <a:cxn ang="0">
                  <a:pos x="70" y="84"/>
                </a:cxn>
                <a:cxn ang="0">
                  <a:pos x="68" y="88"/>
                </a:cxn>
                <a:cxn ang="0">
                  <a:pos x="62" y="92"/>
                </a:cxn>
                <a:cxn ang="0">
                  <a:pos x="56" y="94"/>
                </a:cxn>
                <a:cxn ang="0">
                  <a:pos x="42" y="94"/>
                </a:cxn>
                <a:cxn ang="0">
                  <a:pos x="38" y="96"/>
                </a:cxn>
                <a:cxn ang="0">
                  <a:pos x="34" y="102"/>
                </a:cxn>
                <a:cxn ang="0">
                  <a:pos x="30" y="104"/>
                </a:cxn>
                <a:cxn ang="0">
                  <a:pos x="26" y="104"/>
                </a:cxn>
                <a:cxn ang="0">
                  <a:pos x="24" y="106"/>
                </a:cxn>
                <a:cxn ang="0">
                  <a:pos x="10" y="102"/>
                </a:cxn>
                <a:cxn ang="0">
                  <a:pos x="8" y="98"/>
                </a:cxn>
                <a:cxn ang="0">
                  <a:pos x="8" y="92"/>
                </a:cxn>
                <a:cxn ang="0">
                  <a:pos x="8" y="86"/>
                </a:cxn>
                <a:cxn ang="0">
                  <a:pos x="4" y="82"/>
                </a:cxn>
                <a:cxn ang="0">
                  <a:pos x="4" y="78"/>
                </a:cxn>
                <a:cxn ang="0">
                  <a:pos x="0" y="66"/>
                </a:cxn>
                <a:cxn ang="0">
                  <a:pos x="0" y="64"/>
                </a:cxn>
                <a:cxn ang="0">
                  <a:pos x="2" y="64"/>
                </a:cxn>
                <a:cxn ang="0">
                  <a:pos x="2" y="54"/>
                </a:cxn>
                <a:cxn ang="0">
                  <a:pos x="0" y="54"/>
                </a:cxn>
                <a:cxn ang="0">
                  <a:pos x="2" y="40"/>
                </a:cxn>
                <a:cxn ang="0">
                  <a:pos x="0" y="34"/>
                </a:cxn>
              </a:cxnLst>
              <a:rect l="0" t="0" r="r" b="b"/>
              <a:pathLst>
                <a:path w="146" h="106">
                  <a:moveTo>
                    <a:pt x="0" y="34"/>
                  </a:moveTo>
                  <a:lnTo>
                    <a:pt x="0" y="34"/>
                  </a:lnTo>
                  <a:lnTo>
                    <a:pt x="2" y="34"/>
                  </a:lnTo>
                  <a:lnTo>
                    <a:pt x="4" y="30"/>
                  </a:lnTo>
                  <a:lnTo>
                    <a:pt x="4" y="30"/>
                  </a:lnTo>
                  <a:lnTo>
                    <a:pt x="4" y="30"/>
                  </a:lnTo>
                  <a:lnTo>
                    <a:pt x="6" y="28"/>
                  </a:lnTo>
                  <a:lnTo>
                    <a:pt x="6" y="28"/>
                  </a:lnTo>
                  <a:lnTo>
                    <a:pt x="6" y="26"/>
                  </a:lnTo>
                  <a:lnTo>
                    <a:pt x="6" y="26"/>
                  </a:lnTo>
                  <a:lnTo>
                    <a:pt x="8" y="24"/>
                  </a:lnTo>
                  <a:lnTo>
                    <a:pt x="8" y="22"/>
                  </a:lnTo>
                  <a:lnTo>
                    <a:pt x="8" y="22"/>
                  </a:lnTo>
                  <a:lnTo>
                    <a:pt x="10" y="20"/>
                  </a:lnTo>
                  <a:lnTo>
                    <a:pt x="12" y="20"/>
                  </a:lnTo>
                  <a:lnTo>
                    <a:pt x="12" y="20"/>
                  </a:lnTo>
                  <a:lnTo>
                    <a:pt x="14" y="20"/>
                  </a:lnTo>
                  <a:lnTo>
                    <a:pt x="16" y="20"/>
                  </a:lnTo>
                  <a:lnTo>
                    <a:pt x="16" y="22"/>
                  </a:lnTo>
                  <a:lnTo>
                    <a:pt x="16" y="24"/>
                  </a:lnTo>
                  <a:lnTo>
                    <a:pt x="16" y="24"/>
                  </a:lnTo>
                  <a:lnTo>
                    <a:pt x="20" y="24"/>
                  </a:lnTo>
                  <a:lnTo>
                    <a:pt x="24" y="24"/>
                  </a:lnTo>
                  <a:lnTo>
                    <a:pt x="24" y="24"/>
                  </a:lnTo>
                  <a:lnTo>
                    <a:pt x="38" y="26"/>
                  </a:lnTo>
                  <a:lnTo>
                    <a:pt x="48" y="30"/>
                  </a:lnTo>
                  <a:lnTo>
                    <a:pt x="50" y="48"/>
                  </a:lnTo>
                  <a:lnTo>
                    <a:pt x="50" y="48"/>
                  </a:lnTo>
                  <a:lnTo>
                    <a:pt x="58" y="38"/>
                  </a:lnTo>
                  <a:lnTo>
                    <a:pt x="76" y="16"/>
                  </a:lnTo>
                  <a:lnTo>
                    <a:pt x="122" y="0"/>
                  </a:lnTo>
                  <a:lnTo>
                    <a:pt x="122" y="4"/>
                  </a:lnTo>
                  <a:lnTo>
                    <a:pt x="138" y="32"/>
                  </a:lnTo>
                  <a:lnTo>
                    <a:pt x="146" y="36"/>
                  </a:lnTo>
                  <a:lnTo>
                    <a:pt x="146" y="36"/>
                  </a:lnTo>
                  <a:lnTo>
                    <a:pt x="142" y="36"/>
                  </a:lnTo>
                  <a:lnTo>
                    <a:pt x="142" y="36"/>
                  </a:lnTo>
                  <a:lnTo>
                    <a:pt x="140" y="40"/>
                  </a:lnTo>
                  <a:lnTo>
                    <a:pt x="140" y="40"/>
                  </a:lnTo>
                  <a:lnTo>
                    <a:pt x="136" y="40"/>
                  </a:lnTo>
                  <a:lnTo>
                    <a:pt x="134" y="40"/>
                  </a:lnTo>
                  <a:lnTo>
                    <a:pt x="134" y="40"/>
                  </a:lnTo>
                  <a:lnTo>
                    <a:pt x="130" y="44"/>
                  </a:lnTo>
                  <a:lnTo>
                    <a:pt x="128" y="46"/>
                  </a:lnTo>
                  <a:lnTo>
                    <a:pt x="130" y="52"/>
                  </a:lnTo>
                  <a:lnTo>
                    <a:pt x="130" y="52"/>
                  </a:lnTo>
                  <a:lnTo>
                    <a:pt x="126" y="54"/>
                  </a:lnTo>
                  <a:lnTo>
                    <a:pt x="126" y="54"/>
                  </a:lnTo>
                  <a:lnTo>
                    <a:pt x="120" y="62"/>
                  </a:lnTo>
                  <a:lnTo>
                    <a:pt x="120" y="62"/>
                  </a:lnTo>
                  <a:lnTo>
                    <a:pt x="110" y="66"/>
                  </a:lnTo>
                  <a:lnTo>
                    <a:pt x="102" y="70"/>
                  </a:lnTo>
                  <a:lnTo>
                    <a:pt x="102" y="70"/>
                  </a:lnTo>
                  <a:lnTo>
                    <a:pt x="96" y="74"/>
                  </a:lnTo>
                  <a:lnTo>
                    <a:pt x="96" y="74"/>
                  </a:lnTo>
                  <a:lnTo>
                    <a:pt x="90" y="74"/>
                  </a:lnTo>
                  <a:lnTo>
                    <a:pt x="90" y="74"/>
                  </a:lnTo>
                  <a:lnTo>
                    <a:pt x="80" y="82"/>
                  </a:lnTo>
                  <a:lnTo>
                    <a:pt x="80" y="84"/>
                  </a:lnTo>
                  <a:lnTo>
                    <a:pt x="80" y="84"/>
                  </a:lnTo>
                  <a:lnTo>
                    <a:pt x="78" y="84"/>
                  </a:lnTo>
                  <a:lnTo>
                    <a:pt x="74" y="84"/>
                  </a:lnTo>
                  <a:lnTo>
                    <a:pt x="72" y="84"/>
                  </a:lnTo>
                  <a:lnTo>
                    <a:pt x="70" y="84"/>
                  </a:lnTo>
                  <a:lnTo>
                    <a:pt x="70" y="84"/>
                  </a:lnTo>
                  <a:lnTo>
                    <a:pt x="68" y="88"/>
                  </a:lnTo>
                  <a:lnTo>
                    <a:pt x="68" y="88"/>
                  </a:lnTo>
                  <a:lnTo>
                    <a:pt x="62" y="92"/>
                  </a:lnTo>
                  <a:lnTo>
                    <a:pt x="56" y="94"/>
                  </a:lnTo>
                  <a:lnTo>
                    <a:pt x="56" y="94"/>
                  </a:lnTo>
                  <a:lnTo>
                    <a:pt x="48" y="94"/>
                  </a:lnTo>
                  <a:lnTo>
                    <a:pt x="42" y="94"/>
                  </a:lnTo>
                  <a:lnTo>
                    <a:pt x="38" y="96"/>
                  </a:lnTo>
                  <a:lnTo>
                    <a:pt x="38" y="96"/>
                  </a:lnTo>
                  <a:lnTo>
                    <a:pt x="36" y="100"/>
                  </a:lnTo>
                  <a:lnTo>
                    <a:pt x="34" y="102"/>
                  </a:lnTo>
                  <a:lnTo>
                    <a:pt x="34" y="102"/>
                  </a:lnTo>
                  <a:lnTo>
                    <a:pt x="30" y="104"/>
                  </a:lnTo>
                  <a:lnTo>
                    <a:pt x="26" y="104"/>
                  </a:lnTo>
                  <a:lnTo>
                    <a:pt x="26" y="104"/>
                  </a:lnTo>
                  <a:lnTo>
                    <a:pt x="24" y="106"/>
                  </a:lnTo>
                  <a:lnTo>
                    <a:pt x="24" y="106"/>
                  </a:lnTo>
                  <a:lnTo>
                    <a:pt x="18" y="104"/>
                  </a:lnTo>
                  <a:lnTo>
                    <a:pt x="10" y="102"/>
                  </a:lnTo>
                  <a:lnTo>
                    <a:pt x="10" y="102"/>
                  </a:lnTo>
                  <a:lnTo>
                    <a:pt x="8" y="98"/>
                  </a:lnTo>
                  <a:lnTo>
                    <a:pt x="8" y="92"/>
                  </a:lnTo>
                  <a:lnTo>
                    <a:pt x="8" y="92"/>
                  </a:lnTo>
                  <a:lnTo>
                    <a:pt x="8" y="90"/>
                  </a:lnTo>
                  <a:lnTo>
                    <a:pt x="8" y="86"/>
                  </a:lnTo>
                  <a:lnTo>
                    <a:pt x="8" y="86"/>
                  </a:lnTo>
                  <a:lnTo>
                    <a:pt x="4" y="82"/>
                  </a:lnTo>
                  <a:lnTo>
                    <a:pt x="4" y="82"/>
                  </a:lnTo>
                  <a:lnTo>
                    <a:pt x="4" y="78"/>
                  </a:lnTo>
                  <a:lnTo>
                    <a:pt x="4" y="74"/>
                  </a:lnTo>
                  <a:lnTo>
                    <a:pt x="0" y="66"/>
                  </a:lnTo>
                  <a:lnTo>
                    <a:pt x="0" y="66"/>
                  </a:lnTo>
                  <a:lnTo>
                    <a:pt x="0" y="64"/>
                  </a:lnTo>
                  <a:lnTo>
                    <a:pt x="2" y="64"/>
                  </a:lnTo>
                  <a:lnTo>
                    <a:pt x="2" y="64"/>
                  </a:lnTo>
                  <a:lnTo>
                    <a:pt x="2" y="60"/>
                  </a:lnTo>
                  <a:lnTo>
                    <a:pt x="2" y="54"/>
                  </a:lnTo>
                  <a:lnTo>
                    <a:pt x="0" y="54"/>
                  </a:lnTo>
                  <a:lnTo>
                    <a:pt x="0" y="54"/>
                  </a:lnTo>
                  <a:lnTo>
                    <a:pt x="2" y="46"/>
                  </a:lnTo>
                  <a:lnTo>
                    <a:pt x="2" y="40"/>
                  </a:lnTo>
                  <a:lnTo>
                    <a:pt x="2" y="36"/>
                  </a:lnTo>
                  <a:lnTo>
                    <a:pt x="0" y="3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grpSp>
          <p:nvGrpSpPr>
            <p:cNvPr id="504" name="Group 503"/>
            <p:cNvGrpSpPr/>
            <p:nvPr/>
          </p:nvGrpSpPr>
          <p:grpSpPr>
            <a:xfrm>
              <a:off x="3889581" y="3378120"/>
              <a:ext cx="1565806" cy="2020023"/>
              <a:chOff x="3889581" y="3378120"/>
              <a:chExt cx="1565806" cy="2020023"/>
            </a:xfrm>
            <a:grpFill/>
          </p:grpSpPr>
          <p:sp>
            <p:nvSpPr>
              <p:cNvPr id="509" name="Freeform 37"/>
              <p:cNvSpPr>
                <a:spLocks noChangeAspect="1"/>
              </p:cNvSpPr>
              <p:nvPr/>
            </p:nvSpPr>
            <p:spPr bwMode="gray">
              <a:xfrm>
                <a:off x="4782141" y="3779493"/>
                <a:ext cx="384226" cy="546130"/>
              </a:xfrm>
              <a:custGeom>
                <a:avLst/>
                <a:gdLst/>
                <a:ahLst/>
                <a:cxnLst>
                  <a:cxn ang="0">
                    <a:pos x="222" y="80"/>
                  </a:cxn>
                  <a:cxn ang="0">
                    <a:pos x="210" y="68"/>
                  </a:cxn>
                  <a:cxn ang="0">
                    <a:pos x="212" y="52"/>
                  </a:cxn>
                  <a:cxn ang="0">
                    <a:pos x="212" y="34"/>
                  </a:cxn>
                  <a:cxn ang="0">
                    <a:pos x="206" y="18"/>
                  </a:cxn>
                  <a:cxn ang="0">
                    <a:pos x="196" y="12"/>
                  </a:cxn>
                  <a:cxn ang="0">
                    <a:pos x="190" y="0"/>
                  </a:cxn>
                  <a:cxn ang="0">
                    <a:pos x="168" y="22"/>
                  </a:cxn>
                  <a:cxn ang="0">
                    <a:pos x="144" y="20"/>
                  </a:cxn>
                  <a:cxn ang="0">
                    <a:pos x="36" y="126"/>
                  </a:cxn>
                  <a:cxn ang="0">
                    <a:pos x="22" y="126"/>
                  </a:cxn>
                  <a:cxn ang="0">
                    <a:pos x="16" y="134"/>
                  </a:cxn>
                  <a:cxn ang="0">
                    <a:pos x="14" y="144"/>
                  </a:cxn>
                  <a:cxn ang="0">
                    <a:pos x="8" y="160"/>
                  </a:cxn>
                  <a:cxn ang="0">
                    <a:pos x="4" y="168"/>
                  </a:cxn>
                  <a:cxn ang="0">
                    <a:pos x="0" y="176"/>
                  </a:cxn>
                  <a:cxn ang="0">
                    <a:pos x="8" y="178"/>
                  </a:cxn>
                  <a:cxn ang="0">
                    <a:pos x="8" y="186"/>
                  </a:cxn>
                  <a:cxn ang="0">
                    <a:pos x="10" y="198"/>
                  </a:cxn>
                  <a:cxn ang="0">
                    <a:pos x="12" y="208"/>
                  </a:cxn>
                  <a:cxn ang="0">
                    <a:pos x="20" y="226"/>
                  </a:cxn>
                  <a:cxn ang="0">
                    <a:pos x="26" y="236"/>
                  </a:cxn>
                  <a:cxn ang="0">
                    <a:pos x="32" y="254"/>
                  </a:cxn>
                  <a:cxn ang="0">
                    <a:pos x="36" y="260"/>
                  </a:cxn>
                  <a:cxn ang="0">
                    <a:pos x="50" y="266"/>
                  </a:cxn>
                  <a:cxn ang="0">
                    <a:pos x="56" y="274"/>
                  </a:cxn>
                  <a:cxn ang="0">
                    <a:pos x="70" y="286"/>
                  </a:cxn>
                  <a:cxn ang="0">
                    <a:pos x="72" y="294"/>
                  </a:cxn>
                  <a:cxn ang="0">
                    <a:pos x="80" y="310"/>
                  </a:cxn>
                  <a:cxn ang="0">
                    <a:pos x="88" y="310"/>
                  </a:cxn>
                  <a:cxn ang="0">
                    <a:pos x="98" y="314"/>
                  </a:cxn>
                  <a:cxn ang="0">
                    <a:pos x="108" y="314"/>
                  </a:cxn>
                  <a:cxn ang="0">
                    <a:pos x="122" y="326"/>
                  </a:cxn>
                  <a:cxn ang="0">
                    <a:pos x="134" y="332"/>
                  </a:cxn>
                  <a:cxn ang="0">
                    <a:pos x="146" y="324"/>
                  </a:cxn>
                  <a:cxn ang="0">
                    <a:pos x="158" y="326"/>
                  </a:cxn>
                  <a:cxn ang="0">
                    <a:pos x="180" y="316"/>
                  </a:cxn>
                  <a:cxn ang="0">
                    <a:pos x="192" y="314"/>
                  </a:cxn>
                  <a:cxn ang="0">
                    <a:pos x="186" y="310"/>
                  </a:cxn>
                  <a:cxn ang="0">
                    <a:pos x="174" y="298"/>
                  </a:cxn>
                  <a:cxn ang="0">
                    <a:pos x="168" y="284"/>
                  </a:cxn>
                  <a:cxn ang="0">
                    <a:pos x="156" y="270"/>
                  </a:cxn>
                  <a:cxn ang="0">
                    <a:pos x="146" y="268"/>
                  </a:cxn>
                  <a:cxn ang="0">
                    <a:pos x="158" y="258"/>
                  </a:cxn>
                  <a:cxn ang="0">
                    <a:pos x="162" y="250"/>
                  </a:cxn>
                  <a:cxn ang="0">
                    <a:pos x="168" y="222"/>
                  </a:cxn>
                  <a:cxn ang="0">
                    <a:pos x="174" y="206"/>
                  </a:cxn>
                  <a:cxn ang="0">
                    <a:pos x="184" y="192"/>
                  </a:cxn>
                  <a:cxn ang="0">
                    <a:pos x="190" y="176"/>
                  </a:cxn>
                  <a:cxn ang="0">
                    <a:pos x="202" y="156"/>
                  </a:cxn>
                  <a:cxn ang="0">
                    <a:pos x="202" y="130"/>
                  </a:cxn>
                  <a:cxn ang="0">
                    <a:pos x="206" y="112"/>
                  </a:cxn>
                  <a:cxn ang="0">
                    <a:pos x="208" y="100"/>
                  </a:cxn>
                  <a:cxn ang="0">
                    <a:pos x="212" y="94"/>
                  </a:cxn>
                </a:cxnLst>
                <a:rect l="0" t="0" r="r" b="b"/>
                <a:pathLst>
                  <a:path w="226" h="332">
                    <a:moveTo>
                      <a:pt x="226" y="88"/>
                    </a:moveTo>
                    <a:lnTo>
                      <a:pt x="226" y="88"/>
                    </a:lnTo>
                    <a:lnTo>
                      <a:pt x="224" y="84"/>
                    </a:lnTo>
                    <a:lnTo>
                      <a:pt x="222" y="80"/>
                    </a:lnTo>
                    <a:lnTo>
                      <a:pt x="222" y="80"/>
                    </a:lnTo>
                    <a:lnTo>
                      <a:pt x="214" y="78"/>
                    </a:lnTo>
                    <a:lnTo>
                      <a:pt x="214" y="78"/>
                    </a:lnTo>
                    <a:lnTo>
                      <a:pt x="212" y="74"/>
                    </a:lnTo>
                    <a:lnTo>
                      <a:pt x="212" y="70"/>
                    </a:lnTo>
                    <a:lnTo>
                      <a:pt x="210" y="68"/>
                    </a:lnTo>
                    <a:lnTo>
                      <a:pt x="210" y="68"/>
                    </a:lnTo>
                    <a:lnTo>
                      <a:pt x="210" y="58"/>
                    </a:lnTo>
                    <a:lnTo>
                      <a:pt x="210" y="54"/>
                    </a:lnTo>
                    <a:lnTo>
                      <a:pt x="210" y="54"/>
                    </a:lnTo>
                    <a:lnTo>
                      <a:pt x="212" y="52"/>
                    </a:lnTo>
                    <a:lnTo>
                      <a:pt x="212" y="52"/>
                    </a:lnTo>
                    <a:lnTo>
                      <a:pt x="212" y="42"/>
                    </a:lnTo>
                    <a:lnTo>
                      <a:pt x="210" y="40"/>
                    </a:lnTo>
                    <a:lnTo>
                      <a:pt x="210" y="40"/>
                    </a:lnTo>
                    <a:lnTo>
                      <a:pt x="212" y="34"/>
                    </a:lnTo>
                    <a:lnTo>
                      <a:pt x="212" y="34"/>
                    </a:lnTo>
                    <a:lnTo>
                      <a:pt x="208" y="32"/>
                    </a:lnTo>
                    <a:lnTo>
                      <a:pt x="208" y="32"/>
                    </a:lnTo>
                    <a:lnTo>
                      <a:pt x="206" y="26"/>
                    </a:lnTo>
                    <a:lnTo>
                      <a:pt x="206" y="18"/>
                    </a:lnTo>
                    <a:lnTo>
                      <a:pt x="206" y="18"/>
                    </a:lnTo>
                    <a:lnTo>
                      <a:pt x="202" y="18"/>
                    </a:lnTo>
                    <a:lnTo>
                      <a:pt x="200" y="16"/>
                    </a:lnTo>
                    <a:lnTo>
                      <a:pt x="200" y="16"/>
                    </a:lnTo>
                    <a:lnTo>
                      <a:pt x="196" y="12"/>
                    </a:lnTo>
                    <a:lnTo>
                      <a:pt x="192" y="6"/>
                    </a:lnTo>
                    <a:lnTo>
                      <a:pt x="190" y="6"/>
                    </a:lnTo>
                    <a:lnTo>
                      <a:pt x="190" y="6"/>
                    </a:lnTo>
                    <a:lnTo>
                      <a:pt x="190" y="0"/>
                    </a:lnTo>
                    <a:lnTo>
                      <a:pt x="190" y="0"/>
                    </a:lnTo>
                    <a:lnTo>
                      <a:pt x="182" y="4"/>
                    </a:lnTo>
                    <a:lnTo>
                      <a:pt x="178" y="4"/>
                    </a:lnTo>
                    <a:lnTo>
                      <a:pt x="174" y="12"/>
                    </a:lnTo>
                    <a:lnTo>
                      <a:pt x="168" y="14"/>
                    </a:lnTo>
                    <a:lnTo>
                      <a:pt x="168" y="22"/>
                    </a:lnTo>
                    <a:lnTo>
                      <a:pt x="162" y="24"/>
                    </a:lnTo>
                    <a:lnTo>
                      <a:pt x="160" y="20"/>
                    </a:lnTo>
                    <a:lnTo>
                      <a:pt x="148" y="20"/>
                    </a:lnTo>
                    <a:lnTo>
                      <a:pt x="148" y="18"/>
                    </a:lnTo>
                    <a:lnTo>
                      <a:pt x="144" y="20"/>
                    </a:lnTo>
                    <a:lnTo>
                      <a:pt x="48" y="20"/>
                    </a:lnTo>
                    <a:lnTo>
                      <a:pt x="48" y="52"/>
                    </a:lnTo>
                    <a:lnTo>
                      <a:pt x="36" y="52"/>
                    </a:lnTo>
                    <a:lnTo>
                      <a:pt x="36" y="64"/>
                    </a:lnTo>
                    <a:lnTo>
                      <a:pt x="36" y="126"/>
                    </a:lnTo>
                    <a:lnTo>
                      <a:pt x="36" y="126"/>
                    </a:lnTo>
                    <a:lnTo>
                      <a:pt x="32" y="128"/>
                    </a:lnTo>
                    <a:lnTo>
                      <a:pt x="26" y="126"/>
                    </a:lnTo>
                    <a:lnTo>
                      <a:pt x="26" y="126"/>
                    </a:lnTo>
                    <a:lnTo>
                      <a:pt x="22" y="126"/>
                    </a:lnTo>
                    <a:lnTo>
                      <a:pt x="20" y="126"/>
                    </a:lnTo>
                    <a:lnTo>
                      <a:pt x="20" y="128"/>
                    </a:lnTo>
                    <a:lnTo>
                      <a:pt x="20" y="128"/>
                    </a:lnTo>
                    <a:lnTo>
                      <a:pt x="16" y="132"/>
                    </a:lnTo>
                    <a:lnTo>
                      <a:pt x="16" y="134"/>
                    </a:lnTo>
                    <a:lnTo>
                      <a:pt x="16" y="136"/>
                    </a:lnTo>
                    <a:lnTo>
                      <a:pt x="16" y="136"/>
                    </a:lnTo>
                    <a:lnTo>
                      <a:pt x="16" y="140"/>
                    </a:lnTo>
                    <a:lnTo>
                      <a:pt x="14" y="144"/>
                    </a:lnTo>
                    <a:lnTo>
                      <a:pt x="14" y="144"/>
                    </a:lnTo>
                    <a:lnTo>
                      <a:pt x="12" y="146"/>
                    </a:lnTo>
                    <a:lnTo>
                      <a:pt x="12" y="150"/>
                    </a:lnTo>
                    <a:lnTo>
                      <a:pt x="12" y="150"/>
                    </a:lnTo>
                    <a:lnTo>
                      <a:pt x="10" y="154"/>
                    </a:lnTo>
                    <a:lnTo>
                      <a:pt x="8" y="160"/>
                    </a:lnTo>
                    <a:lnTo>
                      <a:pt x="8" y="160"/>
                    </a:lnTo>
                    <a:lnTo>
                      <a:pt x="6" y="162"/>
                    </a:lnTo>
                    <a:lnTo>
                      <a:pt x="4" y="164"/>
                    </a:lnTo>
                    <a:lnTo>
                      <a:pt x="4" y="164"/>
                    </a:lnTo>
                    <a:lnTo>
                      <a:pt x="4" y="168"/>
                    </a:lnTo>
                    <a:lnTo>
                      <a:pt x="0" y="170"/>
                    </a:lnTo>
                    <a:lnTo>
                      <a:pt x="0" y="170"/>
                    </a:lnTo>
                    <a:lnTo>
                      <a:pt x="0" y="172"/>
                    </a:lnTo>
                    <a:lnTo>
                      <a:pt x="0" y="176"/>
                    </a:lnTo>
                    <a:lnTo>
                      <a:pt x="0" y="176"/>
                    </a:lnTo>
                    <a:lnTo>
                      <a:pt x="0" y="178"/>
                    </a:lnTo>
                    <a:lnTo>
                      <a:pt x="2" y="178"/>
                    </a:lnTo>
                    <a:lnTo>
                      <a:pt x="6" y="176"/>
                    </a:lnTo>
                    <a:lnTo>
                      <a:pt x="6" y="176"/>
                    </a:lnTo>
                    <a:lnTo>
                      <a:pt x="8" y="178"/>
                    </a:lnTo>
                    <a:lnTo>
                      <a:pt x="12" y="180"/>
                    </a:lnTo>
                    <a:lnTo>
                      <a:pt x="12" y="180"/>
                    </a:lnTo>
                    <a:lnTo>
                      <a:pt x="12" y="182"/>
                    </a:lnTo>
                    <a:lnTo>
                      <a:pt x="10" y="184"/>
                    </a:lnTo>
                    <a:lnTo>
                      <a:pt x="8" y="186"/>
                    </a:lnTo>
                    <a:lnTo>
                      <a:pt x="8" y="188"/>
                    </a:lnTo>
                    <a:lnTo>
                      <a:pt x="10" y="192"/>
                    </a:lnTo>
                    <a:lnTo>
                      <a:pt x="10" y="192"/>
                    </a:lnTo>
                    <a:lnTo>
                      <a:pt x="10" y="192"/>
                    </a:lnTo>
                    <a:lnTo>
                      <a:pt x="10" y="198"/>
                    </a:lnTo>
                    <a:lnTo>
                      <a:pt x="10" y="198"/>
                    </a:lnTo>
                    <a:lnTo>
                      <a:pt x="8" y="200"/>
                    </a:lnTo>
                    <a:lnTo>
                      <a:pt x="12" y="204"/>
                    </a:lnTo>
                    <a:lnTo>
                      <a:pt x="12" y="204"/>
                    </a:lnTo>
                    <a:lnTo>
                      <a:pt x="12" y="208"/>
                    </a:lnTo>
                    <a:lnTo>
                      <a:pt x="12" y="210"/>
                    </a:lnTo>
                    <a:lnTo>
                      <a:pt x="20" y="218"/>
                    </a:lnTo>
                    <a:lnTo>
                      <a:pt x="20" y="218"/>
                    </a:lnTo>
                    <a:lnTo>
                      <a:pt x="20" y="220"/>
                    </a:lnTo>
                    <a:lnTo>
                      <a:pt x="20" y="226"/>
                    </a:lnTo>
                    <a:lnTo>
                      <a:pt x="20" y="226"/>
                    </a:lnTo>
                    <a:lnTo>
                      <a:pt x="20" y="230"/>
                    </a:lnTo>
                    <a:lnTo>
                      <a:pt x="22" y="232"/>
                    </a:lnTo>
                    <a:lnTo>
                      <a:pt x="22" y="232"/>
                    </a:lnTo>
                    <a:lnTo>
                      <a:pt x="26" y="236"/>
                    </a:lnTo>
                    <a:lnTo>
                      <a:pt x="26" y="242"/>
                    </a:lnTo>
                    <a:lnTo>
                      <a:pt x="26" y="242"/>
                    </a:lnTo>
                    <a:lnTo>
                      <a:pt x="26" y="246"/>
                    </a:lnTo>
                    <a:lnTo>
                      <a:pt x="26" y="248"/>
                    </a:lnTo>
                    <a:lnTo>
                      <a:pt x="32" y="254"/>
                    </a:lnTo>
                    <a:lnTo>
                      <a:pt x="32" y="254"/>
                    </a:lnTo>
                    <a:lnTo>
                      <a:pt x="34" y="258"/>
                    </a:lnTo>
                    <a:lnTo>
                      <a:pt x="36" y="258"/>
                    </a:lnTo>
                    <a:lnTo>
                      <a:pt x="36" y="260"/>
                    </a:lnTo>
                    <a:lnTo>
                      <a:pt x="36" y="260"/>
                    </a:lnTo>
                    <a:lnTo>
                      <a:pt x="40" y="260"/>
                    </a:lnTo>
                    <a:lnTo>
                      <a:pt x="44" y="262"/>
                    </a:lnTo>
                    <a:lnTo>
                      <a:pt x="44" y="262"/>
                    </a:lnTo>
                    <a:lnTo>
                      <a:pt x="46" y="264"/>
                    </a:lnTo>
                    <a:lnTo>
                      <a:pt x="50" y="266"/>
                    </a:lnTo>
                    <a:lnTo>
                      <a:pt x="50" y="266"/>
                    </a:lnTo>
                    <a:lnTo>
                      <a:pt x="52" y="266"/>
                    </a:lnTo>
                    <a:lnTo>
                      <a:pt x="56" y="268"/>
                    </a:lnTo>
                    <a:lnTo>
                      <a:pt x="56" y="268"/>
                    </a:lnTo>
                    <a:lnTo>
                      <a:pt x="56" y="274"/>
                    </a:lnTo>
                    <a:lnTo>
                      <a:pt x="58" y="276"/>
                    </a:lnTo>
                    <a:lnTo>
                      <a:pt x="62" y="278"/>
                    </a:lnTo>
                    <a:lnTo>
                      <a:pt x="62" y="278"/>
                    </a:lnTo>
                    <a:lnTo>
                      <a:pt x="66" y="280"/>
                    </a:lnTo>
                    <a:lnTo>
                      <a:pt x="70" y="286"/>
                    </a:lnTo>
                    <a:lnTo>
                      <a:pt x="70" y="286"/>
                    </a:lnTo>
                    <a:lnTo>
                      <a:pt x="70" y="292"/>
                    </a:lnTo>
                    <a:lnTo>
                      <a:pt x="70" y="294"/>
                    </a:lnTo>
                    <a:lnTo>
                      <a:pt x="72" y="294"/>
                    </a:lnTo>
                    <a:lnTo>
                      <a:pt x="72" y="294"/>
                    </a:lnTo>
                    <a:lnTo>
                      <a:pt x="74" y="298"/>
                    </a:lnTo>
                    <a:lnTo>
                      <a:pt x="74" y="300"/>
                    </a:lnTo>
                    <a:lnTo>
                      <a:pt x="78" y="306"/>
                    </a:lnTo>
                    <a:lnTo>
                      <a:pt x="78" y="306"/>
                    </a:lnTo>
                    <a:lnTo>
                      <a:pt x="80" y="310"/>
                    </a:lnTo>
                    <a:lnTo>
                      <a:pt x="82" y="314"/>
                    </a:lnTo>
                    <a:lnTo>
                      <a:pt x="82" y="314"/>
                    </a:lnTo>
                    <a:lnTo>
                      <a:pt x="86" y="314"/>
                    </a:lnTo>
                    <a:lnTo>
                      <a:pt x="88" y="310"/>
                    </a:lnTo>
                    <a:lnTo>
                      <a:pt x="88" y="310"/>
                    </a:lnTo>
                    <a:lnTo>
                      <a:pt x="88" y="308"/>
                    </a:lnTo>
                    <a:lnTo>
                      <a:pt x="90" y="310"/>
                    </a:lnTo>
                    <a:lnTo>
                      <a:pt x="96" y="314"/>
                    </a:lnTo>
                    <a:lnTo>
                      <a:pt x="96" y="314"/>
                    </a:lnTo>
                    <a:lnTo>
                      <a:pt x="98" y="314"/>
                    </a:lnTo>
                    <a:lnTo>
                      <a:pt x="100" y="312"/>
                    </a:lnTo>
                    <a:lnTo>
                      <a:pt x="100" y="312"/>
                    </a:lnTo>
                    <a:lnTo>
                      <a:pt x="102" y="310"/>
                    </a:lnTo>
                    <a:lnTo>
                      <a:pt x="104" y="310"/>
                    </a:lnTo>
                    <a:lnTo>
                      <a:pt x="108" y="314"/>
                    </a:lnTo>
                    <a:lnTo>
                      <a:pt x="108" y="314"/>
                    </a:lnTo>
                    <a:lnTo>
                      <a:pt x="114" y="322"/>
                    </a:lnTo>
                    <a:lnTo>
                      <a:pt x="114" y="322"/>
                    </a:lnTo>
                    <a:lnTo>
                      <a:pt x="118" y="324"/>
                    </a:lnTo>
                    <a:lnTo>
                      <a:pt x="122" y="326"/>
                    </a:lnTo>
                    <a:lnTo>
                      <a:pt x="122" y="326"/>
                    </a:lnTo>
                    <a:lnTo>
                      <a:pt x="124" y="328"/>
                    </a:lnTo>
                    <a:lnTo>
                      <a:pt x="126" y="326"/>
                    </a:lnTo>
                    <a:lnTo>
                      <a:pt x="134" y="332"/>
                    </a:lnTo>
                    <a:lnTo>
                      <a:pt x="134" y="332"/>
                    </a:lnTo>
                    <a:lnTo>
                      <a:pt x="136" y="328"/>
                    </a:lnTo>
                    <a:lnTo>
                      <a:pt x="140" y="326"/>
                    </a:lnTo>
                    <a:lnTo>
                      <a:pt x="144" y="324"/>
                    </a:lnTo>
                    <a:lnTo>
                      <a:pt x="144" y="324"/>
                    </a:lnTo>
                    <a:lnTo>
                      <a:pt x="146" y="324"/>
                    </a:lnTo>
                    <a:lnTo>
                      <a:pt x="148" y="324"/>
                    </a:lnTo>
                    <a:lnTo>
                      <a:pt x="148" y="324"/>
                    </a:lnTo>
                    <a:lnTo>
                      <a:pt x="152" y="322"/>
                    </a:lnTo>
                    <a:lnTo>
                      <a:pt x="156" y="324"/>
                    </a:lnTo>
                    <a:lnTo>
                      <a:pt x="158" y="326"/>
                    </a:lnTo>
                    <a:lnTo>
                      <a:pt x="164" y="322"/>
                    </a:lnTo>
                    <a:lnTo>
                      <a:pt x="170" y="320"/>
                    </a:lnTo>
                    <a:lnTo>
                      <a:pt x="174" y="316"/>
                    </a:lnTo>
                    <a:lnTo>
                      <a:pt x="174" y="316"/>
                    </a:lnTo>
                    <a:lnTo>
                      <a:pt x="180" y="316"/>
                    </a:lnTo>
                    <a:lnTo>
                      <a:pt x="186" y="316"/>
                    </a:lnTo>
                    <a:lnTo>
                      <a:pt x="192" y="322"/>
                    </a:lnTo>
                    <a:lnTo>
                      <a:pt x="192" y="318"/>
                    </a:lnTo>
                    <a:lnTo>
                      <a:pt x="192" y="318"/>
                    </a:lnTo>
                    <a:lnTo>
                      <a:pt x="192" y="314"/>
                    </a:lnTo>
                    <a:lnTo>
                      <a:pt x="192" y="312"/>
                    </a:lnTo>
                    <a:lnTo>
                      <a:pt x="190" y="310"/>
                    </a:lnTo>
                    <a:lnTo>
                      <a:pt x="190" y="310"/>
                    </a:lnTo>
                    <a:lnTo>
                      <a:pt x="186" y="310"/>
                    </a:lnTo>
                    <a:lnTo>
                      <a:pt x="186" y="310"/>
                    </a:lnTo>
                    <a:lnTo>
                      <a:pt x="180" y="308"/>
                    </a:lnTo>
                    <a:lnTo>
                      <a:pt x="178" y="308"/>
                    </a:lnTo>
                    <a:lnTo>
                      <a:pt x="178" y="304"/>
                    </a:lnTo>
                    <a:lnTo>
                      <a:pt x="178" y="304"/>
                    </a:lnTo>
                    <a:lnTo>
                      <a:pt x="174" y="298"/>
                    </a:lnTo>
                    <a:lnTo>
                      <a:pt x="172" y="290"/>
                    </a:lnTo>
                    <a:lnTo>
                      <a:pt x="172" y="290"/>
                    </a:lnTo>
                    <a:lnTo>
                      <a:pt x="172" y="286"/>
                    </a:lnTo>
                    <a:lnTo>
                      <a:pt x="168" y="284"/>
                    </a:lnTo>
                    <a:lnTo>
                      <a:pt x="168" y="284"/>
                    </a:lnTo>
                    <a:lnTo>
                      <a:pt x="166" y="280"/>
                    </a:lnTo>
                    <a:lnTo>
                      <a:pt x="162" y="276"/>
                    </a:lnTo>
                    <a:lnTo>
                      <a:pt x="162" y="276"/>
                    </a:lnTo>
                    <a:lnTo>
                      <a:pt x="160" y="272"/>
                    </a:lnTo>
                    <a:lnTo>
                      <a:pt x="156" y="270"/>
                    </a:lnTo>
                    <a:lnTo>
                      <a:pt x="156" y="270"/>
                    </a:lnTo>
                    <a:lnTo>
                      <a:pt x="150" y="270"/>
                    </a:lnTo>
                    <a:lnTo>
                      <a:pt x="148" y="270"/>
                    </a:lnTo>
                    <a:lnTo>
                      <a:pt x="146" y="268"/>
                    </a:lnTo>
                    <a:lnTo>
                      <a:pt x="146" y="268"/>
                    </a:lnTo>
                    <a:lnTo>
                      <a:pt x="148" y="260"/>
                    </a:lnTo>
                    <a:lnTo>
                      <a:pt x="148" y="260"/>
                    </a:lnTo>
                    <a:lnTo>
                      <a:pt x="154" y="260"/>
                    </a:lnTo>
                    <a:lnTo>
                      <a:pt x="154" y="260"/>
                    </a:lnTo>
                    <a:lnTo>
                      <a:pt x="158" y="258"/>
                    </a:lnTo>
                    <a:lnTo>
                      <a:pt x="158" y="258"/>
                    </a:lnTo>
                    <a:lnTo>
                      <a:pt x="158" y="258"/>
                    </a:lnTo>
                    <a:lnTo>
                      <a:pt x="160" y="254"/>
                    </a:lnTo>
                    <a:lnTo>
                      <a:pt x="162" y="250"/>
                    </a:lnTo>
                    <a:lnTo>
                      <a:pt x="162" y="250"/>
                    </a:lnTo>
                    <a:lnTo>
                      <a:pt x="162" y="234"/>
                    </a:lnTo>
                    <a:lnTo>
                      <a:pt x="162" y="234"/>
                    </a:lnTo>
                    <a:lnTo>
                      <a:pt x="162" y="232"/>
                    </a:lnTo>
                    <a:lnTo>
                      <a:pt x="166" y="228"/>
                    </a:lnTo>
                    <a:lnTo>
                      <a:pt x="168" y="222"/>
                    </a:lnTo>
                    <a:lnTo>
                      <a:pt x="168" y="218"/>
                    </a:lnTo>
                    <a:lnTo>
                      <a:pt x="168" y="218"/>
                    </a:lnTo>
                    <a:lnTo>
                      <a:pt x="168" y="210"/>
                    </a:lnTo>
                    <a:lnTo>
                      <a:pt x="168" y="210"/>
                    </a:lnTo>
                    <a:lnTo>
                      <a:pt x="174" y="206"/>
                    </a:lnTo>
                    <a:lnTo>
                      <a:pt x="174" y="206"/>
                    </a:lnTo>
                    <a:lnTo>
                      <a:pt x="178" y="204"/>
                    </a:lnTo>
                    <a:lnTo>
                      <a:pt x="180" y="200"/>
                    </a:lnTo>
                    <a:lnTo>
                      <a:pt x="180" y="200"/>
                    </a:lnTo>
                    <a:lnTo>
                      <a:pt x="184" y="192"/>
                    </a:lnTo>
                    <a:lnTo>
                      <a:pt x="184" y="192"/>
                    </a:lnTo>
                    <a:lnTo>
                      <a:pt x="186" y="186"/>
                    </a:lnTo>
                    <a:lnTo>
                      <a:pt x="188" y="180"/>
                    </a:lnTo>
                    <a:lnTo>
                      <a:pt x="188" y="180"/>
                    </a:lnTo>
                    <a:lnTo>
                      <a:pt x="190" y="176"/>
                    </a:lnTo>
                    <a:lnTo>
                      <a:pt x="192" y="172"/>
                    </a:lnTo>
                    <a:lnTo>
                      <a:pt x="196" y="168"/>
                    </a:lnTo>
                    <a:lnTo>
                      <a:pt x="196" y="168"/>
                    </a:lnTo>
                    <a:lnTo>
                      <a:pt x="202" y="156"/>
                    </a:lnTo>
                    <a:lnTo>
                      <a:pt x="202" y="156"/>
                    </a:lnTo>
                    <a:lnTo>
                      <a:pt x="202" y="150"/>
                    </a:lnTo>
                    <a:lnTo>
                      <a:pt x="202" y="142"/>
                    </a:lnTo>
                    <a:lnTo>
                      <a:pt x="202" y="142"/>
                    </a:lnTo>
                    <a:lnTo>
                      <a:pt x="202" y="136"/>
                    </a:lnTo>
                    <a:lnTo>
                      <a:pt x="202" y="130"/>
                    </a:lnTo>
                    <a:lnTo>
                      <a:pt x="202" y="130"/>
                    </a:lnTo>
                    <a:lnTo>
                      <a:pt x="206" y="124"/>
                    </a:lnTo>
                    <a:lnTo>
                      <a:pt x="206" y="118"/>
                    </a:lnTo>
                    <a:lnTo>
                      <a:pt x="206" y="118"/>
                    </a:lnTo>
                    <a:lnTo>
                      <a:pt x="206" y="112"/>
                    </a:lnTo>
                    <a:lnTo>
                      <a:pt x="208" y="108"/>
                    </a:lnTo>
                    <a:lnTo>
                      <a:pt x="208" y="108"/>
                    </a:lnTo>
                    <a:lnTo>
                      <a:pt x="208" y="102"/>
                    </a:lnTo>
                    <a:lnTo>
                      <a:pt x="208" y="102"/>
                    </a:lnTo>
                    <a:lnTo>
                      <a:pt x="208" y="100"/>
                    </a:lnTo>
                    <a:lnTo>
                      <a:pt x="208" y="100"/>
                    </a:lnTo>
                    <a:lnTo>
                      <a:pt x="210" y="100"/>
                    </a:lnTo>
                    <a:lnTo>
                      <a:pt x="210" y="98"/>
                    </a:lnTo>
                    <a:lnTo>
                      <a:pt x="212" y="94"/>
                    </a:lnTo>
                    <a:lnTo>
                      <a:pt x="212" y="94"/>
                    </a:lnTo>
                    <a:lnTo>
                      <a:pt x="214" y="92"/>
                    </a:lnTo>
                    <a:lnTo>
                      <a:pt x="216" y="92"/>
                    </a:lnTo>
                    <a:lnTo>
                      <a:pt x="222" y="94"/>
                    </a:lnTo>
                    <a:lnTo>
                      <a:pt x="226" y="8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0" name="Freeform 161"/>
              <p:cNvSpPr>
                <a:spLocks noChangeAspect="1" noEditPoints="1"/>
              </p:cNvSpPr>
              <p:nvPr/>
            </p:nvSpPr>
            <p:spPr bwMode="gray">
              <a:xfrm>
                <a:off x="5074561" y="3516297"/>
                <a:ext cx="37402" cy="98698"/>
              </a:xfrm>
              <a:custGeom>
                <a:avLst/>
                <a:gdLst/>
                <a:ahLst/>
                <a:cxnLst>
                  <a:cxn ang="0">
                    <a:pos x="20" y="20"/>
                  </a:cxn>
                  <a:cxn ang="0">
                    <a:pos x="20" y="22"/>
                  </a:cxn>
                  <a:cxn ang="0">
                    <a:pos x="20" y="28"/>
                  </a:cxn>
                  <a:cxn ang="0">
                    <a:pos x="16" y="28"/>
                  </a:cxn>
                  <a:cxn ang="0">
                    <a:pos x="14" y="28"/>
                  </a:cxn>
                  <a:cxn ang="0">
                    <a:pos x="14" y="20"/>
                  </a:cxn>
                  <a:cxn ang="0">
                    <a:pos x="14" y="12"/>
                  </a:cxn>
                  <a:cxn ang="0">
                    <a:pos x="16" y="10"/>
                  </a:cxn>
                  <a:cxn ang="0">
                    <a:pos x="20" y="12"/>
                  </a:cxn>
                  <a:cxn ang="0">
                    <a:pos x="18" y="14"/>
                  </a:cxn>
                  <a:cxn ang="0">
                    <a:pos x="16" y="16"/>
                  </a:cxn>
                  <a:cxn ang="0">
                    <a:pos x="16" y="22"/>
                  </a:cxn>
                  <a:cxn ang="0">
                    <a:pos x="20" y="20"/>
                  </a:cxn>
                  <a:cxn ang="0">
                    <a:pos x="4" y="20"/>
                  </a:cxn>
                  <a:cxn ang="0">
                    <a:pos x="2" y="26"/>
                  </a:cxn>
                  <a:cxn ang="0">
                    <a:pos x="4" y="20"/>
                  </a:cxn>
                  <a:cxn ang="0">
                    <a:pos x="6" y="60"/>
                  </a:cxn>
                  <a:cxn ang="0">
                    <a:pos x="16" y="48"/>
                  </a:cxn>
                  <a:cxn ang="0">
                    <a:pos x="16" y="44"/>
                  </a:cxn>
                  <a:cxn ang="0">
                    <a:pos x="18" y="34"/>
                  </a:cxn>
                  <a:cxn ang="0">
                    <a:pos x="20" y="28"/>
                  </a:cxn>
                  <a:cxn ang="0">
                    <a:pos x="16" y="28"/>
                  </a:cxn>
                  <a:cxn ang="0">
                    <a:pos x="14" y="28"/>
                  </a:cxn>
                  <a:cxn ang="0">
                    <a:pos x="14" y="20"/>
                  </a:cxn>
                  <a:cxn ang="0">
                    <a:pos x="14" y="12"/>
                  </a:cxn>
                  <a:cxn ang="0">
                    <a:pos x="16" y="10"/>
                  </a:cxn>
                  <a:cxn ang="0">
                    <a:pos x="20" y="12"/>
                  </a:cxn>
                  <a:cxn ang="0">
                    <a:pos x="20" y="12"/>
                  </a:cxn>
                  <a:cxn ang="0">
                    <a:pos x="22" y="6"/>
                  </a:cxn>
                  <a:cxn ang="0">
                    <a:pos x="20" y="0"/>
                  </a:cxn>
                  <a:cxn ang="0">
                    <a:pos x="16" y="2"/>
                  </a:cxn>
                  <a:cxn ang="0">
                    <a:pos x="16" y="2"/>
                  </a:cxn>
                  <a:cxn ang="0">
                    <a:pos x="10" y="2"/>
                  </a:cxn>
                  <a:cxn ang="0">
                    <a:pos x="10" y="6"/>
                  </a:cxn>
                  <a:cxn ang="0">
                    <a:pos x="6" y="12"/>
                  </a:cxn>
                  <a:cxn ang="0">
                    <a:pos x="6" y="16"/>
                  </a:cxn>
                  <a:cxn ang="0">
                    <a:pos x="6" y="20"/>
                  </a:cxn>
                  <a:cxn ang="0">
                    <a:pos x="6" y="24"/>
                  </a:cxn>
                  <a:cxn ang="0">
                    <a:pos x="4" y="34"/>
                  </a:cxn>
                </a:cxnLst>
                <a:rect l="0" t="0" r="r" b="b"/>
                <a:pathLst>
                  <a:path w="22" h="60">
                    <a:moveTo>
                      <a:pt x="20" y="20"/>
                    </a:moveTo>
                    <a:lnTo>
                      <a:pt x="20" y="20"/>
                    </a:lnTo>
                    <a:lnTo>
                      <a:pt x="20" y="22"/>
                    </a:lnTo>
                    <a:lnTo>
                      <a:pt x="20" y="22"/>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18" y="14"/>
                    </a:lnTo>
                    <a:lnTo>
                      <a:pt x="16" y="16"/>
                    </a:lnTo>
                    <a:lnTo>
                      <a:pt x="16" y="16"/>
                    </a:lnTo>
                    <a:lnTo>
                      <a:pt x="16" y="22"/>
                    </a:lnTo>
                    <a:lnTo>
                      <a:pt x="16" y="22"/>
                    </a:lnTo>
                    <a:lnTo>
                      <a:pt x="20" y="20"/>
                    </a:lnTo>
                    <a:lnTo>
                      <a:pt x="20" y="20"/>
                    </a:lnTo>
                    <a:close/>
                    <a:moveTo>
                      <a:pt x="4" y="20"/>
                    </a:moveTo>
                    <a:lnTo>
                      <a:pt x="4" y="20"/>
                    </a:lnTo>
                    <a:lnTo>
                      <a:pt x="0" y="24"/>
                    </a:lnTo>
                    <a:lnTo>
                      <a:pt x="2" y="26"/>
                    </a:lnTo>
                    <a:lnTo>
                      <a:pt x="6" y="24"/>
                    </a:lnTo>
                    <a:lnTo>
                      <a:pt x="4" y="20"/>
                    </a:lnTo>
                    <a:close/>
                    <a:moveTo>
                      <a:pt x="6" y="60"/>
                    </a:moveTo>
                    <a:lnTo>
                      <a:pt x="6" y="60"/>
                    </a:lnTo>
                    <a:lnTo>
                      <a:pt x="12" y="54"/>
                    </a:lnTo>
                    <a:lnTo>
                      <a:pt x="16" y="48"/>
                    </a:lnTo>
                    <a:lnTo>
                      <a:pt x="16" y="44"/>
                    </a:lnTo>
                    <a:lnTo>
                      <a:pt x="16" y="44"/>
                    </a:lnTo>
                    <a:lnTo>
                      <a:pt x="16" y="38"/>
                    </a:lnTo>
                    <a:lnTo>
                      <a:pt x="18" y="34"/>
                    </a:lnTo>
                    <a:lnTo>
                      <a:pt x="20" y="28"/>
                    </a:lnTo>
                    <a:lnTo>
                      <a:pt x="20" y="28"/>
                    </a:lnTo>
                    <a:lnTo>
                      <a:pt x="18" y="28"/>
                    </a:lnTo>
                    <a:lnTo>
                      <a:pt x="16" y="28"/>
                    </a:lnTo>
                    <a:lnTo>
                      <a:pt x="14" y="28"/>
                    </a:lnTo>
                    <a:lnTo>
                      <a:pt x="14" y="28"/>
                    </a:lnTo>
                    <a:lnTo>
                      <a:pt x="14" y="20"/>
                    </a:lnTo>
                    <a:lnTo>
                      <a:pt x="14" y="20"/>
                    </a:lnTo>
                    <a:lnTo>
                      <a:pt x="14" y="14"/>
                    </a:lnTo>
                    <a:lnTo>
                      <a:pt x="14" y="12"/>
                    </a:lnTo>
                    <a:lnTo>
                      <a:pt x="16" y="10"/>
                    </a:lnTo>
                    <a:lnTo>
                      <a:pt x="16" y="10"/>
                    </a:lnTo>
                    <a:lnTo>
                      <a:pt x="18" y="10"/>
                    </a:lnTo>
                    <a:lnTo>
                      <a:pt x="20" y="12"/>
                    </a:lnTo>
                    <a:lnTo>
                      <a:pt x="20" y="12"/>
                    </a:lnTo>
                    <a:lnTo>
                      <a:pt x="20" y="12"/>
                    </a:lnTo>
                    <a:lnTo>
                      <a:pt x="20" y="10"/>
                    </a:lnTo>
                    <a:lnTo>
                      <a:pt x="22" y="6"/>
                    </a:lnTo>
                    <a:lnTo>
                      <a:pt x="20" y="0"/>
                    </a:lnTo>
                    <a:lnTo>
                      <a:pt x="20" y="0"/>
                    </a:lnTo>
                    <a:lnTo>
                      <a:pt x="18" y="0"/>
                    </a:lnTo>
                    <a:lnTo>
                      <a:pt x="16" y="2"/>
                    </a:lnTo>
                    <a:lnTo>
                      <a:pt x="16" y="2"/>
                    </a:lnTo>
                    <a:lnTo>
                      <a:pt x="16" y="2"/>
                    </a:lnTo>
                    <a:lnTo>
                      <a:pt x="14" y="2"/>
                    </a:lnTo>
                    <a:lnTo>
                      <a:pt x="10" y="2"/>
                    </a:lnTo>
                    <a:lnTo>
                      <a:pt x="10" y="2"/>
                    </a:lnTo>
                    <a:lnTo>
                      <a:pt x="10" y="6"/>
                    </a:lnTo>
                    <a:lnTo>
                      <a:pt x="10" y="6"/>
                    </a:lnTo>
                    <a:lnTo>
                      <a:pt x="6" y="12"/>
                    </a:lnTo>
                    <a:lnTo>
                      <a:pt x="6" y="12"/>
                    </a:lnTo>
                    <a:lnTo>
                      <a:pt x="6" y="16"/>
                    </a:lnTo>
                    <a:lnTo>
                      <a:pt x="6" y="20"/>
                    </a:lnTo>
                    <a:lnTo>
                      <a:pt x="6" y="20"/>
                    </a:lnTo>
                    <a:lnTo>
                      <a:pt x="4" y="20"/>
                    </a:lnTo>
                    <a:lnTo>
                      <a:pt x="6" y="24"/>
                    </a:lnTo>
                    <a:lnTo>
                      <a:pt x="2" y="26"/>
                    </a:lnTo>
                    <a:lnTo>
                      <a:pt x="4" y="34"/>
                    </a:lnTo>
                    <a:lnTo>
                      <a:pt x="6" y="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1" name="Freeform 4"/>
              <p:cNvSpPr>
                <a:spLocks noChangeAspect="1"/>
              </p:cNvSpPr>
              <p:nvPr/>
            </p:nvSpPr>
            <p:spPr bwMode="gray">
              <a:xfrm>
                <a:off x="4860347" y="4848723"/>
                <a:ext cx="176812" cy="197397"/>
              </a:xfrm>
              <a:custGeom>
                <a:avLst/>
                <a:gdLst/>
                <a:ahLst/>
                <a:cxnLst>
                  <a:cxn ang="0">
                    <a:pos x="70" y="10"/>
                  </a:cxn>
                  <a:cxn ang="0">
                    <a:pos x="84" y="14"/>
                  </a:cxn>
                  <a:cxn ang="0">
                    <a:pos x="92" y="18"/>
                  </a:cxn>
                  <a:cxn ang="0">
                    <a:pos x="100" y="24"/>
                  </a:cxn>
                  <a:cxn ang="0">
                    <a:pos x="102" y="30"/>
                  </a:cxn>
                  <a:cxn ang="0">
                    <a:pos x="98" y="36"/>
                  </a:cxn>
                  <a:cxn ang="0">
                    <a:pos x="100" y="48"/>
                  </a:cxn>
                  <a:cxn ang="0">
                    <a:pos x="100" y="60"/>
                  </a:cxn>
                  <a:cxn ang="0">
                    <a:pos x="98" y="64"/>
                  </a:cxn>
                  <a:cxn ang="0">
                    <a:pos x="100" y="68"/>
                  </a:cxn>
                  <a:cxn ang="0">
                    <a:pos x="98" y="74"/>
                  </a:cxn>
                  <a:cxn ang="0">
                    <a:pos x="98" y="80"/>
                  </a:cxn>
                  <a:cxn ang="0">
                    <a:pos x="100" y="90"/>
                  </a:cxn>
                  <a:cxn ang="0">
                    <a:pos x="98" y="94"/>
                  </a:cxn>
                  <a:cxn ang="0">
                    <a:pos x="100" y="96"/>
                  </a:cxn>
                  <a:cxn ang="0">
                    <a:pos x="102" y="98"/>
                  </a:cxn>
                  <a:cxn ang="0">
                    <a:pos x="86" y="120"/>
                  </a:cxn>
                  <a:cxn ang="0">
                    <a:pos x="78" y="118"/>
                  </a:cxn>
                  <a:cxn ang="0">
                    <a:pos x="72" y="116"/>
                  </a:cxn>
                  <a:cxn ang="0">
                    <a:pos x="64" y="116"/>
                  </a:cxn>
                  <a:cxn ang="0">
                    <a:pos x="58" y="116"/>
                  </a:cxn>
                  <a:cxn ang="0">
                    <a:pos x="52" y="112"/>
                  </a:cxn>
                  <a:cxn ang="0">
                    <a:pos x="50" y="110"/>
                  </a:cxn>
                  <a:cxn ang="0">
                    <a:pos x="46" y="110"/>
                  </a:cxn>
                  <a:cxn ang="0">
                    <a:pos x="42" y="106"/>
                  </a:cxn>
                  <a:cxn ang="0">
                    <a:pos x="42" y="96"/>
                  </a:cxn>
                  <a:cxn ang="0">
                    <a:pos x="40" y="94"/>
                  </a:cxn>
                  <a:cxn ang="0">
                    <a:pos x="38" y="92"/>
                  </a:cxn>
                  <a:cxn ang="0">
                    <a:pos x="34" y="86"/>
                  </a:cxn>
                  <a:cxn ang="0">
                    <a:pos x="28" y="78"/>
                  </a:cxn>
                  <a:cxn ang="0">
                    <a:pos x="24" y="74"/>
                  </a:cxn>
                  <a:cxn ang="0">
                    <a:pos x="22" y="74"/>
                  </a:cxn>
                  <a:cxn ang="0">
                    <a:pos x="18" y="74"/>
                  </a:cxn>
                  <a:cxn ang="0">
                    <a:pos x="16" y="70"/>
                  </a:cxn>
                  <a:cxn ang="0">
                    <a:pos x="8" y="60"/>
                  </a:cxn>
                  <a:cxn ang="0">
                    <a:pos x="6" y="54"/>
                  </a:cxn>
                  <a:cxn ang="0">
                    <a:pos x="2" y="50"/>
                  </a:cxn>
                  <a:cxn ang="0">
                    <a:pos x="0" y="44"/>
                  </a:cxn>
                  <a:cxn ang="0">
                    <a:pos x="8" y="44"/>
                  </a:cxn>
                  <a:cxn ang="0">
                    <a:pos x="14" y="44"/>
                  </a:cxn>
                  <a:cxn ang="0">
                    <a:pos x="18" y="42"/>
                  </a:cxn>
                  <a:cxn ang="0">
                    <a:pos x="32" y="40"/>
                  </a:cxn>
                  <a:cxn ang="0">
                    <a:pos x="40" y="38"/>
                  </a:cxn>
                  <a:cxn ang="0">
                    <a:pos x="42" y="26"/>
                  </a:cxn>
                  <a:cxn ang="0">
                    <a:pos x="44" y="22"/>
                  </a:cxn>
                  <a:cxn ang="0">
                    <a:pos x="50" y="18"/>
                  </a:cxn>
                  <a:cxn ang="0">
                    <a:pos x="52" y="12"/>
                  </a:cxn>
                  <a:cxn ang="0">
                    <a:pos x="58" y="8"/>
                  </a:cxn>
                </a:cxnLst>
                <a:rect l="0" t="0" r="r" b="b"/>
                <a:pathLst>
                  <a:path w="104" h="120">
                    <a:moveTo>
                      <a:pt x="72" y="0"/>
                    </a:moveTo>
                    <a:lnTo>
                      <a:pt x="70" y="10"/>
                    </a:lnTo>
                    <a:lnTo>
                      <a:pt x="70" y="10"/>
                    </a:lnTo>
                    <a:lnTo>
                      <a:pt x="76" y="10"/>
                    </a:lnTo>
                    <a:lnTo>
                      <a:pt x="76" y="10"/>
                    </a:lnTo>
                    <a:lnTo>
                      <a:pt x="84" y="14"/>
                    </a:lnTo>
                    <a:lnTo>
                      <a:pt x="84" y="14"/>
                    </a:lnTo>
                    <a:lnTo>
                      <a:pt x="92" y="18"/>
                    </a:lnTo>
                    <a:lnTo>
                      <a:pt x="92" y="18"/>
                    </a:lnTo>
                    <a:lnTo>
                      <a:pt x="96" y="20"/>
                    </a:lnTo>
                    <a:lnTo>
                      <a:pt x="100" y="24"/>
                    </a:lnTo>
                    <a:lnTo>
                      <a:pt x="100" y="24"/>
                    </a:lnTo>
                    <a:lnTo>
                      <a:pt x="102" y="28"/>
                    </a:lnTo>
                    <a:lnTo>
                      <a:pt x="102" y="30"/>
                    </a:lnTo>
                    <a:lnTo>
                      <a:pt x="102" y="30"/>
                    </a:lnTo>
                    <a:lnTo>
                      <a:pt x="100" y="32"/>
                    </a:lnTo>
                    <a:lnTo>
                      <a:pt x="98" y="36"/>
                    </a:lnTo>
                    <a:lnTo>
                      <a:pt x="98" y="36"/>
                    </a:lnTo>
                    <a:lnTo>
                      <a:pt x="98" y="42"/>
                    </a:lnTo>
                    <a:lnTo>
                      <a:pt x="100" y="48"/>
                    </a:lnTo>
                    <a:lnTo>
                      <a:pt x="100" y="48"/>
                    </a:lnTo>
                    <a:lnTo>
                      <a:pt x="104" y="54"/>
                    </a:lnTo>
                    <a:lnTo>
                      <a:pt x="104" y="54"/>
                    </a:lnTo>
                    <a:lnTo>
                      <a:pt x="100" y="60"/>
                    </a:lnTo>
                    <a:lnTo>
                      <a:pt x="100" y="60"/>
                    </a:lnTo>
                    <a:lnTo>
                      <a:pt x="98" y="62"/>
                    </a:lnTo>
                    <a:lnTo>
                      <a:pt x="98" y="64"/>
                    </a:lnTo>
                    <a:lnTo>
                      <a:pt x="98" y="66"/>
                    </a:lnTo>
                    <a:lnTo>
                      <a:pt x="98" y="66"/>
                    </a:lnTo>
                    <a:lnTo>
                      <a:pt x="100" y="68"/>
                    </a:lnTo>
                    <a:lnTo>
                      <a:pt x="100" y="70"/>
                    </a:lnTo>
                    <a:lnTo>
                      <a:pt x="100" y="70"/>
                    </a:lnTo>
                    <a:lnTo>
                      <a:pt x="98" y="74"/>
                    </a:lnTo>
                    <a:lnTo>
                      <a:pt x="98" y="74"/>
                    </a:lnTo>
                    <a:lnTo>
                      <a:pt x="98" y="80"/>
                    </a:lnTo>
                    <a:lnTo>
                      <a:pt x="98" y="80"/>
                    </a:lnTo>
                    <a:lnTo>
                      <a:pt x="98" y="82"/>
                    </a:lnTo>
                    <a:lnTo>
                      <a:pt x="98" y="86"/>
                    </a:lnTo>
                    <a:lnTo>
                      <a:pt x="100" y="90"/>
                    </a:lnTo>
                    <a:lnTo>
                      <a:pt x="100" y="90"/>
                    </a:lnTo>
                    <a:lnTo>
                      <a:pt x="98" y="94"/>
                    </a:lnTo>
                    <a:lnTo>
                      <a:pt x="98" y="94"/>
                    </a:lnTo>
                    <a:lnTo>
                      <a:pt x="98" y="94"/>
                    </a:lnTo>
                    <a:lnTo>
                      <a:pt x="100" y="96"/>
                    </a:lnTo>
                    <a:lnTo>
                      <a:pt x="100" y="96"/>
                    </a:lnTo>
                    <a:lnTo>
                      <a:pt x="102" y="96"/>
                    </a:lnTo>
                    <a:lnTo>
                      <a:pt x="102" y="98"/>
                    </a:lnTo>
                    <a:lnTo>
                      <a:pt x="102" y="98"/>
                    </a:lnTo>
                    <a:lnTo>
                      <a:pt x="96" y="108"/>
                    </a:lnTo>
                    <a:lnTo>
                      <a:pt x="86" y="120"/>
                    </a:lnTo>
                    <a:lnTo>
                      <a:pt x="86" y="120"/>
                    </a:lnTo>
                    <a:lnTo>
                      <a:pt x="84" y="118"/>
                    </a:lnTo>
                    <a:lnTo>
                      <a:pt x="78" y="118"/>
                    </a:lnTo>
                    <a:lnTo>
                      <a:pt x="78" y="118"/>
                    </a:lnTo>
                    <a:lnTo>
                      <a:pt x="74" y="116"/>
                    </a:lnTo>
                    <a:lnTo>
                      <a:pt x="72" y="116"/>
                    </a:lnTo>
                    <a:lnTo>
                      <a:pt x="72" y="116"/>
                    </a:lnTo>
                    <a:lnTo>
                      <a:pt x="70" y="116"/>
                    </a:lnTo>
                    <a:lnTo>
                      <a:pt x="64" y="116"/>
                    </a:lnTo>
                    <a:lnTo>
                      <a:pt x="64" y="116"/>
                    </a:lnTo>
                    <a:lnTo>
                      <a:pt x="62" y="118"/>
                    </a:lnTo>
                    <a:lnTo>
                      <a:pt x="60" y="116"/>
                    </a:lnTo>
                    <a:lnTo>
                      <a:pt x="58" y="116"/>
                    </a:lnTo>
                    <a:lnTo>
                      <a:pt x="58" y="116"/>
                    </a:lnTo>
                    <a:lnTo>
                      <a:pt x="56" y="114"/>
                    </a:lnTo>
                    <a:lnTo>
                      <a:pt x="52" y="112"/>
                    </a:lnTo>
                    <a:lnTo>
                      <a:pt x="52" y="112"/>
                    </a:lnTo>
                    <a:lnTo>
                      <a:pt x="50" y="110"/>
                    </a:lnTo>
                    <a:lnTo>
                      <a:pt x="50" y="110"/>
                    </a:lnTo>
                    <a:lnTo>
                      <a:pt x="48" y="110"/>
                    </a:lnTo>
                    <a:lnTo>
                      <a:pt x="46" y="110"/>
                    </a:lnTo>
                    <a:lnTo>
                      <a:pt x="46" y="110"/>
                    </a:lnTo>
                    <a:lnTo>
                      <a:pt x="42" y="108"/>
                    </a:lnTo>
                    <a:lnTo>
                      <a:pt x="42" y="108"/>
                    </a:lnTo>
                    <a:lnTo>
                      <a:pt x="42" y="106"/>
                    </a:lnTo>
                    <a:lnTo>
                      <a:pt x="42" y="106"/>
                    </a:lnTo>
                    <a:lnTo>
                      <a:pt x="40" y="100"/>
                    </a:lnTo>
                    <a:lnTo>
                      <a:pt x="42" y="96"/>
                    </a:lnTo>
                    <a:lnTo>
                      <a:pt x="42" y="96"/>
                    </a:lnTo>
                    <a:lnTo>
                      <a:pt x="42" y="94"/>
                    </a:lnTo>
                    <a:lnTo>
                      <a:pt x="40" y="94"/>
                    </a:lnTo>
                    <a:lnTo>
                      <a:pt x="38" y="92"/>
                    </a:lnTo>
                    <a:lnTo>
                      <a:pt x="38" y="92"/>
                    </a:lnTo>
                    <a:lnTo>
                      <a:pt x="38" y="92"/>
                    </a:lnTo>
                    <a:lnTo>
                      <a:pt x="36" y="88"/>
                    </a:lnTo>
                    <a:lnTo>
                      <a:pt x="34" y="86"/>
                    </a:lnTo>
                    <a:lnTo>
                      <a:pt x="34" y="86"/>
                    </a:lnTo>
                    <a:lnTo>
                      <a:pt x="32" y="80"/>
                    </a:lnTo>
                    <a:lnTo>
                      <a:pt x="32" y="80"/>
                    </a:lnTo>
                    <a:lnTo>
                      <a:pt x="28" y="78"/>
                    </a:lnTo>
                    <a:lnTo>
                      <a:pt x="26" y="76"/>
                    </a:lnTo>
                    <a:lnTo>
                      <a:pt x="24" y="74"/>
                    </a:lnTo>
                    <a:lnTo>
                      <a:pt x="24" y="74"/>
                    </a:lnTo>
                    <a:lnTo>
                      <a:pt x="24" y="72"/>
                    </a:lnTo>
                    <a:lnTo>
                      <a:pt x="24" y="74"/>
                    </a:lnTo>
                    <a:lnTo>
                      <a:pt x="22" y="74"/>
                    </a:lnTo>
                    <a:lnTo>
                      <a:pt x="20" y="74"/>
                    </a:lnTo>
                    <a:lnTo>
                      <a:pt x="20" y="74"/>
                    </a:lnTo>
                    <a:lnTo>
                      <a:pt x="18" y="74"/>
                    </a:lnTo>
                    <a:lnTo>
                      <a:pt x="18" y="72"/>
                    </a:lnTo>
                    <a:lnTo>
                      <a:pt x="16" y="70"/>
                    </a:lnTo>
                    <a:lnTo>
                      <a:pt x="16" y="70"/>
                    </a:lnTo>
                    <a:lnTo>
                      <a:pt x="16" y="70"/>
                    </a:lnTo>
                    <a:lnTo>
                      <a:pt x="10" y="64"/>
                    </a:lnTo>
                    <a:lnTo>
                      <a:pt x="8" y="60"/>
                    </a:lnTo>
                    <a:lnTo>
                      <a:pt x="8" y="60"/>
                    </a:lnTo>
                    <a:lnTo>
                      <a:pt x="8" y="56"/>
                    </a:lnTo>
                    <a:lnTo>
                      <a:pt x="6" y="54"/>
                    </a:lnTo>
                    <a:lnTo>
                      <a:pt x="4" y="52"/>
                    </a:lnTo>
                    <a:lnTo>
                      <a:pt x="4" y="52"/>
                    </a:lnTo>
                    <a:lnTo>
                      <a:pt x="2" y="50"/>
                    </a:lnTo>
                    <a:lnTo>
                      <a:pt x="2" y="48"/>
                    </a:lnTo>
                    <a:lnTo>
                      <a:pt x="0" y="44"/>
                    </a:lnTo>
                    <a:lnTo>
                      <a:pt x="0" y="44"/>
                    </a:lnTo>
                    <a:lnTo>
                      <a:pt x="2" y="44"/>
                    </a:lnTo>
                    <a:lnTo>
                      <a:pt x="8" y="44"/>
                    </a:lnTo>
                    <a:lnTo>
                      <a:pt x="8" y="44"/>
                    </a:lnTo>
                    <a:lnTo>
                      <a:pt x="10" y="44"/>
                    </a:lnTo>
                    <a:lnTo>
                      <a:pt x="12" y="44"/>
                    </a:lnTo>
                    <a:lnTo>
                      <a:pt x="14" y="44"/>
                    </a:lnTo>
                    <a:lnTo>
                      <a:pt x="14" y="44"/>
                    </a:lnTo>
                    <a:lnTo>
                      <a:pt x="16" y="42"/>
                    </a:lnTo>
                    <a:lnTo>
                      <a:pt x="18" y="42"/>
                    </a:lnTo>
                    <a:lnTo>
                      <a:pt x="22" y="44"/>
                    </a:lnTo>
                    <a:lnTo>
                      <a:pt x="22" y="44"/>
                    </a:lnTo>
                    <a:lnTo>
                      <a:pt x="32" y="40"/>
                    </a:lnTo>
                    <a:lnTo>
                      <a:pt x="32" y="40"/>
                    </a:lnTo>
                    <a:lnTo>
                      <a:pt x="36" y="38"/>
                    </a:lnTo>
                    <a:lnTo>
                      <a:pt x="40" y="38"/>
                    </a:lnTo>
                    <a:lnTo>
                      <a:pt x="40" y="38"/>
                    </a:lnTo>
                    <a:lnTo>
                      <a:pt x="42" y="30"/>
                    </a:lnTo>
                    <a:lnTo>
                      <a:pt x="42" y="26"/>
                    </a:lnTo>
                    <a:lnTo>
                      <a:pt x="44" y="24"/>
                    </a:lnTo>
                    <a:lnTo>
                      <a:pt x="44" y="24"/>
                    </a:lnTo>
                    <a:lnTo>
                      <a:pt x="44" y="22"/>
                    </a:lnTo>
                    <a:lnTo>
                      <a:pt x="46" y="20"/>
                    </a:lnTo>
                    <a:lnTo>
                      <a:pt x="46" y="20"/>
                    </a:lnTo>
                    <a:lnTo>
                      <a:pt x="50" y="18"/>
                    </a:lnTo>
                    <a:lnTo>
                      <a:pt x="50" y="16"/>
                    </a:lnTo>
                    <a:lnTo>
                      <a:pt x="50" y="16"/>
                    </a:lnTo>
                    <a:lnTo>
                      <a:pt x="52" y="12"/>
                    </a:lnTo>
                    <a:lnTo>
                      <a:pt x="54" y="10"/>
                    </a:lnTo>
                    <a:lnTo>
                      <a:pt x="54" y="10"/>
                    </a:lnTo>
                    <a:lnTo>
                      <a:pt x="58" y="8"/>
                    </a:lnTo>
                    <a:lnTo>
                      <a:pt x="60" y="6"/>
                    </a:lnTo>
                    <a:lnTo>
                      <a:pt x="7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2" name="Freeform 5"/>
              <p:cNvSpPr>
                <a:spLocks noChangeAspect="1"/>
              </p:cNvSpPr>
              <p:nvPr/>
            </p:nvSpPr>
            <p:spPr bwMode="gray">
              <a:xfrm>
                <a:off x="4788941" y="4654617"/>
                <a:ext cx="261818" cy="266485"/>
              </a:xfrm>
              <a:custGeom>
                <a:avLst/>
                <a:gdLst/>
                <a:ahLst/>
                <a:cxnLst>
                  <a:cxn ang="0">
                    <a:pos x="36" y="156"/>
                  </a:cxn>
                  <a:cxn ang="0">
                    <a:pos x="42" y="162"/>
                  </a:cxn>
                  <a:cxn ang="0">
                    <a:pos x="50" y="162"/>
                  </a:cxn>
                  <a:cxn ang="0">
                    <a:pos x="56" y="162"/>
                  </a:cxn>
                  <a:cxn ang="0">
                    <a:pos x="64" y="162"/>
                  </a:cxn>
                  <a:cxn ang="0">
                    <a:pos x="82" y="156"/>
                  </a:cxn>
                  <a:cxn ang="0">
                    <a:pos x="86" y="142"/>
                  </a:cxn>
                  <a:cxn ang="0">
                    <a:pos x="88" y="138"/>
                  </a:cxn>
                  <a:cxn ang="0">
                    <a:pos x="94" y="130"/>
                  </a:cxn>
                  <a:cxn ang="0">
                    <a:pos x="102" y="124"/>
                  </a:cxn>
                  <a:cxn ang="0">
                    <a:pos x="114" y="116"/>
                  </a:cxn>
                  <a:cxn ang="0">
                    <a:pos x="140" y="100"/>
                  </a:cxn>
                  <a:cxn ang="0">
                    <a:pos x="140" y="86"/>
                  </a:cxn>
                  <a:cxn ang="0">
                    <a:pos x="140" y="74"/>
                  </a:cxn>
                  <a:cxn ang="0">
                    <a:pos x="150" y="66"/>
                  </a:cxn>
                  <a:cxn ang="0">
                    <a:pos x="148" y="62"/>
                  </a:cxn>
                  <a:cxn ang="0">
                    <a:pos x="146" y="54"/>
                  </a:cxn>
                  <a:cxn ang="0">
                    <a:pos x="146" y="46"/>
                  </a:cxn>
                  <a:cxn ang="0">
                    <a:pos x="154" y="38"/>
                  </a:cxn>
                  <a:cxn ang="0">
                    <a:pos x="152" y="32"/>
                  </a:cxn>
                  <a:cxn ang="0">
                    <a:pos x="148" y="22"/>
                  </a:cxn>
                  <a:cxn ang="0">
                    <a:pos x="140" y="18"/>
                  </a:cxn>
                  <a:cxn ang="0">
                    <a:pos x="134" y="14"/>
                  </a:cxn>
                  <a:cxn ang="0">
                    <a:pos x="132" y="6"/>
                  </a:cxn>
                  <a:cxn ang="0">
                    <a:pos x="126" y="8"/>
                  </a:cxn>
                  <a:cxn ang="0">
                    <a:pos x="118" y="8"/>
                  </a:cxn>
                  <a:cxn ang="0">
                    <a:pos x="120" y="4"/>
                  </a:cxn>
                  <a:cxn ang="0">
                    <a:pos x="92" y="8"/>
                  </a:cxn>
                  <a:cxn ang="0">
                    <a:pos x="92" y="10"/>
                  </a:cxn>
                  <a:cxn ang="0">
                    <a:pos x="84" y="18"/>
                  </a:cxn>
                  <a:cxn ang="0">
                    <a:pos x="80" y="22"/>
                  </a:cxn>
                  <a:cxn ang="0">
                    <a:pos x="82" y="30"/>
                  </a:cxn>
                  <a:cxn ang="0">
                    <a:pos x="86" y="40"/>
                  </a:cxn>
                  <a:cxn ang="0">
                    <a:pos x="86" y="50"/>
                  </a:cxn>
                  <a:cxn ang="0">
                    <a:pos x="96" y="56"/>
                  </a:cxn>
                  <a:cxn ang="0">
                    <a:pos x="102" y="62"/>
                  </a:cxn>
                  <a:cxn ang="0">
                    <a:pos x="104" y="74"/>
                  </a:cxn>
                  <a:cxn ang="0">
                    <a:pos x="96" y="78"/>
                  </a:cxn>
                  <a:cxn ang="0">
                    <a:pos x="94" y="72"/>
                  </a:cxn>
                  <a:cxn ang="0">
                    <a:pos x="86" y="64"/>
                  </a:cxn>
                  <a:cxn ang="0">
                    <a:pos x="80" y="58"/>
                  </a:cxn>
                  <a:cxn ang="0">
                    <a:pos x="74" y="52"/>
                  </a:cxn>
                  <a:cxn ang="0">
                    <a:pos x="70" y="52"/>
                  </a:cxn>
                  <a:cxn ang="0">
                    <a:pos x="52" y="56"/>
                  </a:cxn>
                  <a:cxn ang="0">
                    <a:pos x="48" y="54"/>
                  </a:cxn>
                  <a:cxn ang="0">
                    <a:pos x="46" y="46"/>
                  </a:cxn>
                  <a:cxn ang="0">
                    <a:pos x="40" y="48"/>
                  </a:cxn>
                  <a:cxn ang="0">
                    <a:pos x="30" y="40"/>
                  </a:cxn>
                  <a:cxn ang="0">
                    <a:pos x="32" y="50"/>
                  </a:cxn>
                  <a:cxn ang="0">
                    <a:pos x="30" y="66"/>
                  </a:cxn>
                  <a:cxn ang="0">
                    <a:pos x="0" y="130"/>
                  </a:cxn>
                  <a:cxn ang="0">
                    <a:pos x="4" y="138"/>
                  </a:cxn>
                  <a:cxn ang="0">
                    <a:pos x="14" y="152"/>
                  </a:cxn>
                  <a:cxn ang="0">
                    <a:pos x="18" y="158"/>
                  </a:cxn>
                </a:cxnLst>
                <a:rect l="0" t="0" r="r" b="b"/>
                <a:pathLst>
                  <a:path w="154" h="162">
                    <a:moveTo>
                      <a:pt x="18" y="158"/>
                    </a:moveTo>
                    <a:lnTo>
                      <a:pt x="32" y="156"/>
                    </a:lnTo>
                    <a:lnTo>
                      <a:pt x="32" y="156"/>
                    </a:lnTo>
                    <a:lnTo>
                      <a:pt x="36" y="156"/>
                    </a:lnTo>
                    <a:lnTo>
                      <a:pt x="38" y="158"/>
                    </a:lnTo>
                    <a:lnTo>
                      <a:pt x="38" y="158"/>
                    </a:lnTo>
                    <a:lnTo>
                      <a:pt x="40" y="160"/>
                    </a:lnTo>
                    <a:lnTo>
                      <a:pt x="42" y="162"/>
                    </a:lnTo>
                    <a:lnTo>
                      <a:pt x="42" y="162"/>
                    </a:lnTo>
                    <a:lnTo>
                      <a:pt x="44" y="162"/>
                    </a:lnTo>
                    <a:lnTo>
                      <a:pt x="50" y="162"/>
                    </a:lnTo>
                    <a:lnTo>
                      <a:pt x="50" y="162"/>
                    </a:lnTo>
                    <a:lnTo>
                      <a:pt x="52" y="162"/>
                    </a:lnTo>
                    <a:lnTo>
                      <a:pt x="54" y="162"/>
                    </a:lnTo>
                    <a:lnTo>
                      <a:pt x="56" y="162"/>
                    </a:lnTo>
                    <a:lnTo>
                      <a:pt x="56" y="162"/>
                    </a:lnTo>
                    <a:lnTo>
                      <a:pt x="58" y="160"/>
                    </a:lnTo>
                    <a:lnTo>
                      <a:pt x="60" y="160"/>
                    </a:lnTo>
                    <a:lnTo>
                      <a:pt x="64" y="162"/>
                    </a:lnTo>
                    <a:lnTo>
                      <a:pt x="64" y="162"/>
                    </a:lnTo>
                    <a:lnTo>
                      <a:pt x="74" y="158"/>
                    </a:lnTo>
                    <a:lnTo>
                      <a:pt x="74" y="158"/>
                    </a:lnTo>
                    <a:lnTo>
                      <a:pt x="78" y="156"/>
                    </a:lnTo>
                    <a:lnTo>
                      <a:pt x="82" y="156"/>
                    </a:lnTo>
                    <a:lnTo>
                      <a:pt x="82" y="156"/>
                    </a:lnTo>
                    <a:lnTo>
                      <a:pt x="84" y="148"/>
                    </a:lnTo>
                    <a:lnTo>
                      <a:pt x="84" y="144"/>
                    </a:lnTo>
                    <a:lnTo>
                      <a:pt x="86" y="142"/>
                    </a:lnTo>
                    <a:lnTo>
                      <a:pt x="86" y="142"/>
                    </a:lnTo>
                    <a:lnTo>
                      <a:pt x="86" y="140"/>
                    </a:lnTo>
                    <a:lnTo>
                      <a:pt x="88" y="138"/>
                    </a:lnTo>
                    <a:lnTo>
                      <a:pt x="88" y="138"/>
                    </a:lnTo>
                    <a:lnTo>
                      <a:pt x="92" y="136"/>
                    </a:lnTo>
                    <a:lnTo>
                      <a:pt x="92" y="134"/>
                    </a:lnTo>
                    <a:lnTo>
                      <a:pt x="92" y="134"/>
                    </a:lnTo>
                    <a:lnTo>
                      <a:pt x="94" y="130"/>
                    </a:lnTo>
                    <a:lnTo>
                      <a:pt x="96" y="128"/>
                    </a:lnTo>
                    <a:lnTo>
                      <a:pt x="96" y="128"/>
                    </a:lnTo>
                    <a:lnTo>
                      <a:pt x="100" y="126"/>
                    </a:lnTo>
                    <a:lnTo>
                      <a:pt x="102" y="124"/>
                    </a:lnTo>
                    <a:lnTo>
                      <a:pt x="112" y="120"/>
                    </a:lnTo>
                    <a:lnTo>
                      <a:pt x="114" y="118"/>
                    </a:lnTo>
                    <a:lnTo>
                      <a:pt x="114" y="118"/>
                    </a:lnTo>
                    <a:lnTo>
                      <a:pt x="114" y="116"/>
                    </a:lnTo>
                    <a:lnTo>
                      <a:pt x="112" y="114"/>
                    </a:lnTo>
                    <a:lnTo>
                      <a:pt x="110" y="110"/>
                    </a:lnTo>
                    <a:lnTo>
                      <a:pt x="140" y="100"/>
                    </a:lnTo>
                    <a:lnTo>
                      <a:pt x="140" y="100"/>
                    </a:lnTo>
                    <a:lnTo>
                      <a:pt x="138" y="92"/>
                    </a:lnTo>
                    <a:lnTo>
                      <a:pt x="138" y="92"/>
                    </a:lnTo>
                    <a:lnTo>
                      <a:pt x="140" y="88"/>
                    </a:lnTo>
                    <a:lnTo>
                      <a:pt x="140" y="86"/>
                    </a:lnTo>
                    <a:lnTo>
                      <a:pt x="140" y="84"/>
                    </a:lnTo>
                    <a:lnTo>
                      <a:pt x="140" y="84"/>
                    </a:lnTo>
                    <a:lnTo>
                      <a:pt x="140" y="78"/>
                    </a:lnTo>
                    <a:lnTo>
                      <a:pt x="140" y="74"/>
                    </a:lnTo>
                    <a:lnTo>
                      <a:pt x="142" y="72"/>
                    </a:lnTo>
                    <a:lnTo>
                      <a:pt x="142" y="72"/>
                    </a:lnTo>
                    <a:lnTo>
                      <a:pt x="148" y="68"/>
                    </a:lnTo>
                    <a:lnTo>
                      <a:pt x="150" y="66"/>
                    </a:lnTo>
                    <a:lnTo>
                      <a:pt x="150" y="64"/>
                    </a:lnTo>
                    <a:lnTo>
                      <a:pt x="150" y="64"/>
                    </a:lnTo>
                    <a:lnTo>
                      <a:pt x="148" y="62"/>
                    </a:lnTo>
                    <a:lnTo>
                      <a:pt x="148" y="62"/>
                    </a:lnTo>
                    <a:lnTo>
                      <a:pt x="146" y="62"/>
                    </a:lnTo>
                    <a:lnTo>
                      <a:pt x="146" y="60"/>
                    </a:lnTo>
                    <a:lnTo>
                      <a:pt x="146" y="60"/>
                    </a:lnTo>
                    <a:lnTo>
                      <a:pt x="146" y="54"/>
                    </a:lnTo>
                    <a:lnTo>
                      <a:pt x="146" y="50"/>
                    </a:lnTo>
                    <a:lnTo>
                      <a:pt x="146" y="50"/>
                    </a:lnTo>
                    <a:lnTo>
                      <a:pt x="146" y="48"/>
                    </a:lnTo>
                    <a:lnTo>
                      <a:pt x="146" y="46"/>
                    </a:lnTo>
                    <a:lnTo>
                      <a:pt x="150" y="44"/>
                    </a:lnTo>
                    <a:lnTo>
                      <a:pt x="150" y="44"/>
                    </a:lnTo>
                    <a:lnTo>
                      <a:pt x="152" y="40"/>
                    </a:lnTo>
                    <a:lnTo>
                      <a:pt x="154" y="38"/>
                    </a:lnTo>
                    <a:lnTo>
                      <a:pt x="152" y="36"/>
                    </a:lnTo>
                    <a:lnTo>
                      <a:pt x="152" y="36"/>
                    </a:lnTo>
                    <a:lnTo>
                      <a:pt x="152" y="34"/>
                    </a:lnTo>
                    <a:lnTo>
                      <a:pt x="152" y="32"/>
                    </a:lnTo>
                    <a:lnTo>
                      <a:pt x="152" y="28"/>
                    </a:lnTo>
                    <a:lnTo>
                      <a:pt x="150" y="26"/>
                    </a:lnTo>
                    <a:lnTo>
                      <a:pt x="150" y="26"/>
                    </a:lnTo>
                    <a:lnTo>
                      <a:pt x="148" y="22"/>
                    </a:lnTo>
                    <a:lnTo>
                      <a:pt x="148" y="20"/>
                    </a:lnTo>
                    <a:lnTo>
                      <a:pt x="148" y="20"/>
                    </a:lnTo>
                    <a:lnTo>
                      <a:pt x="144" y="20"/>
                    </a:lnTo>
                    <a:lnTo>
                      <a:pt x="140" y="18"/>
                    </a:lnTo>
                    <a:lnTo>
                      <a:pt x="140" y="18"/>
                    </a:lnTo>
                    <a:lnTo>
                      <a:pt x="136" y="14"/>
                    </a:lnTo>
                    <a:lnTo>
                      <a:pt x="134" y="14"/>
                    </a:lnTo>
                    <a:lnTo>
                      <a:pt x="134" y="14"/>
                    </a:lnTo>
                    <a:lnTo>
                      <a:pt x="132" y="12"/>
                    </a:lnTo>
                    <a:lnTo>
                      <a:pt x="132" y="10"/>
                    </a:lnTo>
                    <a:lnTo>
                      <a:pt x="132" y="6"/>
                    </a:lnTo>
                    <a:lnTo>
                      <a:pt x="132" y="6"/>
                    </a:lnTo>
                    <a:lnTo>
                      <a:pt x="132" y="6"/>
                    </a:lnTo>
                    <a:lnTo>
                      <a:pt x="134" y="8"/>
                    </a:lnTo>
                    <a:lnTo>
                      <a:pt x="134" y="8"/>
                    </a:lnTo>
                    <a:lnTo>
                      <a:pt x="126" y="8"/>
                    </a:lnTo>
                    <a:lnTo>
                      <a:pt x="126" y="8"/>
                    </a:lnTo>
                    <a:lnTo>
                      <a:pt x="122" y="8"/>
                    </a:lnTo>
                    <a:lnTo>
                      <a:pt x="122" y="8"/>
                    </a:lnTo>
                    <a:lnTo>
                      <a:pt x="118" y="8"/>
                    </a:lnTo>
                    <a:lnTo>
                      <a:pt x="118" y="8"/>
                    </a:lnTo>
                    <a:lnTo>
                      <a:pt x="118" y="8"/>
                    </a:lnTo>
                    <a:lnTo>
                      <a:pt x="118" y="8"/>
                    </a:lnTo>
                    <a:lnTo>
                      <a:pt x="120" y="4"/>
                    </a:lnTo>
                    <a:lnTo>
                      <a:pt x="120" y="2"/>
                    </a:lnTo>
                    <a:lnTo>
                      <a:pt x="118" y="2"/>
                    </a:lnTo>
                    <a:lnTo>
                      <a:pt x="118" y="0"/>
                    </a:lnTo>
                    <a:lnTo>
                      <a:pt x="92" y="8"/>
                    </a:lnTo>
                    <a:lnTo>
                      <a:pt x="92" y="8"/>
                    </a:lnTo>
                    <a:lnTo>
                      <a:pt x="92" y="8"/>
                    </a:lnTo>
                    <a:lnTo>
                      <a:pt x="92" y="8"/>
                    </a:lnTo>
                    <a:lnTo>
                      <a:pt x="92" y="10"/>
                    </a:lnTo>
                    <a:lnTo>
                      <a:pt x="88" y="14"/>
                    </a:lnTo>
                    <a:lnTo>
                      <a:pt x="84" y="16"/>
                    </a:lnTo>
                    <a:lnTo>
                      <a:pt x="84" y="18"/>
                    </a:lnTo>
                    <a:lnTo>
                      <a:pt x="84" y="18"/>
                    </a:lnTo>
                    <a:lnTo>
                      <a:pt x="82" y="18"/>
                    </a:lnTo>
                    <a:lnTo>
                      <a:pt x="82" y="18"/>
                    </a:lnTo>
                    <a:lnTo>
                      <a:pt x="82" y="18"/>
                    </a:lnTo>
                    <a:lnTo>
                      <a:pt x="80" y="22"/>
                    </a:lnTo>
                    <a:lnTo>
                      <a:pt x="80" y="26"/>
                    </a:lnTo>
                    <a:lnTo>
                      <a:pt x="80" y="26"/>
                    </a:lnTo>
                    <a:lnTo>
                      <a:pt x="82" y="28"/>
                    </a:lnTo>
                    <a:lnTo>
                      <a:pt x="82" y="30"/>
                    </a:lnTo>
                    <a:lnTo>
                      <a:pt x="82" y="30"/>
                    </a:lnTo>
                    <a:lnTo>
                      <a:pt x="84" y="36"/>
                    </a:lnTo>
                    <a:lnTo>
                      <a:pt x="86" y="38"/>
                    </a:lnTo>
                    <a:lnTo>
                      <a:pt x="86" y="40"/>
                    </a:lnTo>
                    <a:lnTo>
                      <a:pt x="86" y="40"/>
                    </a:lnTo>
                    <a:lnTo>
                      <a:pt x="84" y="46"/>
                    </a:lnTo>
                    <a:lnTo>
                      <a:pt x="84" y="46"/>
                    </a:lnTo>
                    <a:lnTo>
                      <a:pt x="86" y="50"/>
                    </a:lnTo>
                    <a:lnTo>
                      <a:pt x="90" y="54"/>
                    </a:lnTo>
                    <a:lnTo>
                      <a:pt x="90" y="54"/>
                    </a:lnTo>
                    <a:lnTo>
                      <a:pt x="94" y="56"/>
                    </a:lnTo>
                    <a:lnTo>
                      <a:pt x="96" y="56"/>
                    </a:lnTo>
                    <a:lnTo>
                      <a:pt x="98" y="60"/>
                    </a:lnTo>
                    <a:lnTo>
                      <a:pt x="98" y="60"/>
                    </a:lnTo>
                    <a:lnTo>
                      <a:pt x="100" y="62"/>
                    </a:lnTo>
                    <a:lnTo>
                      <a:pt x="102" y="62"/>
                    </a:lnTo>
                    <a:lnTo>
                      <a:pt x="102" y="62"/>
                    </a:lnTo>
                    <a:lnTo>
                      <a:pt x="110" y="60"/>
                    </a:lnTo>
                    <a:lnTo>
                      <a:pt x="110" y="76"/>
                    </a:lnTo>
                    <a:lnTo>
                      <a:pt x="104" y="74"/>
                    </a:lnTo>
                    <a:lnTo>
                      <a:pt x="104" y="74"/>
                    </a:lnTo>
                    <a:lnTo>
                      <a:pt x="100" y="76"/>
                    </a:lnTo>
                    <a:lnTo>
                      <a:pt x="100" y="76"/>
                    </a:lnTo>
                    <a:lnTo>
                      <a:pt x="96" y="78"/>
                    </a:lnTo>
                    <a:lnTo>
                      <a:pt x="94" y="78"/>
                    </a:lnTo>
                    <a:lnTo>
                      <a:pt x="92" y="76"/>
                    </a:lnTo>
                    <a:lnTo>
                      <a:pt x="92" y="76"/>
                    </a:lnTo>
                    <a:lnTo>
                      <a:pt x="94" y="72"/>
                    </a:lnTo>
                    <a:lnTo>
                      <a:pt x="92" y="68"/>
                    </a:lnTo>
                    <a:lnTo>
                      <a:pt x="92" y="68"/>
                    </a:lnTo>
                    <a:lnTo>
                      <a:pt x="90" y="66"/>
                    </a:lnTo>
                    <a:lnTo>
                      <a:pt x="86" y="64"/>
                    </a:lnTo>
                    <a:lnTo>
                      <a:pt x="84" y="64"/>
                    </a:lnTo>
                    <a:lnTo>
                      <a:pt x="82" y="62"/>
                    </a:lnTo>
                    <a:lnTo>
                      <a:pt x="82" y="62"/>
                    </a:lnTo>
                    <a:lnTo>
                      <a:pt x="80" y="58"/>
                    </a:lnTo>
                    <a:lnTo>
                      <a:pt x="76" y="56"/>
                    </a:lnTo>
                    <a:lnTo>
                      <a:pt x="76" y="56"/>
                    </a:lnTo>
                    <a:lnTo>
                      <a:pt x="76" y="52"/>
                    </a:lnTo>
                    <a:lnTo>
                      <a:pt x="74" y="52"/>
                    </a:lnTo>
                    <a:lnTo>
                      <a:pt x="74" y="52"/>
                    </a:lnTo>
                    <a:lnTo>
                      <a:pt x="72" y="50"/>
                    </a:lnTo>
                    <a:lnTo>
                      <a:pt x="70" y="52"/>
                    </a:lnTo>
                    <a:lnTo>
                      <a:pt x="70" y="52"/>
                    </a:lnTo>
                    <a:lnTo>
                      <a:pt x="68" y="56"/>
                    </a:lnTo>
                    <a:lnTo>
                      <a:pt x="62" y="56"/>
                    </a:lnTo>
                    <a:lnTo>
                      <a:pt x="62" y="56"/>
                    </a:lnTo>
                    <a:lnTo>
                      <a:pt x="52" y="56"/>
                    </a:lnTo>
                    <a:lnTo>
                      <a:pt x="52" y="56"/>
                    </a:lnTo>
                    <a:lnTo>
                      <a:pt x="50" y="54"/>
                    </a:lnTo>
                    <a:lnTo>
                      <a:pt x="48" y="54"/>
                    </a:lnTo>
                    <a:lnTo>
                      <a:pt x="48" y="54"/>
                    </a:lnTo>
                    <a:lnTo>
                      <a:pt x="50" y="48"/>
                    </a:lnTo>
                    <a:lnTo>
                      <a:pt x="50" y="48"/>
                    </a:lnTo>
                    <a:lnTo>
                      <a:pt x="48" y="46"/>
                    </a:lnTo>
                    <a:lnTo>
                      <a:pt x="46" y="46"/>
                    </a:lnTo>
                    <a:lnTo>
                      <a:pt x="44" y="46"/>
                    </a:lnTo>
                    <a:lnTo>
                      <a:pt x="44" y="46"/>
                    </a:lnTo>
                    <a:lnTo>
                      <a:pt x="42" y="48"/>
                    </a:lnTo>
                    <a:lnTo>
                      <a:pt x="40" y="48"/>
                    </a:lnTo>
                    <a:lnTo>
                      <a:pt x="38" y="46"/>
                    </a:lnTo>
                    <a:lnTo>
                      <a:pt x="38" y="46"/>
                    </a:lnTo>
                    <a:lnTo>
                      <a:pt x="38" y="38"/>
                    </a:lnTo>
                    <a:lnTo>
                      <a:pt x="30" y="40"/>
                    </a:lnTo>
                    <a:lnTo>
                      <a:pt x="30" y="40"/>
                    </a:lnTo>
                    <a:lnTo>
                      <a:pt x="32" y="44"/>
                    </a:lnTo>
                    <a:lnTo>
                      <a:pt x="32" y="50"/>
                    </a:lnTo>
                    <a:lnTo>
                      <a:pt x="32" y="50"/>
                    </a:lnTo>
                    <a:lnTo>
                      <a:pt x="30" y="54"/>
                    </a:lnTo>
                    <a:lnTo>
                      <a:pt x="30" y="58"/>
                    </a:lnTo>
                    <a:lnTo>
                      <a:pt x="30" y="58"/>
                    </a:lnTo>
                    <a:lnTo>
                      <a:pt x="30" y="66"/>
                    </a:lnTo>
                    <a:lnTo>
                      <a:pt x="30" y="66"/>
                    </a:lnTo>
                    <a:lnTo>
                      <a:pt x="30" y="70"/>
                    </a:lnTo>
                    <a:lnTo>
                      <a:pt x="0" y="70"/>
                    </a:lnTo>
                    <a:lnTo>
                      <a:pt x="0" y="130"/>
                    </a:lnTo>
                    <a:lnTo>
                      <a:pt x="0" y="130"/>
                    </a:lnTo>
                    <a:lnTo>
                      <a:pt x="2" y="132"/>
                    </a:lnTo>
                    <a:lnTo>
                      <a:pt x="4" y="138"/>
                    </a:lnTo>
                    <a:lnTo>
                      <a:pt x="4" y="138"/>
                    </a:lnTo>
                    <a:lnTo>
                      <a:pt x="6" y="142"/>
                    </a:lnTo>
                    <a:lnTo>
                      <a:pt x="10" y="148"/>
                    </a:lnTo>
                    <a:lnTo>
                      <a:pt x="10" y="148"/>
                    </a:lnTo>
                    <a:lnTo>
                      <a:pt x="14" y="152"/>
                    </a:lnTo>
                    <a:lnTo>
                      <a:pt x="14" y="154"/>
                    </a:lnTo>
                    <a:lnTo>
                      <a:pt x="16" y="158"/>
                    </a:lnTo>
                    <a:lnTo>
                      <a:pt x="18" y="158"/>
                    </a:lnTo>
                    <a:lnTo>
                      <a:pt x="18" y="15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3" name="Freeform 6"/>
              <p:cNvSpPr>
                <a:spLocks noChangeAspect="1"/>
              </p:cNvSpPr>
              <p:nvPr/>
            </p:nvSpPr>
            <p:spPr bwMode="gray">
              <a:xfrm>
                <a:off x="4564526" y="4269693"/>
                <a:ext cx="445430" cy="513231"/>
              </a:xfrm>
              <a:custGeom>
                <a:avLst/>
                <a:gdLst/>
                <a:ahLst/>
                <a:cxnLst>
                  <a:cxn ang="0">
                    <a:pos x="0" y="184"/>
                  </a:cxn>
                  <a:cxn ang="0">
                    <a:pos x="14" y="190"/>
                  </a:cxn>
                  <a:cxn ang="0">
                    <a:pos x="72" y="186"/>
                  </a:cxn>
                  <a:cxn ang="0">
                    <a:pos x="76" y="208"/>
                  </a:cxn>
                  <a:cxn ang="0">
                    <a:pos x="90" y="224"/>
                  </a:cxn>
                  <a:cxn ang="0">
                    <a:pos x="98" y="222"/>
                  </a:cxn>
                  <a:cxn ang="0">
                    <a:pos x="102" y="208"/>
                  </a:cxn>
                  <a:cxn ang="0">
                    <a:pos x="118" y="208"/>
                  </a:cxn>
                  <a:cxn ang="0">
                    <a:pos x="130" y="216"/>
                  </a:cxn>
                  <a:cxn ang="0">
                    <a:pos x="132" y="234"/>
                  </a:cxn>
                  <a:cxn ang="0">
                    <a:pos x="138" y="250"/>
                  </a:cxn>
                  <a:cxn ang="0">
                    <a:pos x="138" y="266"/>
                  </a:cxn>
                  <a:cxn ang="0">
                    <a:pos x="150" y="274"/>
                  </a:cxn>
                  <a:cxn ang="0">
                    <a:pos x="170" y="280"/>
                  </a:cxn>
                  <a:cxn ang="0">
                    <a:pos x="182" y="282"/>
                  </a:cxn>
                  <a:cxn ang="0">
                    <a:pos x="194" y="290"/>
                  </a:cxn>
                  <a:cxn ang="0">
                    <a:pos x="206" y="286"/>
                  </a:cxn>
                  <a:cxn ang="0">
                    <a:pos x="216" y="298"/>
                  </a:cxn>
                  <a:cxn ang="0">
                    <a:pos x="224" y="310"/>
                  </a:cxn>
                  <a:cxn ang="0">
                    <a:pos x="242" y="294"/>
                  </a:cxn>
                  <a:cxn ang="0">
                    <a:pos x="228" y="290"/>
                  </a:cxn>
                  <a:cxn ang="0">
                    <a:pos x="218" y="274"/>
                  </a:cxn>
                  <a:cxn ang="0">
                    <a:pos x="212" y="260"/>
                  </a:cxn>
                  <a:cxn ang="0">
                    <a:pos x="220" y="242"/>
                  </a:cxn>
                  <a:cxn ang="0">
                    <a:pos x="250" y="228"/>
                  </a:cxn>
                  <a:cxn ang="0">
                    <a:pos x="240" y="214"/>
                  </a:cxn>
                  <a:cxn ang="0">
                    <a:pos x="230" y="188"/>
                  </a:cxn>
                  <a:cxn ang="0">
                    <a:pos x="228" y="170"/>
                  </a:cxn>
                  <a:cxn ang="0">
                    <a:pos x="228" y="146"/>
                  </a:cxn>
                  <a:cxn ang="0">
                    <a:pos x="224" y="138"/>
                  </a:cxn>
                  <a:cxn ang="0">
                    <a:pos x="224" y="124"/>
                  </a:cxn>
                  <a:cxn ang="0">
                    <a:pos x="226" y="120"/>
                  </a:cxn>
                  <a:cxn ang="0">
                    <a:pos x="226" y="110"/>
                  </a:cxn>
                  <a:cxn ang="0">
                    <a:pos x="236" y="92"/>
                  </a:cxn>
                  <a:cxn ang="0">
                    <a:pos x="248" y="78"/>
                  </a:cxn>
                  <a:cxn ang="0">
                    <a:pos x="258" y="66"/>
                  </a:cxn>
                  <a:cxn ang="0">
                    <a:pos x="256" y="54"/>
                  </a:cxn>
                  <a:cxn ang="0">
                    <a:pos x="258" y="44"/>
                  </a:cxn>
                  <a:cxn ang="0">
                    <a:pos x="252" y="30"/>
                  </a:cxn>
                  <a:cxn ang="0">
                    <a:pos x="236" y="16"/>
                  </a:cxn>
                  <a:cxn ang="0">
                    <a:pos x="224" y="16"/>
                  </a:cxn>
                  <a:cxn ang="0">
                    <a:pos x="210" y="16"/>
                  </a:cxn>
                  <a:cxn ang="0">
                    <a:pos x="194" y="2"/>
                  </a:cxn>
                  <a:cxn ang="0">
                    <a:pos x="174" y="6"/>
                  </a:cxn>
                  <a:cxn ang="0">
                    <a:pos x="166" y="8"/>
                  </a:cxn>
                  <a:cxn ang="0">
                    <a:pos x="152" y="8"/>
                  </a:cxn>
                  <a:cxn ang="0">
                    <a:pos x="138" y="14"/>
                  </a:cxn>
                  <a:cxn ang="0">
                    <a:pos x="114" y="8"/>
                  </a:cxn>
                  <a:cxn ang="0">
                    <a:pos x="94" y="10"/>
                  </a:cxn>
                  <a:cxn ang="0">
                    <a:pos x="84" y="46"/>
                  </a:cxn>
                  <a:cxn ang="0">
                    <a:pos x="78" y="86"/>
                  </a:cxn>
                  <a:cxn ang="0">
                    <a:pos x="66" y="120"/>
                  </a:cxn>
                  <a:cxn ang="0">
                    <a:pos x="56" y="156"/>
                  </a:cxn>
                  <a:cxn ang="0">
                    <a:pos x="36" y="156"/>
                  </a:cxn>
                  <a:cxn ang="0">
                    <a:pos x="26" y="162"/>
                  </a:cxn>
                  <a:cxn ang="0">
                    <a:pos x="14" y="164"/>
                  </a:cxn>
                  <a:cxn ang="0">
                    <a:pos x="8" y="174"/>
                  </a:cxn>
                </a:cxnLst>
                <a:rect l="0" t="0" r="r" b="b"/>
                <a:pathLst>
                  <a:path w="262" h="312">
                    <a:moveTo>
                      <a:pt x="2" y="178"/>
                    </a:moveTo>
                    <a:lnTo>
                      <a:pt x="2" y="178"/>
                    </a:lnTo>
                    <a:lnTo>
                      <a:pt x="2" y="180"/>
                    </a:lnTo>
                    <a:lnTo>
                      <a:pt x="2" y="180"/>
                    </a:lnTo>
                    <a:lnTo>
                      <a:pt x="0" y="182"/>
                    </a:lnTo>
                    <a:lnTo>
                      <a:pt x="0" y="184"/>
                    </a:lnTo>
                    <a:lnTo>
                      <a:pt x="0" y="184"/>
                    </a:lnTo>
                    <a:lnTo>
                      <a:pt x="2" y="188"/>
                    </a:lnTo>
                    <a:lnTo>
                      <a:pt x="6" y="190"/>
                    </a:lnTo>
                    <a:lnTo>
                      <a:pt x="6" y="190"/>
                    </a:lnTo>
                    <a:lnTo>
                      <a:pt x="6" y="194"/>
                    </a:lnTo>
                    <a:lnTo>
                      <a:pt x="6" y="194"/>
                    </a:lnTo>
                    <a:lnTo>
                      <a:pt x="8" y="194"/>
                    </a:lnTo>
                    <a:lnTo>
                      <a:pt x="14" y="190"/>
                    </a:lnTo>
                    <a:lnTo>
                      <a:pt x="14" y="190"/>
                    </a:lnTo>
                    <a:lnTo>
                      <a:pt x="18" y="188"/>
                    </a:lnTo>
                    <a:lnTo>
                      <a:pt x="22" y="186"/>
                    </a:lnTo>
                    <a:lnTo>
                      <a:pt x="28" y="186"/>
                    </a:lnTo>
                    <a:lnTo>
                      <a:pt x="28" y="186"/>
                    </a:lnTo>
                    <a:lnTo>
                      <a:pt x="44" y="188"/>
                    </a:lnTo>
                    <a:lnTo>
                      <a:pt x="72" y="186"/>
                    </a:lnTo>
                    <a:lnTo>
                      <a:pt x="72" y="186"/>
                    </a:lnTo>
                    <a:lnTo>
                      <a:pt x="74" y="196"/>
                    </a:lnTo>
                    <a:lnTo>
                      <a:pt x="74" y="196"/>
                    </a:lnTo>
                    <a:lnTo>
                      <a:pt x="74" y="200"/>
                    </a:lnTo>
                    <a:lnTo>
                      <a:pt x="74" y="204"/>
                    </a:lnTo>
                    <a:lnTo>
                      <a:pt x="74" y="204"/>
                    </a:lnTo>
                    <a:lnTo>
                      <a:pt x="76" y="208"/>
                    </a:lnTo>
                    <a:lnTo>
                      <a:pt x="76" y="214"/>
                    </a:lnTo>
                    <a:lnTo>
                      <a:pt x="76" y="214"/>
                    </a:lnTo>
                    <a:lnTo>
                      <a:pt x="78" y="220"/>
                    </a:lnTo>
                    <a:lnTo>
                      <a:pt x="80" y="222"/>
                    </a:lnTo>
                    <a:lnTo>
                      <a:pt x="80" y="222"/>
                    </a:lnTo>
                    <a:lnTo>
                      <a:pt x="84" y="224"/>
                    </a:lnTo>
                    <a:lnTo>
                      <a:pt x="90" y="224"/>
                    </a:lnTo>
                    <a:lnTo>
                      <a:pt x="90" y="224"/>
                    </a:lnTo>
                    <a:lnTo>
                      <a:pt x="92" y="224"/>
                    </a:lnTo>
                    <a:lnTo>
                      <a:pt x="94" y="222"/>
                    </a:lnTo>
                    <a:lnTo>
                      <a:pt x="96" y="220"/>
                    </a:lnTo>
                    <a:lnTo>
                      <a:pt x="96" y="220"/>
                    </a:lnTo>
                    <a:lnTo>
                      <a:pt x="96" y="220"/>
                    </a:lnTo>
                    <a:lnTo>
                      <a:pt x="98" y="222"/>
                    </a:lnTo>
                    <a:lnTo>
                      <a:pt x="100" y="222"/>
                    </a:lnTo>
                    <a:lnTo>
                      <a:pt x="102" y="220"/>
                    </a:lnTo>
                    <a:lnTo>
                      <a:pt x="102" y="218"/>
                    </a:lnTo>
                    <a:lnTo>
                      <a:pt x="102" y="218"/>
                    </a:lnTo>
                    <a:lnTo>
                      <a:pt x="100" y="214"/>
                    </a:lnTo>
                    <a:lnTo>
                      <a:pt x="100" y="210"/>
                    </a:lnTo>
                    <a:lnTo>
                      <a:pt x="102" y="208"/>
                    </a:lnTo>
                    <a:lnTo>
                      <a:pt x="102" y="208"/>
                    </a:lnTo>
                    <a:lnTo>
                      <a:pt x="104" y="206"/>
                    </a:lnTo>
                    <a:lnTo>
                      <a:pt x="110" y="208"/>
                    </a:lnTo>
                    <a:lnTo>
                      <a:pt x="110" y="208"/>
                    </a:lnTo>
                    <a:lnTo>
                      <a:pt x="116" y="208"/>
                    </a:lnTo>
                    <a:lnTo>
                      <a:pt x="118" y="208"/>
                    </a:lnTo>
                    <a:lnTo>
                      <a:pt x="118" y="208"/>
                    </a:lnTo>
                    <a:lnTo>
                      <a:pt x="118" y="208"/>
                    </a:lnTo>
                    <a:lnTo>
                      <a:pt x="118" y="212"/>
                    </a:lnTo>
                    <a:lnTo>
                      <a:pt x="118" y="212"/>
                    </a:lnTo>
                    <a:lnTo>
                      <a:pt x="124" y="212"/>
                    </a:lnTo>
                    <a:lnTo>
                      <a:pt x="128" y="212"/>
                    </a:lnTo>
                    <a:lnTo>
                      <a:pt x="130" y="216"/>
                    </a:lnTo>
                    <a:lnTo>
                      <a:pt x="130" y="216"/>
                    </a:lnTo>
                    <a:lnTo>
                      <a:pt x="130" y="222"/>
                    </a:lnTo>
                    <a:lnTo>
                      <a:pt x="130" y="224"/>
                    </a:lnTo>
                    <a:lnTo>
                      <a:pt x="132" y="226"/>
                    </a:lnTo>
                    <a:lnTo>
                      <a:pt x="132" y="226"/>
                    </a:lnTo>
                    <a:lnTo>
                      <a:pt x="132" y="226"/>
                    </a:lnTo>
                    <a:lnTo>
                      <a:pt x="132" y="228"/>
                    </a:lnTo>
                    <a:lnTo>
                      <a:pt x="132" y="234"/>
                    </a:lnTo>
                    <a:lnTo>
                      <a:pt x="132" y="234"/>
                    </a:lnTo>
                    <a:lnTo>
                      <a:pt x="132" y="238"/>
                    </a:lnTo>
                    <a:lnTo>
                      <a:pt x="134" y="242"/>
                    </a:lnTo>
                    <a:lnTo>
                      <a:pt x="134" y="242"/>
                    </a:lnTo>
                    <a:lnTo>
                      <a:pt x="136" y="246"/>
                    </a:lnTo>
                    <a:lnTo>
                      <a:pt x="136" y="248"/>
                    </a:lnTo>
                    <a:lnTo>
                      <a:pt x="138" y="250"/>
                    </a:lnTo>
                    <a:lnTo>
                      <a:pt x="138" y="250"/>
                    </a:lnTo>
                    <a:lnTo>
                      <a:pt x="140" y="254"/>
                    </a:lnTo>
                    <a:lnTo>
                      <a:pt x="138" y="258"/>
                    </a:lnTo>
                    <a:lnTo>
                      <a:pt x="138" y="258"/>
                    </a:lnTo>
                    <a:lnTo>
                      <a:pt x="138" y="262"/>
                    </a:lnTo>
                    <a:lnTo>
                      <a:pt x="138" y="266"/>
                    </a:lnTo>
                    <a:lnTo>
                      <a:pt x="138" y="266"/>
                    </a:lnTo>
                    <a:lnTo>
                      <a:pt x="138" y="270"/>
                    </a:lnTo>
                    <a:lnTo>
                      <a:pt x="140" y="274"/>
                    </a:lnTo>
                    <a:lnTo>
                      <a:pt x="140" y="274"/>
                    </a:lnTo>
                    <a:lnTo>
                      <a:pt x="144" y="278"/>
                    </a:lnTo>
                    <a:lnTo>
                      <a:pt x="146" y="276"/>
                    </a:lnTo>
                    <a:lnTo>
                      <a:pt x="146" y="276"/>
                    </a:lnTo>
                    <a:lnTo>
                      <a:pt x="150" y="274"/>
                    </a:lnTo>
                    <a:lnTo>
                      <a:pt x="152" y="274"/>
                    </a:lnTo>
                    <a:lnTo>
                      <a:pt x="152" y="274"/>
                    </a:lnTo>
                    <a:lnTo>
                      <a:pt x="162" y="274"/>
                    </a:lnTo>
                    <a:lnTo>
                      <a:pt x="170" y="272"/>
                    </a:lnTo>
                    <a:lnTo>
                      <a:pt x="170" y="272"/>
                    </a:lnTo>
                    <a:lnTo>
                      <a:pt x="170" y="280"/>
                    </a:lnTo>
                    <a:lnTo>
                      <a:pt x="170" y="280"/>
                    </a:lnTo>
                    <a:lnTo>
                      <a:pt x="172" y="282"/>
                    </a:lnTo>
                    <a:lnTo>
                      <a:pt x="174" y="282"/>
                    </a:lnTo>
                    <a:lnTo>
                      <a:pt x="176" y="280"/>
                    </a:lnTo>
                    <a:lnTo>
                      <a:pt x="176" y="280"/>
                    </a:lnTo>
                    <a:lnTo>
                      <a:pt x="178" y="280"/>
                    </a:lnTo>
                    <a:lnTo>
                      <a:pt x="180" y="280"/>
                    </a:lnTo>
                    <a:lnTo>
                      <a:pt x="182" y="282"/>
                    </a:lnTo>
                    <a:lnTo>
                      <a:pt x="182" y="282"/>
                    </a:lnTo>
                    <a:lnTo>
                      <a:pt x="180" y="288"/>
                    </a:lnTo>
                    <a:lnTo>
                      <a:pt x="180" y="288"/>
                    </a:lnTo>
                    <a:lnTo>
                      <a:pt x="182" y="288"/>
                    </a:lnTo>
                    <a:lnTo>
                      <a:pt x="184" y="290"/>
                    </a:lnTo>
                    <a:lnTo>
                      <a:pt x="184" y="290"/>
                    </a:lnTo>
                    <a:lnTo>
                      <a:pt x="194" y="290"/>
                    </a:lnTo>
                    <a:lnTo>
                      <a:pt x="194" y="290"/>
                    </a:lnTo>
                    <a:lnTo>
                      <a:pt x="200" y="290"/>
                    </a:lnTo>
                    <a:lnTo>
                      <a:pt x="202" y="286"/>
                    </a:lnTo>
                    <a:lnTo>
                      <a:pt x="202" y="286"/>
                    </a:lnTo>
                    <a:lnTo>
                      <a:pt x="204" y="284"/>
                    </a:lnTo>
                    <a:lnTo>
                      <a:pt x="206" y="286"/>
                    </a:lnTo>
                    <a:lnTo>
                      <a:pt x="206" y="286"/>
                    </a:lnTo>
                    <a:lnTo>
                      <a:pt x="208" y="286"/>
                    </a:lnTo>
                    <a:lnTo>
                      <a:pt x="208" y="290"/>
                    </a:lnTo>
                    <a:lnTo>
                      <a:pt x="208" y="290"/>
                    </a:lnTo>
                    <a:lnTo>
                      <a:pt x="212" y="292"/>
                    </a:lnTo>
                    <a:lnTo>
                      <a:pt x="214" y="296"/>
                    </a:lnTo>
                    <a:lnTo>
                      <a:pt x="214" y="296"/>
                    </a:lnTo>
                    <a:lnTo>
                      <a:pt x="216" y="298"/>
                    </a:lnTo>
                    <a:lnTo>
                      <a:pt x="218" y="298"/>
                    </a:lnTo>
                    <a:lnTo>
                      <a:pt x="222" y="300"/>
                    </a:lnTo>
                    <a:lnTo>
                      <a:pt x="224" y="302"/>
                    </a:lnTo>
                    <a:lnTo>
                      <a:pt x="224" y="302"/>
                    </a:lnTo>
                    <a:lnTo>
                      <a:pt x="226" y="306"/>
                    </a:lnTo>
                    <a:lnTo>
                      <a:pt x="224" y="310"/>
                    </a:lnTo>
                    <a:lnTo>
                      <a:pt x="224" y="310"/>
                    </a:lnTo>
                    <a:lnTo>
                      <a:pt x="226" y="312"/>
                    </a:lnTo>
                    <a:lnTo>
                      <a:pt x="228" y="312"/>
                    </a:lnTo>
                    <a:lnTo>
                      <a:pt x="232" y="310"/>
                    </a:lnTo>
                    <a:lnTo>
                      <a:pt x="232" y="310"/>
                    </a:lnTo>
                    <a:lnTo>
                      <a:pt x="236" y="308"/>
                    </a:lnTo>
                    <a:lnTo>
                      <a:pt x="242" y="310"/>
                    </a:lnTo>
                    <a:lnTo>
                      <a:pt x="242" y="294"/>
                    </a:lnTo>
                    <a:lnTo>
                      <a:pt x="242" y="294"/>
                    </a:lnTo>
                    <a:lnTo>
                      <a:pt x="234" y="296"/>
                    </a:lnTo>
                    <a:lnTo>
                      <a:pt x="234" y="296"/>
                    </a:lnTo>
                    <a:lnTo>
                      <a:pt x="232" y="296"/>
                    </a:lnTo>
                    <a:lnTo>
                      <a:pt x="230" y="294"/>
                    </a:lnTo>
                    <a:lnTo>
                      <a:pt x="230" y="294"/>
                    </a:lnTo>
                    <a:lnTo>
                      <a:pt x="228" y="290"/>
                    </a:lnTo>
                    <a:lnTo>
                      <a:pt x="226" y="290"/>
                    </a:lnTo>
                    <a:lnTo>
                      <a:pt x="222" y="288"/>
                    </a:lnTo>
                    <a:lnTo>
                      <a:pt x="222" y="288"/>
                    </a:lnTo>
                    <a:lnTo>
                      <a:pt x="218" y="284"/>
                    </a:lnTo>
                    <a:lnTo>
                      <a:pt x="216" y="280"/>
                    </a:lnTo>
                    <a:lnTo>
                      <a:pt x="216" y="280"/>
                    </a:lnTo>
                    <a:lnTo>
                      <a:pt x="218" y="274"/>
                    </a:lnTo>
                    <a:lnTo>
                      <a:pt x="218" y="274"/>
                    </a:lnTo>
                    <a:lnTo>
                      <a:pt x="218" y="272"/>
                    </a:lnTo>
                    <a:lnTo>
                      <a:pt x="216" y="270"/>
                    </a:lnTo>
                    <a:lnTo>
                      <a:pt x="214" y="264"/>
                    </a:lnTo>
                    <a:lnTo>
                      <a:pt x="214" y="264"/>
                    </a:lnTo>
                    <a:lnTo>
                      <a:pt x="214" y="262"/>
                    </a:lnTo>
                    <a:lnTo>
                      <a:pt x="212" y="260"/>
                    </a:lnTo>
                    <a:lnTo>
                      <a:pt x="212" y="260"/>
                    </a:lnTo>
                    <a:lnTo>
                      <a:pt x="212" y="256"/>
                    </a:lnTo>
                    <a:lnTo>
                      <a:pt x="214" y="252"/>
                    </a:lnTo>
                    <a:lnTo>
                      <a:pt x="214" y="252"/>
                    </a:lnTo>
                    <a:lnTo>
                      <a:pt x="212" y="246"/>
                    </a:lnTo>
                    <a:lnTo>
                      <a:pt x="212" y="246"/>
                    </a:lnTo>
                    <a:lnTo>
                      <a:pt x="220" y="242"/>
                    </a:lnTo>
                    <a:lnTo>
                      <a:pt x="220" y="242"/>
                    </a:lnTo>
                    <a:lnTo>
                      <a:pt x="224" y="242"/>
                    </a:lnTo>
                    <a:lnTo>
                      <a:pt x="224" y="242"/>
                    </a:lnTo>
                    <a:lnTo>
                      <a:pt x="224" y="242"/>
                    </a:lnTo>
                    <a:lnTo>
                      <a:pt x="250" y="234"/>
                    </a:lnTo>
                    <a:lnTo>
                      <a:pt x="250" y="234"/>
                    </a:lnTo>
                    <a:lnTo>
                      <a:pt x="250" y="228"/>
                    </a:lnTo>
                    <a:lnTo>
                      <a:pt x="250" y="228"/>
                    </a:lnTo>
                    <a:lnTo>
                      <a:pt x="246" y="224"/>
                    </a:lnTo>
                    <a:lnTo>
                      <a:pt x="246" y="224"/>
                    </a:lnTo>
                    <a:lnTo>
                      <a:pt x="246" y="220"/>
                    </a:lnTo>
                    <a:lnTo>
                      <a:pt x="246" y="220"/>
                    </a:lnTo>
                    <a:lnTo>
                      <a:pt x="242" y="216"/>
                    </a:lnTo>
                    <a:lnTo>
                      <a:pt x="240" y="214"/>
                    </a:lnTo>
                    <a:lnTo>
                      <a:pt x="240" y="214"/>
                    </a:lnTo>
                    <a:lnTo>
                      <a:pt x="236" y="212"/>
                    </a:lnTo>
                    <a:lnTo>
                      <a:pt x="236" y="212"/>
                    </a:lnTo>
                    <a:lnTo>
                      <a:pt x="232" y="202"/>
                    </a:lnTo>
                    <a:lnTo>
                      <a:pt x="228" y="190"/>
                    </a:lnTo>
                    <a:lnTo>
                      <a:pt x="228" y="190"/>
                    </a:lnTo>
                    <a:lnTo>
                      <a:pt x="230" y="188"/>
                    </a:lnTo>
                    <a:lnTo>
                      <a:pt x="232" y="182"/>
                    </a:lnTo>
                    <a:lnTo>
                      <a:pt x="232" y="182"/>
                    </a:lnTo>
                    <a:lnTo>
                      <a:pt x="228" y="178"/>
                    </a:lnTo>
                    <a:lnTo>
                      <a:pt x="228" y="178"/>
                    </a:lnTo>
                    <a:lnTo>
                      <a:pt x="228" y="174"/>
                    </a:lnTo>
                    <a:lnTo>
                      <a:pt x="228" y="170"/>
                    </a:lnTo>
                    <a:lnTo>
                      <a:pt x="228" y="170"/>
                    </a:lnTo>
                    <a:lnTo>
                      <a:pt x="226" y="168"/>
                    </a:lnTo>
                    <a:lnTo>
                      <a:pt x="226" y="166"/>
                    </a:lnTo>
                    <a:lnTo>
                      <a:pt x="226" y="166"/>
                    </a:lnTo>
                    <a:lnTo>
                      <a:pt x="228" y="154"/>
                    </a:lnTo>
                    <a:lnTo>
                      <a:pt x="228" y="154"/>
                    </a:lnTo>
                    <a:lnTo>
                      <a:pt x="230" y="152"/>
                    </a:lnTo>
                    <a:lnTo>
                      <a:pt x="228" y="146"/>
                    </a:lnTo>
                    <a:lnTo>
                      <a:pt x="228" y="146"/>
                    </a:lnTo>
                    <a:lnTo>
                      <a:pt x="224" y="146"/>
                    </a:lnTo>
                    <a:lnTo>
                      <a:pt x="222" y="144"/>
                    </a:lnTo>
                    <a:lnTo>
                      <a:pt x="222" y="142"/>
                    </a:lnTo>
                    <a:lnTo>
                      <a:pt x="222" y="142"/>
                    </a:lnTo>
                    <a:lnTo>
                      <a:pt x="222" y="140"/>
                    </a:lnTo>
                    <a:lnTo>
                      <a:pt x="224" y="138"/>
                    </a:lnTo>
                    <a:lnTo>
                      <a:pt x="224" y="138"/>
                    </a:lnTo>
                    <a:lnTo>
                      <a:pt x="224" y="138"/>
                    </a:lnTo>
                    <a:lnTo>
                      <a:pt x="222" y="138"/>
                    </a:lnTo>
                    <a:lnTo>
                      <a:pt x="222" y="138"/>
                    </a:lnTo>
                    <a:lnTo>
                      <a:pt x="222" y="126"/>
                    </a:lnTo>
                    <a:lnTo>
                      <a:pt x="222" y="126"/>
                    </a:lnTo>
                    <a:lnTo>
                      <a:pt x="224" y="124"/>
                    </a:lnTo>
                    <a:lnTo>
                      <a:pt x="224" y="124"/>
                    </a:lnTo>
                    <a:lnTo>
                      <a:pt x="228" y="128"/>
                    </a:lnTo>
                    <a:lnTo>
                      <a:pt x="228" y="128"/>
                    </a:lnTo>
                    <a:lnTo>
                      <a:pt x="230" y="124"/>
                    </a:lnTo>
                    <a:lnTo>
                      <a:pt x="230" y="124"/>
                    </a:lnTo>
                    <a:lnTo>
                      <a:pt x="226" y="122"/>
                    </a:lnTo>
                    <a:lnTo>
                      <a:pt x="226" y="120"/>
                    </a:lnTo>
                    <a:lnTo>
                      <a:pt x="228" y="116"/>
                    </a:lnTo>
                    <a:lnTo>
                      <a:pt x="228" y="116"/>
                    </a:lnTo>
                    <a:lnTo>
                      <a:pt x="230" y="114"/>
                    </a:lnTo>
                    <a:lnTo>
                      <a:pt x="228" y="114"/>
                    </a:lnTo>
                    <a:lnTo>
                      <a:pt x="228" y="114"/>
                    </a:lnTo>
                    <a:lnTo>
                      <a:pt x="226" y="110"/>
                    </a:lnTo>
                    <a:lnTo>
                      <a:pt x="226" y="110"/>
                    </a:lnTo>
                    <a:lnTo>
                      <a:pt x="228" y="110"/>
                    </a:lnTo>
                    <a:lnTo>
                      <a:pt x="228" y="110"/>
                    </a:lnTo>
                    <a:lnTo>
                      <a:pt x="230" y="104"/>
                    </a:lnTo>
                    <a:lnTo>
                      <a:pt x="232" y="104"/>
                    </a:lnTo>
                    <a:lnTo>
                      <a:pt x="232" y="104"/>
                    </a:lnTo>
                    <a:lnTo>
                      <a:pt x="232" y="104"/>
                    </a:lnTo>
                    <a:lnTo>
                      <a:pt x="236" y="92"/>
                    </a:lnTo>
                    <a:lnTo>
                      <a:pt x="236" y="92"/>
                    </a:lnTo>
                    <a:lnTo>
                      <a:pt x="238" y="88"/>
                    </a:lnTo>
                    <a:lnTo>
                      <a:pt x="240" y="84"/>
                    </a:lnTo>
                    <a:lnTo>
                      <a:pt x="244" y="82"/>
                    </a:lnTo>
                    <a:lnTo>
                      <a:pt x="244" y="82"/>
                    </a:lnTo>
                    <a:lnTo>
                      <a:pt x="248" y="78"/>
                    </a:lnTo>
                    <a:lnTo>
                      <a:pt x="248" y="78"/>
                    </a:lnTo>
                    <a:lnTo>
                      <a:pt x="248" y="76"/>
                    </a:lnTo>
                    <a:lnTo>
                      <a:pt x="252" y="74"/>
                    </a:lnTo>
                    <a:lnTo>
                      <a:pt x="252" y="74"/>
                    </a:lnTo>
                    <a:lnTo>
                      <a:pt x="254" y="70"/>
                    </a:lnTo>
                    <a:lnTo>
                      <a:pt x="254" y="70"/>
                    </a:lnTo>
                    <a:lnTo>
                      <a:pt x="256" y="68"/>
                    </a:lnTo>
                    <a:lnTo>
                      <a:pt x="258" y="66"/>
                    </a:lnTo>
                    <a:lnTo>
                      <a:pt x="258" y="66"/>
                    </a:lnTo>
                    <a:lnTo>
                      <a:pt x="258" y="64"/>
                    </a:lnTo>
                    <a:lnTo>
                      <a:pt x="256" y="62"/>
                    </a:lnTo>
                    <a:lnTo>
                      <a:pt x="256" y="62"/>
                    </a:lnTo>
                    <a:lnTo>
                      <a:pt x="254" y="62"/>
                    </a:lnTo>
                    <a:lnTo>
                      <a:pt x="254" y="58"/>
                    </a:lnTo>
                    <a:lnTo>
                      <a:pt x="256" y="54"/>
                    </a:lnTo>
                    <a:lnTo>
                      <a:pt x="256" y="54"/>
                    </a:lnTo>
                    <a:lnTo>
                      <a:pt x="258" y="50"/>
                    </a:lnTo>
                    <a:lnTo>
                      <a:pt x="258" y="48"/>
                    </a:lnTo>
                    <a:lnTo>
                      <a:pt x="258" y="48"/>
                    </a:lnTo>
                    <a:lnTo>
                      <a:pt x="258" y="48"/>
                    </a:lnTo>
                    <a:lnTo>
                      <a:pt x="256" y="46"/>
                    </a:lnTo>
                    <a:lnTo>
                      <a:pt x="258" y="44"/>
                    </a:lnTo>
                    <a:lnTo>
                      <a:pt x="262" y="40"/>
                    </a:lnTo>
                    <a:lnTo>
                      <a:pt x="262" y="40"/>
                    </a:lnTo>
                    <a:lnTo>
                      <a:pt x="262" y="34"/>
                    </a:lnTo>
                    <a:lnTo>
                      <a:pt x="262" y="34"/>
                    </a:lnTo>
                    <a:lnTo>
                      <a:pt x="254" y="28"/>
                    </a:lnTo>
                    <a:lnTo>
                      <a:pt x="254" y="28"/>
                    </a:lnTo>
                    <a:lnTo>
                      <a:pt x="252" y="30"/>
                    </a:lnTo>
                    <a:lnTo>
                      <a:pt x="250" y="28"/>
                    </a:lnTo>
                    <a:lnTo>
                      <a:pt x="250" y="28"/>
                    </a:lnTo>
                    <a:lnTo>
                      <a:pt x="246" y="26"/>
                    </a:lnTo>
                    <a:lnTo>
                      <a:pt x="242" y="24"/>
                    </a:lnTo>
                    <a:lnTo>
                      <a:pt x="242" y="24"/>
                    </a:lnTo>
                    <a:lnTo>
                      <a:pt x="236" y="16"/>
                    </a:lnTo>
                    <a:lnTo>
                      <a:pt x="236" y="16"/>
                    </a:lnTo>
                    <a:lnTo>
                      <a:pt x="232" y="12"/>
                    </a:lnTo>
                    <a:lnTo>
                      <a:pt x="230" y="12"/>
                    </a:lnTo>
                    <a:lnTo>
                      <a:pt x="228" y="14"/>
                    </a:lnTo>
                    <a:lnTo>
                      <a:pt x="228" y="14"/>
                    </a:lnTo>
                    <a:lnTo>
                      <a:pt x="226" y="16"/>
                    </a:lnTo>
                    <a:lnTo>
                      <a:pt x="224" y="16"/>
                    </a:lnTo>
                    <a:lnTo>
                      <a:pt x="224" y="16"/>
                    </a:lnTo>
                    <a:lnTo>
                      <a:pt x="218" y="12"/>
                    </a:lnTo>
                    <a:lnTo>
                      <a:pt x="216" y="10"/>
                    </a:lnTo>
                    <a:lnTo>
                      <a:pt x="216" y="12"/>
                    </a:lnTo>
                    <a:lnTo>
                      <a:pt x="216" y="12"/>
                    </a:lnTo>
                    <a:lnTo>
                      <a:pt x="214" y="16"/>
                    </a:lnTo>
                    <a:lnTo>
                      <a:pt x="210" y="16"/>
                    </a:lnTo>
                    <a:lnTo>
                      <a:pt x="210" y="16"/>
                    </a:lnTo>
                    <a:lnTo>
                      <a:pt x="208" y="12"/>
                    </a:lnTo>
                    <a:lnTo>
                      <a:pt x="206" y="8"/>
                    </a:lnTo>
                    <a:lnTo>
                      <a:pt x="202" y="2"/>
                    </a:lnTo>
                    <a:lnTo>
                      <a:pt x="202" y="2"/>
                    </a:lnTo>
                    <a:lnTo>
                      <a:pt x="194" y="2"/>
                    </a:lnTo>
                    <a:lnTo>
                      <a:pt x="194" y="2"/>
                    </a:lnTo>
                    <a:lnTo>
                      <a:pt x="194" y="2"/>
                    </a:lnTo>
                    <a:lnTo>
                      <a:pt x="190" y="0"/>
                    </a:lnTo>
                    <a:lnTo>
                      <a:pt x="190" y="0"/>
                    </a:lnTo>
                    <a:lnTo>
                      <a:pt x="180" y="0"/>
                    </a:lnTo>
                    <a:lnTo>
                      <a:pt x="180" y="0"/>
                    </a:lnTo>
                    <a:lnTo>
                      <a:pt x="176" y="2"/>
                    </a:lnTo>
                    <a:lnTo>
                      <a:pt x="174" y="6"/>
                    </a:lnTo>
                    <a:lnTo>
                      <a:pt x="174" y="6"/>
                    </a:lnTo>
                    <a:lnTo>
                      <a:pt x="172" y="8"/>
                    </a:lnTo>
                    <a:lnTo>
                      <a:pt x="170" y="6"/>
                    </a:lnTo>
                    <a:lnTo>
                      <a:pt x="170" y="6"/>
                    </a:lnTo>
                    <a:lnTo>
                      <a:pt x="168" y="4"/>
                    </a:lnTo>
                    <a:lnTo>
                      <a:pt x="168" y="4"/>
                    </a:lnTo>
                    <a:lnTo>
                      <a:pt x="166" y="6"/>
                    </a:lnTo>
                    <a:lnTo>
                      <a:pt x="166" y="8"/>
                    </a:lnTo>
                    <a:lnTo>
                      <a:pt x="166" y="10"/>
                    </a:lnTo>
                    <a:lnTo>
                      <a:pt x="166" y="10"/>
                    </a:lnTo>
                    <a:lnTo>
                      <a:pt x="158" y="10"/>
                    </a:lnTo>
                    <a:lnTo>
                      <a:pt x="158" y="10"/>
                    </a:lnTo>
                    <a:lnTo>
                      <a:pt x="156" y="12"/>
                    </a:lnTo>
                    <a:lnTo>
                      <a:pt x="154" y="10"/>
                    </a:lnTo>
                    <a:lnTo>
                      <a:pt x="152" y="8"/>
                    </a:lnTo>
                    <a:lnTo>
                      <a:pt x="150" y="8"/>
                    </a:lnTo>
                    <a:lnTo>
                      <a:pt x="150" y="8"/>
                    </a:lnTo>
                    <a:lnTo>
                      <a:pt x="148" y="8"/>
                    </a:lnTo>
                    <a:lnTo>
                      <a:pt x="146" y="12"/>
                    </a:lnTo>
                    <a:lnTo>
                      <a:pt x="146" y="16"/>
                    </a:lnTo>
                    <a:lnTo>
                      <a:pt x="146" y="16"/>
                    </a:lnTo>
                    <a:lnTo>
                      <a:pt x="138" y="14"/>
                    </a:lnTo>
                    <a:lnTo>
                      <a:pt x="138" y="14"/>
                    </a:lnTo>
                    <a:lnTo>
                      <a:pt x="130" y="12"/>
                    </a:lnTo>
                    <a:lnTo>
                      <a:pt x="130" y="12"/>
                    </a:lnTo>
                    <a:lnTo>
                      <a:pt x="124" y="12"/>
                    </a:lnTo>
                    <a:lnTo>
                      <a:pt x="118" y="10"/>
                    </a:lnTo>
                    <a:lnTo>
                      <a:pt x="118" y="10"/>
                    </a:lnTo>
                    <a:lnTo>
                      <a:pt x="114" y="8"/>
                    </a:lnTo>
                    <a:lnTo>
                      <a:pt x="110" y="4"/>
                    </a:lnTo>
                    <a:lnTo>
                      <a:pt x="110" y="4"/>
                    </a:lnTo>
                    <a:lnTo>
                      <a:pt x="104" y="2"/>
                    </a:lnTo>
                    <a:lnTo>
                      <a:pt x="100" y="2"/>
                    </a:lnTo>
                    <a:lnTo>
                      <a:pt x="100" y="2"/>
                    </a:lnTo>
                    <a:lnTo>
                      <a:pt x="96" y="6"/>
                    </a:lnTo>
                    <a:lnTo>
                      <a:pt x="94" y="10"/>
                    </a:lnTo>
                    <a:lnTo>
                      <a:pt x="94" y="10"/>
                    </a:lnTo>
                    <a:lnTo>
                      <a:pt x="94" y="14"/>
                    </a:lnTo>
                    <a:lnTo>
                      <a:pt x="90" y="16"/>
                    </a:lnTo>
                    <a:lnTo>
                      <a:pt x="88" y="18"/>
                    </a:lnTo>
                    <a:lnTo>
                      <a:pt x="86" y="30"/>
                    </a:lnTo>
                    <a:lnTo>
                      <a:pt x="86" y="40"/>
                    </a:lnTo>
                    <a:lnTo>
                      <a:pt x="84" y="46"/>
                    </a:lnTo>
                    <a:lnTo>
                      <a:pt x="80" y="50"/>
                    </a:lnTo>
                    <a:lnTo>
                      <a:pt x="80" y="54"/>
                    </a:lnTo>
                    <a:lnTo>
                      <a:pt x="78" y="60"/>
                    </a:lnTo>
                    <a:lnTo>
                      <a:pt x="78" y="66"/>
                    </a:lnTo>
                    <a:lnTo>
                      <a:pt x="78" y="72"/>
                    </a:lnTo>
                    <a:lnTo>
                      <a:pt x="78" y="78"/>
                    </a:lnTo>
                    <a:lnTo>
                      <a:pt x="78" y="86"/>
                    </a:lnTo>
                    <a:lnTo>
                      <a:pt x="76" y="92"/>
                    </a:lnTo>
                    <a:lnTo>
                      <a:pt x="72" y="98"/>
                    </a:lnTo>
                    <a:lnTo>
                      <a:pt x="72" y="104"/>
                    </a:lnTo>
                    <a:lnTo>
                      <a:pt x="70" y="112"/>
                    </a:lnTo>
                    <a:lnTo>
                      <a:pt x="70" y="110"/>
                    </a:lnTo>
                    <a:lnTo>
                      <a:pt x="66" y="114"/>
                    </a:lnTo>
                    <a:lnTo>
                      <a:pt x="66" y="120"/>
                    </a:lnTo>
                    <a:lnTo>
                      <a:pt x="64" y="126"/>
                    </a:lnTo>
                    <a:lnTo>
                      <a:pt x="62" y="130"/>
                    </a:lnTo>
                    <a:lnTo>
                      <a:pt x="62" y="136"/>
                    </a:lnTo>
                    <a:lnTo>
                      <a:pt x="62" y="140"/>
                    </a:lnTo>
                    <a:lnTo>
                      <a:pt x="60" y="144"/>
                    </a:lnTo>
                    <a:lnTo>
                      <a:pt x="60" y="150"/>
                    </a:lnTo>
                    <a:lnTo>
                      <a:pt x="56" y="156"/>
                    </a:lnTo>
                    <a:lnTo>
                      <a:pt x="56" y="160"/>
                    </a:lnTo>
                    <a:lnTo>
                      <a:pt x="50" y="166"/>
                    </a:lnTo>
                    <a:lnTo>
                      <a:pt x="42" y="168"/>
                    </a:lnTo>
                    <a:lnTo>
                      <a:pt x="38" y="170"/>
                    </a:lnTo>
                    <a:lnTo>
                      <a:pt x="36" y="166"/>
                    </a:lnTo>
                    <a:lnTo>
                      <a:pt x="36" y="156"/>
                    </a:lnTo>
                    <a:lnTo>
                      <a:pt x="36" y="156"/>
                    </a:lnTo>
                    <a:lnTo>
                      <a:pt x="34" y="158"/>
                    </a:lnTo>
                    <a:lnTo>
                      <a:pt x="30" y="158"/>
                    </a:lnTo>
                    <a:lnTo>
                      <a:pt x="30" y="158"/>
                    </a:lnTo>
                    <a:lnTo>
                      <a:pt x="26" y="156"/>
                    </a:lnTo>
                    <a:lnTo>
                      <a:pt x="26" y="156"/>
                    </a:lnTo>
                    <a:lnTo>
                      <a:pt x="26" y="160"/>
                    </a:lnTo>
                    <a:lnTo>
                      <a:pt x="26" y="162"/>
                    </a:lnTo>
                    <a:lnTo>
                      <a:pt x="24" y="164"/>
                    </a:lnTo>
                    <a:lnTo>
                      <a:pt x="24" y="164"/>
                    </a:lnTo>
                    <a:lnTo>
                      <a:pt x="20" y="162"/>
                    </a:lnTo>
                    <a:lnTo>
                      <a:pt x="18" y="162"/>
                    </a:lnTo>
                    <a:lnTo>
                      <a:pt x="16" y="164"/>
                    </a:lnTo>
                    <a:lnTo>
                      <a:pt x="16" y="164"/>
                    </a:lnTo>
                    <a:lnTo>
                      <a:pt x="14" y="164"/>
                    </a:lnTo>
                    <a:lnTo>
                      <a:pt x="12" y="164"/>
                    </a:lnTo>
                    <a:lnTo>
                      <a:pt x="12" y="164"/>
                    </a:lnTo>
                    <a:lnTo>
                      <a:pt x="10" y="166"/>
                    </a:lnTo>
                    <a:lnTo>
                      <a:pt x="8" y="168"/>
                    </a:lnTo>
                    <a:lnTo>
                      <a:pt x="8" y="170"/>
                    </a:lnTo>
                    <a:lnTo>
                      <a:pt x="8" y="170"/>
                    </a:lnTo>
                    <a:lnTo>
                      <a:pt x="8" y="174"/>
                    </a:lnTo>
                    <a:lnTo>
                      <a:pt x="8" y="174"/>
                    </a:lnTo>
                    <a:lnTo>
                      <a:pt x="2" y="17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4" name="Freeform 9"/>
              <p:cNvSpPr>
                <a:spLocks noChangeAspect="1"/>
              </p:cNvSpPr>
              <p:nvPr/>
            </p:nvSpPr>
            <p:spPr bwMode="gray">
              <a:xfrm>
                <a:off x="3899782" y="3657765"/>
                <a:ext cx="204014" cy="187527"/>
              </a:xfrm>
              <a:custGeom>
                <a:avLst/>
                <a:gdLst/>
                <a:ahLst/>
                <a:cxnLst>
                  <a:cxn ang="0">
                    <a:pos x="0" y="114"/>
                  </a:cxn>
                  <a:cxn ang="0">
                    <a:pos x="4" y="110"/>
                  </a:cxn>
                  <a:cxn ang="0">
                    <a:pos x="54" y="108"/>
                  </a:cxn>
                  <a:cxn ang="0">
                    <a:pos x="54" y="82"/>
                  </a:cxn>
                  <a:cxn ang="0">
                    <a:pos x="56" y="76"/>
                  </a:cxn>
                  <a:cxn ang="0">
                    <a:pos x="70" y="72"/>
                  </a:cxn>
                  <a:cxn ang="0">
                    <a:pos x="120" y="36"/>
                  </a:cxn>
                  <a:cxn ang="0">
                    <a:pos x="120" y="0"/>
                  </a:cxn>
                  <a:cxn ang="0">
                    <a:pos x="62" y="2"/>
                  </a:cxn>
                  <a:cxn ang="0">
                    <a:pos x="60" y="6"/>
                  </a:cxn>
                  <a:cxn ang="0">
                    <a:pos x="52" y="6"/>
                  </a:cxn>
                  <a:cxn ang="0">
                    <a:pos x="52" y="8"/>
                  </a:cxn>
                  <a:cxn ang="0">
                    <a:pos x="50" y="10"/>
                  </a:cxn>
                  <a:cxn ang="0">
                    <a:pos x="48" y="16"/>
                  </a:cxn>
                  <a:cxn ang="0">
                    <a:pos x="46" y="18"/>
                  </a:cxn>
                  <a:cxn ang="0">
                    <a:pos x="46" y="20"/>
                  </a:cxn>
                  <a:cxn ang="0">
                    <a:pos x="44" y="22"/>
                  </a:cxn>
                  <a:cxn ang="0">
                    <a:pos x="44" y="22"/>
                  </a:cxn>
                  <a:cxn ang="0">
                    <a:pos x="34" y="34"/>
                  </a:cxn>
                  <a:cxn ang="0">
                    <a:pos x="32" y="44"/>
                  </a:cxn>
                  <a:cxn ang="0">
                    <a:pos x="28" y="48"/>
                  </a:cxn>
                  <a:cxn ang="0">
                    <a:pos x="26" y="56"/>
                  </a:cxn>
                  <a:cxn ang="0">
                    <a:pos x="22" y="64"/>
                  </a:cxn>
                  <a:cxn ang="0">
                    <a:pos x="18" y="68"/>
                  </a:cxn>
                  <a:cxn ang="0">
                    <a:pos x="18" y="70"/>
                  </a:cxn>
                  <a:cxn ang="0">
                    <a:pos x="18" y="72"/>
                  </a:cxn>
                  <a:cxn ang="0">
                    <a:pos x="14" y="76"/>
                  </a:cxn>
                  <a:cxn ang="0">
                    <a:pos x="14" y="80"/>
                  </a:cxn>
                  <a:cxn ang="0">
                    <a:pos x="12" y="82"/>
                  </a:cxn>
                  <a:cxn ang="0">
                    <a:pos x="12" y="86"/>
                  </a:cxn>
                  <a:cxn ang="0">
                    <a:pos x="10" y="88"/>
                  </a:cxn>
                  <a:cxn ang="0">
                    <a:pos x="8" y="92"/>
                  </a:cxn>
                  <a:cxn ang="0">
                    <a:pos x="6" y="96"/>
                  </a:cxn>
                  <a:cxn ang="0">
                    <a:pos x="0" y="100"/>
                  </a:cxn>
                  <a:cxn ang="0">
                    <a:pos x="0" y="102"/>
                  </a:cxn>
                  <a:cxn ang="0">
                    <a:pos x="0" y="108"/>
                  </a:cxn>
                  <a:cxn ang="0">
                    <a:pos x="0" y="114"/>
                  </a:cxn>
                </a:cxnLst>
                <a:rect l="0" t="0" r="r" b="b"/>
                <a:pathLst>
                  <a:path w="120" h="114">
                    <a:moveTo>
                      <a:pt x="0" y="114"/>
                    </a:moveTo>
                    <a:lnTo>
                      <a:pt x="0" y="114"/>
                    </a:lnTo>
                    <a:lnTo>
                      <a:pt x="4" y="110"/>
                    </a:lnTo>
                    <a:lnTo>
                      <a:pt x="4" y="110"/>
                    </a:lnTo>
                    <a:lnTo>
                      <a:pt x="54" y="108"/>
                    </a:lnTo>
                    <a:lnTo>
                      <a:pt x="54" y="108"/>
                    </a:lnTo>
                    <a:lnTo>
                      <a:pt x="54" y="82"/>
                    </a:lnTo>
                    <a:lnTo>
                      <a:pt x="54" y="82"/>
                    </a:lnTo>
                    <a:lnTo>
                      <a:pt x="54" y="78"/>
                    </a:lnTo>
                    <a:lnTo>
                      <a:pt x="56" y="76"/>
                    </a:lnTo>
                    <a:lnTo>
                      <a:pt x="62" y="74"/>
                    </a:lnTo>
                    <a:lnTo>
                      <a:pt x="70" y="72"/>
                    </a:lnTo>
                    <a:lnTo>
                      <a:pt x="70" y="36"/>
                    </a:lnTo>
                    <a:lnTo>
                      <a:pt x="120" y="36"/>
                    </a:lnTo>
                    <a:lnTo>
                      <a:pt x="120" y="12"/>
                    </a:lnTo>
                    <a:lnTo>
                      <a:pt x="120" y="0"/>
                    </a:lnTo>
                    <a:lnTo>
                      <a:pt x="62" y="2"/>
                    </a:lnTo>
                    <a:lnTo>
                      <a:pt x="62" y="2"/>
                    </a:lnTo>
                    <a:lnTo>
                      <a:pt x="60" y="6"/>
                    </a:lnTo>
                    <a:lnTo>
                      <a:pt x="60" y="6"/>
                    </a:lnTo>
                    <a:lnTo>
                      <a:pt x="52" y="6"/>
                    </a:lnTo>
                    <a:lnTo>
                      <a:pt x="52" y="6"/>
                    </a:lnTo>
                    <a:lnTo>
                      <a:pt x="52" y="8"/>
                    </a:lnTo>
                    <a:lnTo>
                      <a:pt x="52" y="8"/>
                    </a:lnTo>
                    <a:lnTo>
                      <a:pt x="50" y="10"/>
                    </a:lnTo>
                    <a:lnTo>
                      <a:pt x="50" y="10"/>
                    </a:lnTo>
                    <a:lnTo>
                      <a:pt x="48" y="14"/>
                    </a:lnTo>
                    <a:lnTo>
                      <a:pt x="48" y="16"/>
                    </a:lnTo>
                    <a:lnTo>
                      <a:pt x="48" y="16"/>
                    </a:lnTo>
                    <a:lnTo>
                      <a:pt x="46" y="18"/>
                    </a:lnTo>
                    <a:lnTo>
                      <a:pt x="46" y="18"/>
                    </a:lnTo>
                    <a:lnTo>
                      <a:pt x="46" y="20"/>
                    </a:lnTo>
                    <a:lnTo>
                      <a:pt x="46" y="20"/>
                    </a:lnTo>
                    <a:lnTo>
                      <a:pt x="44" y="22"/>
                    </a:lnTo>
                    <a:lnTo>
                      <a:pt x="44" y="22"/>
                    </a:lnTo>
                    <a:lnTo>
                      <a:pt x="44" y="22"/>
                    </a:lnTo>
                    <a:lnTo>
                      <a:pt x="34" y="34"/>
                    </a:lnTo>
                    <a:lnTo>
                      <a:pt x="34" y="34"/>
                    </a:lnTo>
                    <a:lnTo>
                      <a:pt x="34" y="40"/>
                    </a:lnTo>
                    <a:lnTo>
                      <a:pt x="32" y="44"/>
                    </a:lnTo>
                    <a:lnTo>
                      <a:pt x="32" y="44"/>
                    </a:lnTo>
                    <a:lnTo>
                      <a:pt x="28" y="48"/>
                    </a:lnTo>
                    <a:lnTo>
                      <a:pt x="28" y="48"/>
                    </a:lnTo>
                    <a:lnTo>
                      <a:pt x="26" y="56"/>
                    </a:lnTo>
                    <a:lnTo>
                      <a:pt x="22" y="64"/>
                    </a:lnTo>
                    <a:lnTo>
                      <a:pt x="22" y="64"/>
                    </a:lnTo>
                    <a:lnTo>
                      <a:pt x="20" y="66"/>
                    </a:lnTo>
                    <a:lnTo>
                      <a:pt x="18" y="68"/>
                    </a:lnTo>
                    <a:lnTo>
                      <a:pt x="18" y="68"/>
                    </a:lnTo>
                    <a:lnTo>
                      <a:pt x="18" y="70"/>
                    </a:lnTo>
                    <a:lnTo>
                      <a:pt x="18" y="72"/>
                    </a:lnTo>
                    <a:lnTo>
                      <a:pt x="18" y="72"/>
                    </a:lnTo>
                    <a:lnTo>
                      <a:pt x="14" y="76"/>
                    </a:lnTo>
                    <a:lnTo>
                      <a:pt x="14" y="76"/>
                    </a:lnTo>
                    <a:lnTo>
                      <a:pt x="14" y="80"/>
                    </a:lnTo>
                    <a:lnTo>
                      <a:pt x="14" y="80"/>
                    </a:lnTo>
                    <a:lnTo>
                      <a:pt x="12" y="82"/>
                    </a:lnTo>
                    <a:lnTo>
                      <a:pt x="12" y="82"/>
                    </a:lnTo>
                    <a:lnTo>
                      <a:pt x="12" y="86"/>
                    </a:lnTo>
                    <a:lnTo>
                      <a:pt x="12" y="86"/>
                    </a:lnTo>
                    <a:lnTo>
                      <a:pt x="10" y="88"/>
                    </a:lnTo>
                    <a:lnTo>
                      <a:pt x="10" y="88"/>
                    </a:lnTo>
                    <a:lnTo>
                      <a:pt x="8" y="90"/>
                    </a:lnTo>
                    <a:lnTo>
                      <a:pt x="8" y="92"/>
                    </a:lnTo>
                    <a:lnTo>
                      <a:pt x="8" y="92"/>
                    </a:lnTo>
                    <a:lnTo>
                      <a:pt x="6" y="96"/>
                    </a:lnTo>
                    <a:lnTo>
                      <a:pt x="0" y="100"/>
                    </a:lnTo>
                    <a:lnTo>
                      <a:pt x="0" y="100"/>
                    </a:lnTo>
                    <a:lnTo>
                      <a:pt x="0" y="102"/>
                    </a:lnTo>
                    <a:lnTo>
                      <a:pt x="0" y="102"/>
                    </a:lnTo>
                    <a:lnTo>
                      <a:pt x="2" y="106"/>
                    </a:lnTo>
                    <a:lnTo>
                      <a:pt x="0" y="108"/>
                    </a:lnTo>
                    <a:lnTo>
                      <a:pt x="0" y="108"/>
                    </a:lnTo>
                    <a:lnTo>
                      <a:pt x="0" y="114"/>
                    </a:lnTo>
                    <a:lnTo>
                      <a:pt x="0" y="1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5" name="Freeform 23"/>
              <p:cNvSpPr>
                <a:spLocks noChangeAspect="1" noEditPoints="1"/>
              </p:cNvSpPr>
              <p:nvPr/>
            </p:nvSpPr>
            <p:spPr bwMode="gray">
              <a:xfrm>
                <a:off x="4948753" y="4309173"/>
                <a:ext cx="129209" cy="177657"/>
              </a:xfrm>
              <a:custGeom>
                <a:avLst/>
                <a:gdLst/>
                <a:ahLst/>
                <a:cxnLst>
                  <a:cxn ang="0">
                    <a:pos x="68" y="76"/>
                  </a:cxn>
                  <a:cxn ang="0">
                    <a:pos x="70" y="72"/>
                  </a:cxn>
                  <a:cxn ang="0">
                    <a:pos x="68" y="60"/>
                  </a:cxn>
                  <a:cxn ang="0">
                    <a:pos x="70" y="50"/>
                  </a:cxn>
                  <a:cxn ang="0">
                    <a:pos x="72" y="46"/>
                  </a:cxn>
                  <a:cxn ang="0">
                    <a:pos x="76" y="38"/>
                  </a:cxn>
                  <a:cxn ang="0">
                    <a:pos x="74" y="28"/>
                  </a:cxn>
                  <a:cxn ang="0">
                    <a:pos x="72" y="18"/>
                  </a:cxn>
                  <a:cxn ang="0">
                    <a:pos x="74" y="12"/>
                  </a:cxn>
                  <a:cxn ang="0">
                    <a:pos x="72" y="8"/>
                  </a:cxn>
                  <a:cxn ang="0">
                    <a:pos x="66" y="4"/>
                  </a:cxn>
                  <a:cxn ang="0">
                    <a:pos x="60" y="4"/>
                  </a:cxn>
                  <a:cxn ang="0">
                    <a:pos x="50" y="2"/>
                  </a:cxn>
                  <a:cxn ang="0">
                    <a:pos x="46" y="2"/>
                  </a:cxn>
                  <a:cxn ang="0">
                    <a:pos x="40" y="6"/>
                  </a:cxn>
                  <a:cxn ang="0">
                    <a:pos x="36" y="12"/>
                  </a:cxn>
                  <a:cxn ang="0">
                    <a:pos x="32" y="20"/>
                  </a:cxn>
                  <a:cxn ang="0">
                    <a:pos x="32" y="24"/>
                  </a:cxn>
                  <a:cxn ang="0">
                    <a:pos x="30" y="30"/>
                  </a:cxn>
                  <a:cxn ang="0">
                    <a:pos x="28" y="38"/>
                  </a:cxn>
                  <a:cxn ang="0">
                    <a:pos x="32" y="40"/>
                  </a:cxn>
                  <a:cxn ang="0">
                    <a:pos x="32" y="42"/>
                  </a:cxn>
                  <a:cxn ang="0">
                    <a:pos x="32" y="46"/>
                  </a:cxn>
                  <a:cxn ang="0">
                    <a:pos x="26" y="56"/>
                  </a:cxn>
                  <a:cxn ang="0">
                    <a:pos x="22" y="54"/>
                  </a:cxn>
                  <a:cxn ang="0">
                    <a:pos x="14" y="60"/>
                  </a:cxn>
                  <a:cxn ang="0">
                    <a:pos x="10" y="68"/>
                  </a:cxn>
                  <a:cxn ang="0">
                    <a:pos x="6" y="80"/>
                  </a:cxn>
                  <a:cxn ang="0">
                    <a:pos x="8" y="84"/>
                  </a:cxn>
                  <a:cxn ang="0">
                    <a:pos x="4" y="90"/>
                  </a:cxn>
                  <a:cxn ang="0">
                    <a:pos x="2" y="92"/>
                  </a:cxn>
                  <a:cxn ang="0">
                    <a:pos x="4" y="100"/>
                  </a:cxn>
                  <a:cxn ang="0">
                    <a:pos x="10" y="106"/>
                  </a:cxn>
                  <a:cxn ang="0">
                    <a:pos x="18" y="106"/>
                  </a:cxn>
                  <a:cxn ang="0">
                    <a:pos x="24" y="102"/>
                  </a:cxn>
                  <a:cxn ang="0">
                    <a:pos x="42" y="102"/>
                  </a:cxn>
                  <a:cxn ang="0">
                    <a:pos x="42" y="98"/>
                  </a:cxn>
                  <a:cxn ang="0">
                    <a:pos x="40" y="88"/>
                  </a:cxn>
                  <a:cxn ang="0">
                    <a:pos x="38" y="80"/>
                  </a:cxn>
                  <a:cxn ang="0">
                    <a:pos x="40" y="76"/>
                  </a:cxn>
                  <a:cxn ang="0">
                    <a:pos x="48" y="72"/>
                  </a:cxn>
                  <a:cxn ang="0">
                    <a:pos x="62" y="68"/>
                  </a:cxn>
                  <a:cxn ang="0">
                    <a:pos x="64" y="70"/>
                  </a:cxn>
                  <a:cxn ang="0">
                    <a:pos x="68" y="72"/>
                  </a:cxn>
                  <a:cxn ang="0">
                    <a:pos x="66" y="78"/>
                  </a:cxn>
                  <a:cxn ang="0">
                    <a:pos x="70" y="78"/>
                  </a:cxn>
                  <a:cxn ang="0">
                    <a:pos x="26" y="50"/>
                  </a:cxn>
                  <a:cxn ang="0">
                    <a:pos x="28" y="48"/>
                  </a:cxn>
                </a:cxnLst>
                <a:rect l="0" t="0" r="r" b="b"/>
                <a:pathLst>
                  <a:path w="76" h="108">
                    <a:moveTo>
                      <a:pt x="70" y="78"/>
                    </a:moveTo>
                    <a:lnTo>
                      <a:pt x="70" y="78"/>
                    </a:lnTo>
                    <a:lnTo>
                      <a:pt x="68" y="76"/>
                    </a:lnTo>
                    <a:lnTo>
                      <a:pt x="70" y="74"/>
                    </a:lnTo>
                    <a:lnTo>
                      <a:pt x="70" y="74"/>
                    </a:lnTo>
                    <a:lnTo>
                      <a:pt x="70" y="72"/>
                    </a:lnTo>
                    <a:lnTo>
                      <a:pt x="68" y="68"/>
                    </a:lnTo>
                    <a:lnTo>
                      <a:pt x="68" y="64"/>
                    </a:lnTo>
                    <a:lnTo>
                      <a:pt x="68" y="60"/>
                    </a:lnTo>
                    <a:lnTo>
                      <a:pt x="68" y="60"/>
                    </a:lnTo>
                    <a:lnTo>
                      <a:pt x="70" y="56"/>
                    </a:lnTo>
                    <a:lnTo>
                      <a:pt x="70" y="50"/>
                    </a:lnTo>
                    <a:lnTo>
                      <a:pt x="70" y="50"/>
                    </a:lnTo>
                    <a:lnTo>
                      <a:pt x="70" y="48"/>
                    </a:lnTo>
                    <a:lnTo>
                      <a:pt x="72" y="46"/>
                    </a:lnTo>
                    <a:lnTo>
                      <a:pt x="74" y="44"/>
                    </a:lnTo>
                    <a:lnTo>
                      <a:pt x="74" y="44"/>
                    </a:lnTo>
                    <a:lnTo>
                      <a:pt x="76" y="38"/>
                    </a:lnTo>
                    <a:lnTo>
                      <a:pt x="76" y="38"/>
                    </a:lnTo>
                    <a:lnTo>
                      <a:pt x="76" y="32"/>
                    </a:lnTo>
                    <a:lnTo>
                      <a:pt x="74" y="28"/>
                    </a:lnTo>
                    <a:lnTo>
                      <a:pt x="74" y="28"/>
                    </a:lnTo>
                    <a:lnTo>
                      <a:pt x="70" y="24"/>
                    </a:lnTo>
                    <a:lnTo>
                      <a:pt x="72" y="18"/>
                    </a:lnTo>
                    <a:lnTo>
                      <a:pt x="72" y="18"/>
                    </a:lnTo>
                    <a:lnTo>
                      <a:pt x="74" y="14"/>
                    </a:lnTo>
                    <a:lnTo>
                      <a:pt x="74" y="12"/>
                    </a:lnTo>
                    <a:lnTo>
                      <a:pt x="72" y="10"/>
                    </a:lnTo>
                    <a:lnTo>
                      <a:pt x="72" y="10"/>
                    </a:lnTo>
                    <a:lnTo>
                      <a:pt x="72" y="8"/>
                    </a:lnTo>
                    <a:lnTo>
                      <a:pt x="70" y="8"/>
                    </a:lnTo>
                    <a:lnTo>
                      <a:pt x="70" y="8"/>
                    </a:lnTo>
                    <a:lnTo>
                      <a:pt x="66" y="4"/>
                    </a:lnTo>
                    <a:lnTo>
                      <a:pt x="66" y="0"/>
                    </a:lnTo>
                    <a:lnTo>
                      <a:pt x="60" y="4"/>
                    </a:lnTo>
                    <a:lnTo>
                      <a:pt x="60" y="4"/>
                    </a:lnTo>
                    <a:lnTo>
                      <a:pt x="58" y="2"/>
                    </a:lnTo>
                    <a:lnTo>
                      <a:pt x="54" y="0"/>
                    </a:lnTo>
                    <a:lnTo>
                      <a:pt x="50" y="2"/>
                    </a:lnTo>
                    <a:lnTo>
                      <a:pt x="50" y="2"/>
                    </a:lnTo>
                    <a:lnTo>
                      <a:pt x="48" y="2"/>
                    </a:lnTo>
                    <a:lnTo>
                      <a:pt x="46" y="2"/>
                    </a:lnTo>
                    <a:lnTo>
                      <a:pt x="46" y="2"/>
                    </a:lnTo>
                    <a:lnTo>
                      <a:pt x="42" y="4"/>
                    </a:lnTo>
                    <a:lnTo>
                      <a:pt x="40" y="6"/>
                    </a:lnTo>
                    <a:lnTo>
                      <a:pt x="36" y="10"/>
                    </a:lnTo>
                    <a:lnTo>
                      <a:pt x="36" y="10"/>
                    </a:lnTo>
                    <a:lnTo>
                      <a:pt x="36" y="12"/>
                    </a:lnTo>
                    <a:lnTo>
                      <a:pt x="36" y="16"/>
                    </a:lnTo>
                    <a:lnTo>
                      <a:pt x="36" y="16"/>
                    </a:lnTo>
                    <a:lnTo>
                      <a:pt x="32" y="20"/>
                    </a:lnTo>
                    <a:lnTo>
                      <a:pt x="30" y="22"/>
                    </a:lnTo>
                    <a:lnTo>
                      <a:pt x="32" y="24"/>
                    </a:lnTo>
                    <a:lnTo>
                      <a:pt x="32" y="24"/>
                    </a:lnTo>
                    <a:lnTo>
                      <a:pt x="32" y="24"/>
                    </a:lnTo>
                    <a:lnTo>
                      <a:pt x="32" y="26"/>
                    </a:lnTo>
                    <a:lnTo>
                      <a:pt x="30" y="30"/>
                    </a:lnTo>
                    <a:lnTo>
                      <a:pt x="30" y="30"/>
                    </a:lnTo>
                    <a:lnTo>
                      <a:pt x="28" y="34"/>
                    </a:lnTo>
                    <a:lnTo>
                      <a:pt x="28" y="38"/>
                    </a:lnTo>
                    <a:lnTo>
                      <a:pt x="30" y="38"/>
                    </a:lnTo>
                    <a:lnTo>
                      <a:pt x="30" y="38"/>
                    </a:lnTo>
                    <a:lnTo>
                      <a:pt x="32" y="40"/>
                    </a:lnTo>
                    <a:lnTo>
                      <a:pt x="32" y="42"/>
                    </a:lnTo>
                    <a:lnTo>
                      <a:pt x="32" y="42"/>
                    </a:lnTo>
                    <a:lnTo>
                      <a:pt x="32" y="42"/>
                    </a:lnTo>
                    <a:lnTo>
                      <a:pt x="32" y="44"/>
                    </a:lnTo>
                    <a:lnTo>
                      <a:pt x="32" y="46"/>
                    </a:lnTo>
                    <a:lnTo>
                      <a:pt x="32" y="46"/>
                    </a:lnTo>
                    <a:lnTo>
                      <a:pt x="30" y="50"/>
                    </a:lnTo>
                    <a:lnTo>
                      <a:pt x="26" y="54"/>
                    </a:lnTo>
                    <a:lnTo>
                      <a:pt x="26" y="56"/>
                    </a:lnTo>
                    <a:lnTo>
                      <a:pt x="24" y="56"/>
                    </a:lnTo>
                    <a:lnTo>
                      <a:pt x="24" y="56"/>
                    </a:lnTo>
                    <a:lnTo>
                      <a:pt x="22" y="54"/>
                    </a:lnTo>
                    <a:lnTo>
                      <a:pt x="22" y="54"/>
                    </a:lnTo>
                    <a:lnTo>
                      <a:pt x="18" y="58"/>
                    </a:lnTo>
                    <a:lnTo>
                      <a:pt x="14" y="60"/>
                    </a:lnTo>
                    <a:lnTo>
                      <a:pt x="14" y="60"/>
                    </a:lnTo>
                    <a:lnTo>
                      <a:pt x="12" y="64"/>
                    </a:lnTo>
                    <a:lnTo>
                      <a:pt x="10" y="68"/>
                    </a:lnTo>
                    <a:lnTo>
                      <a:pt x="10" y="68"/>
                    </a:lnTo>
                    <a:lnTo>
                      <a:pt x="6" y="80"/>
                    </a:lnTo>
                    <a:lnTo>
                      <a:pt x="6" y="80"/>
                    </a:lnTo>
                    <a:lnTo>
                      <a:pt x="10" y="80"/>
                    </a:lnTo>
                    <a:lnTo>
                      <a:pt x="10" y="80"/>
                    </a:lnTo>
                    <a:lnTo>
                      <a:pt x="8" y="84"/>
                    </a:lnTo>
                    <a:lnTo>
                      <a:pt x="6" y="88"/>
                    </a:lnTo>
                    <a:lnTo>
                      <a:pt x="6" y="88"/>
                    </a:lnTo>
                    <a:lnTo>
                      <a:pt x="4" y="90"/>
                    </a:lnTo>
                    <a:lnTo>
                      <a:pt x="4" y="90"/>
                    </a:lnTo>
                    <a:lnTo>
                      <a:pt x="2" y="92"/>
                    </a:lnTo>
                    <a:lnTo>
                      <a:pt x="2" y="92"/>
                    </a:lnTo>
                    <a:lnTo>
                      <a:pt x="0" y="96"/>
                    </a:lnTo>
                    <a:lnTo>
                      <a:pt x="0" y="98"/>
                    </a:lnTo>
                    <a:lnTo>
                      <a:pt x="4" y="100"/>
                    </a:lnTo>
                    <a:lnTo>
                      <a:pt x="4" y="102"/>
                    </a:lnTo>
                    <a:lnTo>
                      <a:pt x="4" y="102"/>
                    </a:lnTo>
                    <a:lnTo>
                      <a:pt x="10" y="106"/>
                    </a:lnTo>
                    <a:lnTo>
                      <a:pt x="10" y="106"/>
                    </a:lnTo>
                    <a:lnTo>
                      <a:pt x="14" y="108"/>
                    </a:lnTo>
                    <a:lnTo>
                      <a:pt x="18" y="106"/>
                    </a:lnTo>
                    <a:lnTo>
                      <a:pt x="18" y="106"/>
                    </a:lnTo>
                    <a:lnTo>
                      <a:pt x="22" y="104"/>
                    </a:lnTo>
                    <a:lnTo>
                      <a:pt x="24" y="102"/>
                    </a:lnTo>
                    <a:lnTo>
                      <a:pt x="42" y="102"/>
                    </a:lnTo>
                    <a:lnTo>
                      <a:pt x="42" y="102"/>
                    </a:lnTo>
                    <a:lnTo>
                      <a:pt x="42" y="102"/>
                    </a:lnTo>
                    <a:lnTo>
                      <a:pt x="42" y="100"/>
                    </a:lnTo>
                    <a:lnTo>
                      <a:pt x="42" y="98"/>
                    </a:lnTo>
                    <a:lnTo>
                      <a:pt x="42" y="98"/>
                    </a:lnTo>
                    <a:lnTo>
                      <a:pt x="36" y="94"/>
                    </a:lnTo>
                    <a:lnTo>
                      <a:pt x="36" y="94"/>
                    </a:lnTo>
                    <a:lnTo>
                      <a:pt x="40" y="88"/>
                    </a:lnTo>
                    <a:lnTo>
                      <a:pt x="40" y="88"/>
                    </a:lnTo>
                    <a:lnTo>
                      <a:pt x="38" y="82"/>
                    </a:lnTo>
                    <a:lnTo>
                      <a:pt x="38" y="80"/>
                    </a:lnTo>
                    <a:lnTo>
                      <a:pt x="40" y="80"/>
                    </a:lnTo>
                    <a:lnTo>
                      <a:pt x="40" y="80"/>
                    </a:lnTo>
                    <a:lnTo>
                      <a:pt x="40" y="76"/>
                    </a:lnTo>
                    <a:lnTo>
                      <a:pt x="40" y="76"/>
                    </a:lnTo>
                    <a:lnTo>
                      <a:pt x="44" y="74"/>
                    </a:lnTo>
                    <a:lnTo>
                      <a:pt x="48" y="72"/>
                    </a:lnTo>
                    <a:lnTo>
                      <a:pt x="60" y="74"/>
                    </a:lnTo>
                    <a:lnTo>
                      <a:pt x="60" y="74"/>
                    </a:lnTo>
                    <a:lnTo>
                      <a:pt x="62" y="68"/>
                    </a:lnTo>
                    <a:lnTo>
                      <a:pt x="64" y="68"/>
                    </a:lnTo>
                    <a:lnTo>
                      <a:pt x="64" y="68"/>
                    </a:lnTo>
                    <a:lnTo>
                      <a:pt x="64" y="70"/>
                    </a:lnTo>
                    <a:lnTo>
                      <a:pt x="64" y="72"/>
                    </a:lnTo>
                    <a:lnTo>
                      <a:pt x="64" y="72"/>
                    </a:lnTo>
                    <a:lnTo>
                      <a:pt x="68" y="72"/>
                    </a:lnTo>
                    <a:lnTo>
                      <a:pt x="68" y="72"/>
                    </a:lnTo>
                    <a:lnTo>
                      <a:pt x="68" y="76"/>
                    </a:lnTo>
                    <a:lnTo>
                      <a:pt x="66" y="78"/>
                    </a:lnTo>
                    <a:lnTo>
                      <a:pt x="66" y="78"/>
                    </a:lnTo>
                    <a:lnTo>
                      <a:pt x="70" y="78"/>
                    </a:lnTo>
                    <a:lnTo>
                      <a:pt x="70" y="78"/>
                    </a:lnTo>
                    <a:close/>
                    <a:moveTo>
                      <a:pt x="28" y="46"/>
                    </a:moveTo>
                    <a:lnTo>
                      <a:pt x="28" y="46"/>
                    </a:lnTo>
                    <a:lnTo>
                      <a:pt x="26" y="50"/>
                    </a:lnTo>
                    <a:lnTo>
                      <a:pt x="26" y="50"/>
                    </a:lnTo>
                    <a:lnTo>
                      <a:pt x="28" y="48"/>
                    </a:lnTo>
                    <a:lnTo>
                      <a:pt x="28" y="48"/>
                    </a:lnTo>
                    <a:lnTo>
                      <a:pt x="28" y="46"/>
                    </a:lnTo>
                    <a:lnTo>
                      <a:pt x="28" y="4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6" name="Freeform 26"/>
              <p:cNvSpPr>
                <a:spLocks noChangeAspect="1"/>
              </p:cNvSpPr>
              <p:nvPr/>
            </p:nvSpPr>
            <p:spPr bwMode="gray">
              <a:xfrm>
                <a:off x="4454019" y="3378120"/>
                <a:ext cx="93506" cy="194106"/>
              </a:xfrm>
              <a:custGeom>
                <a:avLst/>
                <a:gdLst/>
                <a:ahLst/>
                <a:cxnLst>
                  <a:cxn ang="0">
                    <a:pos x="55" y="70"/>
                  </a:cxn>
                  <a:cxn ang="0">
                    <a:pos x="49" y="68"/>
                  </a:cxn>
                  <a:cxn ang="0">
                    <a:pos x="42" y="64"/>
                  </a:cxn>
                  <a:cxn ang="0">
                    <a:pos x="42" y="60"/>
                  </a:cxn>
                  <a:cxn ang="0">
                    <a:pos x="42" y="56"/>
                  </a:cxn>
                  <a:cxn ang="0">
                    <a:pos x="49" y="48"/>
                  </a:cxn>
                  <a:cxn ang="0">
                    <a:pos x="49" y="44"/>
                  </a:cxn>
                  <a:cxn ang="0">
                    <a:pos x="51" y="44"/>
                  </a:cxn>
                  <a:cxn ang="0">
                    <a:pos x="49" y="36"/>
                  </a:cxn>
                  <a:cxn ang="0">
                    <a:pos x="51" y="30"/>
                  </a:cxn>
                  <a:cxn ang="0">
                    <a:pos x="46" y="30"/>
                  </a:cxn>
                  <a:cxn ang="0">
                    <a:pos x="46" y="20"/>
                  </a:cxn>
                  <a:cxn ang="0">
                    <a:pos x="46" y="20"/>
                  </a:cxn>
                  <a:cxn ang="0">
                    <a:pos x="53" y="14"/>
                  </a:cxn>
                  <a:cxn ang="0">
                    <a:pos x="55" y="6"/>
                  </a:cxn>
                  <a:cxn ang="0">
                    <a:pos x="49" y="8"/>
                  </a:cxn>
                  <a:cxn ang="0">
                    <a:pos x="44" y="6"/>
                  </a:cxn>
                  <a:cxn ang="0">
                    <a:pos x="42" y="2"/>
                  </a:cxn>
                  <a:cxn ang="0">
                    <a:pos x="40" y="0"/>
                  </a:cxn>
                  <a:cxn ang="0">
                    <a:pos x="38" y="2"/>
                  </a:cxn>
                  <a:cxn ang="0">
                    <a:pos x="38" y="0"/>
                  </a:cxn>
                  <a:cxn ang="0">
                    <a:pos x="28" y="4"/>
                  </a:cxn>
                  <a:cxn ang="0">
                    <a:pos x="18" y="4"/>
                  </a:cxn>
                  <a:cxn ang="0">
                    <a:pos x="8" y="4"/>
                  </a:cxn>
                  <a:cxn ang="0">
                    <a:pos x="8" y="14"/>
                  </a:cxn>
                  <a:cxn ang="0">
                    <a:pos x="10" y="16"/>
                  </a:cxn>
                  <a:cxn ang="0">
                    <a:pos x="12" y="24"/>
                  </a:cxn>
                  <a:cxn ang="0">
                    <a:pos x="12" y="30"/>
                  </a:cxn>
                  <a:cxn ang="0">
                    <a:pos x="14" y="38"/>
                  </a:cxn>
                  <a:cxn ang="0">
                    <a:pos x="12" y="42"/>
                  </a:cxn>
                  <a:cxn ang="0">
                    <a:pos x="10" y="44"/>
                  </a:cxn>
                  <a:cxn ang="0">
                    <a:pos x="8" y="50"/>
                  </a:cxn>
                  <a:cxn ang="0">
                    <a:pos x="4" y="54"/>
                  </a:cxn>
                  <a:cxn ang="0">
                    <a:pos x="0" y="58"/>
                  </a:cxn>
                  <a:cxn ang="0">
                    <a:pos x="2" y="72"/>
                  </a:cxn>
                  <a:cxn ang="0">
                    <a:pos x="4" y="72"/>
                  </a:cxn>
                  <a:cxn ang="0">
                    <a:pos x="8" y="74"/>
                  </a:cxn>
                  <a:cxn ang="0">
                    <a:pos x="10" y="86"/>
                  </a:cxn>
                  <a:cxn ang="0">
                    <a:pos x="22" y="118"/>
                  </a:cxn>
                  <a:cxn ang="0">
                    <a:pos x="26" y="118"/>
                  </a:cxn>
                  <a:cxn ang="0">
                    <a:pos x="30" y="116"/>
                  </a:cxn>
                  <a:cxn ang="0">
                    <a:pos x="30" y="112"/>
                  </a:cxn>
                  <a:cxn ang="0">
                    <a:pos x="34" y="108"/>
                  </a:cxn>
                  <a:cxn ang="0">
                    <a:pos x="34" y="106"/>
                  </a:cxn>
                  <a:cxn ang="0">
                    <a:pos x="34" y="94"/>
                  </a:cxn>
                  <a:cxn ang="0">
                    <a:pos x="34" y="92"/>
                  </a:cxn>
                  <a:cxn ang="0">
                    <a:pos x="38" y="92"/>
                  </a:cxn>
                  <a:cxn ang="0">
                    <a:pos x="44" y="90"/>
                  </a:cxn>
                  <a:cxn ang="0">
                    <a:pos x="49" y="86"/>
                  </a:cxn>
                  <a:cxn ang="0">
                    <a:pos x="51" y="80"/>
                  </a:cxn>
                  <a:cxn ang="0">
                    <a:pos x="55" y="70"/>
                  </a:cxn>
                </a:cxnLst>
                <a:rect l="0" t="0" r="r" b="b"/>
                <a:pathLst>
                  <a:path w="55" h="118">
                    <a:moveTo>
                      <a:pt x="55" y="70"/>
                    </a:moveTo>
                    <a:lnTo>
                      <a:pt x="55" y="70"/>
                    </a:lnTo>
                    <a:lnTo>
                      <a:pt x="49" y="68"/>
                    </a:lnTo>
                    <a:lnTo>
                      <a:pt x="49" y="68"/>
                    </a:lnTo>
                    <a:lnTo>
                      <a:pt x="44" y="66"/>
                    </a:lnTo>
                    <a:lnTo>
                      <a:pt x="42" y="64"/>
                    </a:lnTo>
                    <a:lnTo>
                      <a:pt x="42" y="64"/>
                    </a:lnTo>
                    <a:lnTo>
                      <a:pt x="42" y="60"/>
                    </a:lnTo>
                    <a:lnTo>
                      <a:pt x="42" y="56"/>
                    </a:lnTo>
                    <a:lnTo>
                      <a:pt x="42" y="56"/>
                    </a:lnTo>
                    <a:lnTo>
                      <a:pt x="49" y="48"/>
                    </a:lnTo>
                    <a:lnTo>
                      <a:pt x="49" y="48"/>
                    </a:lnTo>
                    <a:lnTo>
                      <a:pt x="49" y="44"/>
                    </a:lnTo>
                    <a:lnTo>
                      <a:pt x="49" y="44"/>
                    </a:lnTo>
                    <a:lnTo>
                      <a:pt x="51" y="44"/>
                    </a:lnTo>
                    <a:lnTo>
                      <a:pt x="51" y="44"/>
                    </a:lnTo>
                    <a:lnTo>
                      <a:pt x="51" y="40"/>
                    </a:lnTo>
                    <a:lnTo>
                      <a:pt x="49" y="36"/>
                    </a:lnTo>
                    <a:lnTo>
                      <a:pt x="49" y="36"/>
                    </a:lnTo>
                    <a:lnTo>
                      <a:pt x="51" y="30"/>
                    </a:lnTo>
                    <a:lnTo>
                      <a:pt x="51" y="30"/>
                    </a:lnTo>
                    <a:lnTo>
                      <a:pt x="46" y="30"/>
                    </a:lnTo>
                    <a:lnTo>
                      <a:pt x="46" y="30"/>
                    </a:lnTo>
                    <a:lnTo>
                      <a:pt x="46" y="20"/>
                    </a:lnTo>
                    <a:lnTo>
                      <a:pt x="46" y="20"/>
                    </a:lnTo>
                    <a:lnTo>
                      <a:pt x="46" y="20"/>
                    </a:lnTo>
                    <a:lnTo>
                      <a:pt x="46" y="20"/>
                    </a:lnTo>
                    <a:lnTo>
                      <a:pt x="53" y="14"/>
                    </a:lnTo>
                    <a:lnTo>
                      <a:pt x="55" y="8"/>
                    </a:lnTo>
                    <a:lnTo>
                      <a:pt x="55" y="6"/>
                    </a:lnTo>
                    <a:lnTo>
                      <a:pt x="53" y="6"/>
                    </a:lnTo>
                    <a:lnTo>
                      <a:pt x="49" y="8"/>
                    </a:lnTo>
                    <a:lnTo>
                      <a:pt x="49" y="8"/>
                    </a:lnTo>
                    <a:lnTo>
                      <a:pt x="44" y="6"/>
                    </a:lnTo>
                    <a:lnTo>
                      <a:pt x="44" y="6"/>
                    </a:lnTo>
                    <a:lnTo>
                      <a:pt x="42" y="2"/>
                    </a:lnTo>
                    <a:lnTo>
                      <a:pt x="40" y="0"/>
                    </a:lnTo>
                    <a:lnTo>
                      <a:pt x="40" y="0"/>
                    </a:lnTo>
                    <a:lnTo>
                      <a:pt x="40" y="2"/>
                    </a:lnTo>
                    <a:lnTo>
                      <a:pt x="38" y="2"/>
                    </a:lnTo>
                    <a:lnTo>
                      <a:pt x="38" y="0"/>
                    </a:lnTo>
                    <a:lnTo>
                      <a:pt x="38" y="0"/>
                    </a:lnTo>
                    <a:lnTo>
                      <a:pt x="32" y="0"/>
                    </a:lnTo>
                    <a:lnTo>
                      <a:pt x="28" y="4"/>
                    </a:lnTo>
                    <a:lnTo>
                      <a:pt x="28" y="4"/>
                    </a:lnTo>
                    <a:lnTo>
                      <a:pt x="18" y="4"/>
                    </a:lnTo>
                    <a:lnTo>
                      <a:pt x="8" y="4"/>
                    </a:lnTo>
                    <a:lnTo>
                      <a:pt x="8" y="4"/>
                    </a:lnTo>
                    <a:lnTo>
                      <a:pt x="8" y="10"/>
                    </a:lnTo>
                    <a:lnTo>
                      <a:pt x="8" y="14"/>
                    </a:lnTo>
                    <a:lnTo>
                      <a:pt x="10" y="16"/>
                    </a:lnTo>
                    <a:lnTo>
                      <a:pt x="10" y="16"/>
                    </a:lnTo>
                    <a:lnTo>
                      <a:pt x="12" y="20"/>
                    </a:lnTo>
                    <a:lnTo>
                      <a:pt x="12" y="24"/>
                    </a:lnTo>
                    <a:lnTo>
                      <a:pt x="12" y="24"/>
                    </a:lnTo>
                    <a:lnTo>
                      <a:pt x="12" y="30"/>
                    </a:lnTo>
                    <a:lnTo>
                      <a:pt x="14" y="38"/>
                    </a:lnTo>
                    <a:lnTo>
                      <a:pt x="14" y="38"/>
                    </a:lnTo>
                    <a:lnTo>
                      <a:pt x="14" y="40"/>
                    </a:lnTo>
                    <a:lnTo>
                      <a:pt x="12" y="42"/>
                    </a:lnTo>
                    <a:lnTo>
                      <a:pt x="12" y="44"/>
                    </a:lnTo>
                    <a:lnTo>
                      <a:pt x="10" y="44"/>
                    </a:lnTo>
                    <a:lnTo>
                      <a:pt x="10" y="44"/>
                    </a:lnTo>
                    <a:lnTo>
                      <a:pt x="8" y="50"/>
                    </a:lnTo>
                    <a:lnTo>
                      <a:pt x="4" y="54"/>
                    </a:lnTo>
                    <a:lnTo>
                      <a:pt x="4" y="54"/>
                    </a:lnTo>
                    <a:lnTo>
                      <a:pt x="0" y="54"/>
                    </a:lnTo>
                    <a:lnTo>
                      <a:pt x="0" y="58"/>
                    </a:lnTo>
                    <a:lnTo>
                      <a:pt x="0" y="58"/>
                    </a:lnTo>
                    <a:lnTo>
                      <a:pt x="2" y="72"/>
                    </a:lnTo>
                    <a:lnTo>
                      <a:pt x="2" y="72"/>
                    </a:lnTo>
                    <a:lnTo>
                      <a:pt x="4" y="72"/>
                    </a:lnTo>
                    <a:lnTo>
                      <a:pt x="6" y="72"/>
                    </a:lnTo>
                    <a:lnTo>
                      <a:pt x="8" y="74"/>
                    </a:lnTo>
                    <a:lnTo>
                      <a:pt x="8" y="74"/>
                    </a:lnTo>
                    <a:lnTo>
                      <a:pt x="10" y="86"/>
                    </a:lnTo>
                    <a:lnTo>
                      <a:pt x="18" y="88"/>
                    </a:lnTo>
                    <a:lnTo>
                      <a:pt x="22" y="118"/>
                    </a:lnTo>
                    <a:lnTo>
                      <a:pt x="26" y="118"/>
                    </a:lnTo>
                    <a:lnTo>
                      <a:pt x="26" y="118"/>
                    </a:lnTo>
                    <a:lnTo>
                      <a:pt x="28" y="116"/>
                    </a:lnTo>
                    <a:lnTo>
                      <a:pt x="30" y="116"/>
                    </a:lnTo>
                    <a:lnTo>
                      <a:pt x="30" y="112"/>
                    </a:lnTo>
                    <a:lnTo>
                      <a:pt x="30" y="112"/>
                    </a:lnTo>
                    <a:lnTo>
                      <a:pt x="32" y="110"/>
                    </a:lnTo>
                    <a:lnTo>
                      <a:pt x="34" y="108"/>
                    </a:lnTo>
                    <a:lnTo>
                      <a:pt x="34" y="106"/>
                    </a:lnTo>
                    <a:lnTo>
                      <a:pt x="34" y="106"/>
                    </a:lnTo>
                    <a:lnTo>
                      <a:pt x="32" y="98"/>
                    </a:lnTo>
                    <a:lnTo>
                      <a:pt x="34" y="94"/>
                    </a:lnTo>
                    <a:lnTo>
                      <a:pt x="34" y="94"/>
                    </a:lnTo>
                    <a:lnTo>
                      <a:pt x="34" y="92"/>
                    </a:lnTo>
                    <a:lnTo>
                      <a:pt x="38" y="92"/>
                    </a:lnTo>
                    <a:lnTo>
                      <a:pt x="38" y="92"/>
                    </a:lnTo>
                    <a:lnTo>
                      <a:pt x="42" y="90"/>
                    </a:lnTo>
                    <a:lnTo>
                      <a:pt x="44" y="90"/>
                    </a:lnTo>
                    <a:lnTo>
                      <a:pt x="49" y="86"/>
                    </a:lnTo>
                    <a:lnTo>
                      <a:pt x="49" y="86"/>
                    </a:lnTo>
                    <a:lnTo>
                      <a:pt x="51" y="82"/>
                    </a:lnTo>
                    <a:lnTo>
                      <a:pt x="51" y="80"/>
                    </a:lnTo>
                    <a:lnTo>
                      <a:pt x="51" y="78"/>
                    </a:lnTo>
                    <a:lnTo>
                      <a:pt x="55" y="7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7" name="Freeform 27"/>
              <p:cNvSpPr>
                <a:spLocks noChangeAspect="1"/>
              </p:cNvSpPr>
              <p:nvPr/>
            </p:nvSpPr>
            <p:spPr bwMode="gray">
              <a:xfrm>
                <a:off x="4284007" y="4101907"/>
                <a:ext cx="44203" cy="167787"/>
              </a:xfrm>
              <a:custGeom>
                <a:avLst/>
                <a:gdLst/>
                <a:ahLst/>
                <a:cxnLst>
                  <a:cxn ang="0">
                    <a:pos x="16" y="100"/>
                  </a:cxn>
                  <a:cxn ang="0">
                    <a:pos x="20" y="94"/>
                  </a:cxn>
                  <a:cxn ang="0">
                    <a:pos x="20" y="100"/>
                  </a:cxn>
                  <a:cxn ang="0">
                    <a:pos x="18" y="102"/>
                  </a:cxn>
                  <a:cxn ang="0">
                    <a:pos x="20" y="102"/>
                  </a:cxn>
                  <a:cxn ang="0">
                    <a:pos x="22" y="98"/>
                  </a:cxn>
                  <a:cxn ang="0">
                    <a:pos x="24" y="98"/>
                  </a:cxn>
                  <a:cxn ang="0">
                    <a:pos x="26" y="98"/>
                  </a:cxn>
                  <a:cxn ang="0">
                    <a:pos x="24" y="90"/>
                  </a:cxn>
                  <a:cxn ang="0">
                    <a:pos x="24" y="86"/>
                  </a:cxn>
                  <a:cxn ang="0">
                    <a:pos x="24" y="84"/>
                  </a:cxn>
                  <a:cxn ang="0">
                    <a:pos x="22" y="78"/>
                  </a:cxn>
                  <a:cxn ang="0">
                    <a:pos x="24" y="68"/>
                  </a:cxn>
                  <a:cxn ang="0">
                    <a:pos x="24" y="64"/>
                  </a:cxn>
                  <a:cxn ang="0">
                    <a:pos x="24" y="58"/>
                  </a:cxn>
                  <a:cxn ang="0">
                    <a:pos x="24" y="46"/>
                  </a:cxn>
                  <a:cxn ang="0">
                    <a:pos x="24" y="38"/>
                  </a:cxn>
                  <a:cxn ang="0">
                    <a:pos x="24" y="36"/>
                  </a:cxn>
                  <a:cxn ang="0">
                    <a:pos x="22" y="28"/>
                  </a:cxn>
                  <a:cxn ang="0">
                    <a:pos x="22" y="22"/>
                  </a:cxn>
                  <a:cxn ang="0">
                    <a:pos x="12" y="16"/>
                  </a:cxn>
                  <a:cxn ang="0">
                    <a:pos x="12" y="2"/>
                  </a:cxn>
                  <a:cxn ang="0">
                    <a:pos x="6" y="2"/>
                  </a:cxn>
                  <a:cxn ang="0">
                    <a:pos x="0" y="0"/>
                  </a:cxn>
                  <a:cxn ang="0">
                    <a:pos x="0" y="12"/>
                  </a:cxn>
                  <a:cxn ang="0">
                    <a:pos x="0" y="14"/>
                  </a:cxn>
                  <a:cxn ang="0">
                    <a:pos x="4" y="22"/>
                  </a:cxn>
                  <a:cxn ang="0">
                    <a:pos x="6" y="28"/>
                  </a:cxn>
                  <a:cxn ang="0">
                    <a:pos x="4" y="34"/>
                  </a:cxn>
                  <a:cxn ang="0">
                    <a:pos x="4" y="38"/>
                  </a:cxn>
                  <a:cxn ang="0">
                    <a:pos x="6" y="40"/>
                  </a:cxn>
                  <a:cxn ang="0">
                    <a:pos x="4" y="46"/>
                  </a:cxn>
                  <a:cxn ang="0">
                    <a:pos x="4" y="52"/>
                  </a:cxn>
                  <a:cxn ang="0">
                    <a:pos x="8" y="56"/>
                  </a:cxn>
                  <a:cxn ang="0">
                    <a:pos x="10" y="60"/>
                  </a:cxn>
                  <a:cxn ang="0">
                    <a:pos x="8" y="74"/>
                  </a:cxn>
                  <a:cxn ang="0">
                    <a:pos x="8" y="80"/>
                  </a:cxn>
                  <a:cxn ang="0">
                    <a:pos x="8" y="82"/>
                  </a:cxn>
                  <a:cxn ang="0">
                    <a:pos x="8" y="84"/>
                  </a:cxn>
                  <a:cxn ang="0">
                    <a:pos x="8" y="84"/>
                  </a:cxn>
                  <a:cxn ang="0">
                    <a:pos x="16" y="100"/>
                  </a:cxn>
                </a:cxnLst>
                <a:rect l="0" t="0" r="r" b="b"/>
                <a:pathLst>
                  <a:path w="26" h="102">
                    <a:moveTo>
                      <a:pt x="16" y="100"/>
                    </a:moveTo>
                    <a:lnTo>
                      <a:pt x="16" y="100"/>
                    </a:lnTo>
                    <a:lnTo>
                      <a:pt x="20" y="94"/>
                    </a:lnTo>
                    <a:lnTo>
                      <a:pt x="20" y="94"/>
                    </a:lnTo>
                    <a:lnTo>
                      <a:pt x="20" y="98"/>
                    </a:lnTo>
                    <a:lnTo>
                      <a:pt x="20" y="100"/>
                    </a:lnTo>
                    <a:lnTo>
                      <a:pt x="20" y="100"/>
                    </a:lnTo>
                    <a:lnTo>
                      <a:pt x="18" y="102"/>
                    </a:lnTo>
                    <a:lnTo>
                      <a:pt x="18" y="102"/>
                    </a:lnTo>
                    <a:lnTo>
                      <a:pt x="20" y="102"/>
                    </a:lnTo>
                    <a:lnTo>
                      <a:pt x="20" y="102"/>
                    </a:lnTo>
                    <a:lnTo>
                      <a:pt x="22" y="98"/>
                    </a:lnTo>
                    <a:lnTo>
                      <a:pt x="22" y="98"/>
                    </a:lnTo>
                    <a:lnTo>
                      <a:pt x="24" y="98"/>
                    </a:lnTo>
                    <a:lnTo>
                      <a:pt x="26" y="98"/>
                    </a:lnTo>
                    <a:lnTo>
                      <a:pt x="26" y="98"/>
                    </a:lnTo>
                    <a:lnTo>
                      <a:pt x="26" y="96"/>
                    </a:lnTo>
                    <a:lnTo>
                      <a:pt x="24" y="90"/>
                    </a:lnTo>
                    <a:lnTo>
                      <a:pt x="24" y="90"/>
                    </a:lnTo>
                    <a:lnTo>
                      <a:pt x="24" y="86"/>
                    </a:lnTo>
                    <a:lnTo>
                      <a:pt x="24" y="86"/>
                    </a:lnTo>
                    <a:lnTo>
                      <a:pt x="24" y="84"/>
                    </a:lnTo>
                    <a:lnTo>
                      <a:pt x="22" y="78"/>
                    </a:lnTo>
                    <a:lnTo>
                      <a:pt x="22" y="78"/>
                    </a:lnTo>
                    <a:lnTo>
                      <a:pt x="22" y="74"/>
                    </a:lnTo>
                    <a:lnTo>
                      <a:pt x="24" y="68"/>
                    </a:lnTo>
                    <a:lnTo>
                      <a:pt x="24" y="68"/>
                    </a:lnTo>
                    <a:lnTo>
                      <a:pt x="24" y="64"/>
                    </a:lnTo>
                    <a:lnTo>
                      <a:pt x="24" y="58"/>
                    </a:lnTo>
                    <a:lnTo>
                      <a:pt x="24" y="58"/>
                    </a:lnTo>
                    <a:lnTo>
                      <a:pt x="22" y="52"/>
                    </a:lnTo>
                    <a:lnTo>
                      <a:pt x="24" y="46"/>
                    </a:lnTo>
                    <a:lnTo>
                      <a:pt x="24" y="46"/>
                    </a:lnTo>
                    <a:lnTo>
                      <a:pt x="24" y="38"/>
                    </a:lnTo>
                    <a:lnTo>
                      <a:pt x="24" y="36"/>
                    </a:lnTo>
                    <a:lnTo>
                      <a:pt x="24" y="36"/>
                    </a:lnTo>
                    <a:lnTo>
                      <a:pt x="22" y="34"/>
                    </a:lnTo>
                    <a:lnTo>
                      <a:pt x="22" y="28"/>
                    </a:lnTo>
                    <a:lnTo>
                      <a:pt x="22" y="28"/>
                    </a:lnTo>
                    <a:lnTo>
                      <a:pt x="22" y="22"/>
                    </a:lnTo>
                    <a:lnTo>
                      <a:pt x="22" y="20"/>
                    </a:lnTo>
                    <a:lnTo>
                      <a:pt x="12" y="16"/>
                    </a:lnTo>
                    <a:lnTo>
                      <a:pt x="12" y="2"/>
                    </a:lnTo>
                    <a:lnTo>
                      <a:pt x="12" y="2"/>
                    </a:lnTo>
                    <a:lnTo>
                      <a:pt x="6" y="2"/>
                    </a:lnTo>
                    <a:lnTo>
                      <a:pt x="6" y="2"/>
                    </a:lnTo>
                    <a:lnTo>
                      <a:pt x="0" y="0"/>
                    </a:lnTo>
                    <a:lnTo>
                      <a:pt x="0" y="0"/>
                    </a:lnTo>
                    <a:lnTo>
                      <a:pt x="0" y="6"/>
                    </a:lnTo>
                    <a:lnTo>
                      <a:pt x="0" y="12"/>
                    </a:lnTo>
                    <a:lnTo>
                      <a:pt x="0" y="14"/>
                    </a:lnTo>
                    <a:lnTo>
                      <a:pt x="0" y="14"/>
                    </a:lnTo>
                    <a:lnTo>
                      <a:pt x="4" y="16"/>
                    </a:lnTo>
                    <a:lnTo>
                      <a:pt x="4" y="22"/>
                    </a:lnTo>
                    <a:lnTo>
                      <a:pt x="4" y="22"/>
                    </a:lnTo>
                    <a:lnTo>
                      <a:pt x="6" y="28"/>
                    </a:lnTo>
                    <a:lnTo>
                      <a:pt x="4" y="34"/>
                    </a:lnTo>
                    <a:lnTo>
                      <a:pt x="4" y="34"/>
                    </a:lnTo>
                    <a:lnTo>
                      <a:pt x="4" y="36"/>
                    </a:lnTo>
                    <a:lnTo>
                      <a:pt x="4" y="38"/>
                    </a:lnTo>
                    <a:lnTo>
                      <a:pt x="6" y="38"/>
                    </a:lnTo>
                    <a:lnTo>
                      <a:pt x="6" y="40"/>
                    </a:lnTo>
                    <a:lnTo>
                      <a:pt x="6" y="40"/>
                    </a:lnTo>
                    <a:lnTo>
                      <a:pt x="4" y="46"/>
                    </a:lnTo>
                    <a:lnTo>
                      <a:pt x="4" y="48"/>
                    </a:lnTo>
                    <a:lnTo>
                      <a:pt x="4" y="52"/>
                    </a:lnTo>
                    <a:lnTo>
                      <a:pt x="4" y="52"/>
                    </a:lnTo>
                    <a:lnTo>
                      <a:pt x="8" y="56"/>
                    </a:lnTo>
                    <a:lnTo>
                      <a:pt x="10" y="60"/>
                    </a:lnTo>
                    <a:lnTo>
                      <a:pt x="10" y="60"/>
                    </a:lnTo>
                    <a:lnTo>
                      <a:pt x="8" y="74"/>
                    </a:lnTo>
                    <a:lnTo>
                      <a:pt x="8" y="74"/>
                    </a:lnTo>
                    <a:lnTo>
                      <a:pt x="6" y="78"/>
                    </a:lnTo>
                    <a:lnTo>
                      <a:pt x="8" y="80"/>
                    </a:lnTo>
                    <a:lnTo>
                      <a:pt x="8" y="80"/>
                    </a:lnTo>
                    <a:lnTo>
                      <a:pt x="8" y="82"/>
                    </a:lnTo>
                    <a:lnTo>
                      <a:pt x="8" y="82"/>
                    </a:lnTo>
                    <a:lnTo>
                      <a:pt x="8" y="84"/>
                    </a:lnTo>
                    <a:lnTo>
                      <a:pt x="8" y="84"/>
                    </a:lnTo>
                    <a:lnTo>
                      <a:pt x="8" y="84"/>
                    </a:lnTo>
                    <a:lnTo>
                      <a:pt x="16" y="100"/>
                    </a:lnTo>
                    <a:lnTo>
                      <a:pt x="16" y="10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8" name="Freeform 29"/>
              <p:cNvSpPr>
                <a:spLocks noChangeAspect="1"/>
              </p:cNvSpPr>
              <p:nvPr/>
            </p:nvSpPr>
            <p:spPr bwMode="gray">
              <a:xfrm>
                <a:off x="4965753" y="4476959"/>
                <a:ext cx="244817" cy="282935"/>
              </a:xfrm>
              <a:custGeom>
                <a:avLst/>
                <a:gdLst/>
                <a:ahLst/>
                <a:cxnLst>
                  <a:cxn ang="0">
                    <a:pos x="126" y="54"/>
                  </a:cxn>
                  <a:cxn ang="0">
                    <a:pos x="126" y="58"/>
                  </a:cxn>
                  <a:cxn ang="0">
                    <a:pos x="124" y="68"/>
                  </a:cxn>
                  <a:cxn ang="0">
                    <a:pos x="122" y="74"/>
                  </a:cxn>
                  <a:cxn ang="0">
                    <a:pos x="128" y="86"/>
                  </a:cxn>
                  <a:cxn ang="0">
                    <a:pos x="132" y="96"/>
                  </a:cxn>
                  <a:cxn ang="0">
                    <a:pos x="130" y="122"/>
                  </a:cxn>
                  <a:cxn ang="0">
                    <a:pos x="134" y="136"/>
                  </a:cxn>
                  <a:cxn ang="0">
                    <a:pos x="142" y="146"/>
                  </a:cxn>
                  <a:cxn ang="0">
                    <a:pos x="144" y="150"/>
                  </a:cxn>
                  <a:cxn ang="0">
                    <a:pos x="120" y="160"/>
                  </a:cxn>
                  <a:cxn ang="0">
                    <a:pos x="114" y="164"/>
                  </a:cxn>
                  <a:cxn ang="0">
                    <a:pos x="106" y="164"/>
                  </a:cxn>
                  <a:cxn ang="0">
                    <a:pos x="92" y="170"/>
                  </a:cxn>
                  <a:cxn ang="0">
                    <a:pos x="80" y="172"/>
                  </a:cxn>
                  <a:cxn ang="0">
                    <a:pos x="76" y="166"/>
                  </a:cxn>
                  <a:cxn ang="0">
                    <a:pos x="66" y="170"/>
                  </a:cxn>
                  <a:cxn ang="0">
                    <a:pos x="66" y="166"/>
                  </a:cxn>
                  <a:cxn ang="0">
                    <a:pos x="60" y="134"/>
                  </a:cxn>
                  <a:cxn ang="0">
                    <a:pos x="56" y="130"/>
                  </a:cxn>
                  <a:cxn ang="0">
                    <a:pos x="36" y="126"/>
                  </a:cxn>
                  <a:cxn ang="0">
                    <a:pos x="30" y="122"/>
                  </a:cxn>
                  <a:cxn ang="0">
                    <a:pos x="28" y="114"/>
                  </a:cxn>
                  <a:cxn ang="0">
                    <a:pos x="22" y="110"/>
                  </a:cxn>
                  <a:cxn ang="0">
                    <a:pos x="20" y="104"/>
                  </a:cxn>
                  <a:cxn ang="0">
                    <a:pos x="14" y="96"/>
                  </a:cxn>
                  <a:cxn ang="0">
                    <a:pos x="16" y="84"/>
                  </a:cxn>
                  <a:cxn ang="0">
                    <a:pos x="0" y="72"/>
                  </a:cxn>
                  <a:cxn ang="0">
                    <a:pos x="0" y="60"/>
                  </a:cxn>
                  <a:cxn ang="0">
                    <a:pos x="2" y="58"/>
                  </a:cxn>
                  <a:cxn ang="0">
                    <a:pos x="0" y="54"/>
                  </a:cxn>
                  <a:cxn ang="0">
                    <a:pos x="6" y="52"/>
                  </a:cxn>
                  <a:cxn ang="0">
                    <a:pos x="20" y="36"/>
                  </a:cxn>
                  <a:cxn ang="0">
                    <a:pos x="22" y="30"/>
                  </a:cxn>
                  <a:cxn ang="0">
                    <a:pos x="16" y="24"/>
                  </a:cxn>
                  <a:cxn ang="0">
                    <a:pos x="18" y="16"/>
                  </a:cxn>
                  <a:cxn ang="0">
                    <a:pos x="32" y="0"/>
                  </a:cxn>
                  <a:cxn ang="0">
                    <a:pos x="30" y="16"/>
                  </a:cxn>
                  <a:cxn ang="0">
                    <a:pos x="36" y="26"/>
                  </a:cxn>
                  <a:cxn ang="0">
                    <a:pos x="38" y="20"/>
                  </a:cxn>
                  <a:cxn ang="0">
                    <a:pos x="44" y="18"/>
                  </a:cxn>
                  <a:cxn ang="0">
                    <a:pos x="48" y="16"/>
                  </a:cxn>
                  <a:cxn ang="0">
                    <a:pos x="54" y="26"/>
                  </a:cxn>
                  <a:cxn ang="0">
                    <a:pos x="58" y="18"/>
                  </a:cxn>
                  <a:cxn ang="0">
                    <a:pos x="66" y="14"/>
                  </a:cxn>
                  <a:cxn ang="0">
                    <a:pos x="62" y="12"/>
                  </a:cxn>
                  <a:cxn ang="0">
                    <a:pos x="62" y="10"/>
                  </a:cxn>
                  <a:cxn ang="0">
                    <a:pos x="58" y="8"/>
                  </a:cxn>
                  <a:cxn ang="0">
                    <a:pos x="104" y="20"/>
                  </a:cxn>
                  <a:cxn ang="0">
                    <a:pos x="108" y="32"/>
                  </a:cxn>
                  <a:cxn ang="0">
                    <a:pos x="112" y="36"/>
                  </a:cxn>
                </a:cxnLst>
                <a:rect l="0" t="0" r="r" b="b"/>
                <a:pathLst>
                  <a:path w="144" h="172">
                    <a:moveTo>
                      <a:pt x="130" y="46"/>
                    </a:moveTo>
                    <a:lnTo>
                      <a:pt x="130" y="46"/>
                    </a:lnTo>
                    <a:lnTo>
                      <a:pt x="128" y="54"/>
                    </a:lnTo>
                    <a:lnTo>
                      <a:pt x="126" y="54"/>
                    </a:lnTo>
                    <a:lnTo>
                      <a:pt x="126" y="54"/>
                    </a:lnTo>
                    <a:lnTo>
                      <a:pt x="126" y="56"/>
                    </a:lnTo>
                    <a:lnTo>
                      <a:pt x="126" y="58"/>
                    </a:lnTo>
                    <a:lnTo>
                      <a:pt x="126" y="58"/>
                    </a:lnTo>
                    <a:lnTo>
                      <a:pt x="126" y="60"/>
                    </a:lnTo>
                    <a:lnTo>
                      <a:pt x="124" y="62"/>
                    </a:lnTo>
                    <a:lnTo>
                      <a:pt x="124" y="68"/>
                    </a:lnTo>
                    <a:lnTo>
                      <a:pt x="124" y="68"/>
                    </a:lnTo>
                    <a:lnTo>
                      <a:pt x="120" y="70"/>
                    </a:lnTo>
                    <a:lnTo>
                      <a:pt x="120" y="72"/>
                    </a:lnTo>
                    <a:lnTo>
                      <a:pt x="120" y="72"/>
                    </a:lnTo>
                    <a:lnTo>
                      <a:pt x="122" y="74"/>
                    </a:lnTo>
                    <a:lnTo>
                      <a:pt x="122" y="76"/>
                    </a:lnTo>
                    <a:lnTo>
                      <a:pt x="122" y="80"/>
                    </a:lnTo>
                    <a:lnTo>
                      <a:pt x="122" y="80"/>
                    </a:lnTo>
                    <a:lnTo>
                      <a:pt x="128" y="86"/>
                    </a:lnTo>
                    <a:lnTo>
                      <a:pt x="134" y="90"/>
                    </a:lnTo>
                    <a:lnTo>
                      <a:pt x="134" y="90"/>
                    </a:lnTo>
                    <a:lnTo>
                      <a:pt x="134" y="94"/>
                    </a:lnTo>
                    <a:lnTo>
                      <a:pt x="132" y="96"/>
                    </a:lnTo>
                    <a:lnTo>
                      <a:pt x="130" y="100"/>
                    </a:lnTo>
                    <a:lnTo>
                      <a:pt x="130" y="100"/>
                    </a:lnTo>
                    <a:lnTo>
                      <a:pt x="130" y="110"/>
                    </a:lnTo>
                    <a:lnTo>
                      <a:pt x="130" y="122"/>
                    </a:lnTo>
                    <a:lnTo>
                      <a:pt x="130" y="122"/>
                    </a:lnTo>
                    <a:lnTo>
                      <a:pt x="130" y="128"/>
                    </a:lnTo>
                    <a:lnTo>
                      <a:pt x="134" y="136"/>
                    </a:lnTo>
                    <a:lnTo>
                      <a:pt x="134" y="136"/>
                    </a:lnTo>
                    <a:lnTo>
                      <a:pt x="138" y="138"/>
                    </a:lnTo>
                    <a:lnTo>
                      <a:pt x="142" y="142"/>
                    </a:lnTo>
                    <a:lnTo>
                      <a:pt x="142" y="142"/>
                    </a:lnTo>
                    <a:lnTo>
                      <a:pt x="142" y="146"/>
                    </a:lnTo>
                    <a:lnTo>
                      <a:pt x="144" y="146"/>
                    </a:lnTo>
                    <a:lnTo>
                      <a:pt x="144" y="146"/>
                    </a:lnTo>
                    <a:lnTo>
                      <a:pt x="144" y="150"/>
                    </a:lnTo>
                    <a:lnTo>
                      <a:pt x="144" y="150"/>
                    </a:lnTo>
                    <a:lnTo>
                      <a:pt x="130" y="158"/>
                    </a:lnTo>
                    <a:lnTo>
                      <a:pt x="130" y="158"/>
                    </a:lnTo>
                    <a:lnTo>
                      <a:pt x="126" y="160"/>
                    </a:lnTo>
                    <a:lnTo>
                      <a:pt x="120" y="160"/>
                    </a:lnTo>
                    <a:lnTo>
                      <a:pt x="120" y="160"/>
                    </a:lnTo>
                    <a:lnTo>
                      <a:pt x="116" y="162"/>
                    </a:lnTo>
                    <a:lnTo>
                      <a:pt x="114" y="164"/>
                    </a:lnTo>
                    <a:lnTo>
                      <a:pt x="114" y="164"/>
                    </a:lnTo>
                    <a:lnTo>
                      <a:pt x="110" y="166"/>
                    </a:lnTo>
                    <a:lnTo>
                      <a:pt x="108" y="164"/>
                    </a:lnTo>
                    <a:lnTo>
                      <a:pt x="108" y="164"/>
                    </a:lnTo>
                    <a:lnTo>
                      <a:pt x="106" y="164"/>
                    </a:lnTo>
                    <a:lnTo>
                      <a:pt x="106" y="166"/>
                    </a:lnTo>
                    <a:lnTo>
                      <a:pt x="102" y="168"/>
                    </a:lnTo>
                    <a:lnTo>
                      <a:pt x="102" y="168"/>
                    </a:lnTo>
                    <a:lnTo>
                      <a:pt x="92" y="170"/>
                    </a:lnTo>
                    <a:lnTo>
                      <a:pt x="92" y="170"/>
                    </a:lnTo>
                    <a:lnTo>
                      <a:pt x="84" y="172"/>
                    </a:lnTo>
                    <a:lnTo>
                      <a:pt x="84" y="172"/>
                    </a:lnTo>
                    <a:lnTo>
                      <a:pt x="80" y="172"/>
                    </a:lnTo>
                    <a:lnTo>
                      <a:pt x="80" y="170"/>
                    </a:lnTo>
                    <a:lnTo>
                      <a:pt x="78" y="168"/>
                    </a:lnTo>
                    <a:lnTo>
                      <a:pt x="76" y="166"/>
                    </a:lnTo>
                    <a:lnTo>
                      <a:pt x="76" y="166"/>
                    </a:lnTo>
                    <a:lnTo>
                      <a:pt x="74" y="166"/>
                    </a:lnTo>
                    <a:lnTo>
                      <a:pt x="72" y="168"/>
                    </a:lnTo>
                    <a:lnTo>
                      <a:pt x="72" y="168"/>
                    </a:lnTo>
                    <a:lnTo>
                      <a:pt x="66" y="170"/>
                    </a:lnTo>
                    <a:lnTo>
                      <a:pt x="66" y="170"/>
                    </a:lnTo>
                    <a:lnTo>
                      <a:pt x="66" y="170"/>
                    </a:lnTo>
                    <a:lnTo>
                      <a:pt x="66" y="166"/>
                    </a:lnTo>
                    <a:lnTo>
                      <a:pt x="66" y="166"/>
                    </a:lnTo>
                    <a:lnTo>
                      <a:pt x="66" y="152"/>
                    </a:lnTo>
                    <a:lnTo>
                      <a:pt x="66" y="136"/>
                    </a:lnTo>
                    <a:lnTo>
                      <a:pt x="66" y="136"/>
                    </a:lnTo>
                    <a:lnTo>
                      <a:pt x="60" y="134"/>
                    </a:lnTo>
                    <a:lnTo>
                      <a:pt x="60" y="134"/>
                    </a:lnTo>
                    <a:lnTo>
                      <a:pt x="60" y="132"/>
                    </a:lnTo>
                    <a:lnTo>
                      <a:pt x="58" y="130"/>
                    </a:lnTo>
                    <a:lnTo>
                      <a:pt x="56" y="130"/>
                    </a:lnTo>
                    <a:lnTo>
                      <a:pt x="44" y="128"/>
                    </a:lnTo>
                    <a:lnTo>
                      <a:pt x="44" y="128"/>
                    </a:lnTo>
                    <a:lnTo>
                      <a:pt x="40" y="128"/>
                    </a:lnTo>
                    <a:lnTo>
                      <a:pt x="36" y="126"/>
                    </a:lnTo>
                    <a:lnTo>
                      <a:pt x="36" y="126"/>
                    </a:lnTo>
                    <a:lnTo>
                      <a:pt x="32" y="122"/>
                    </a:lnTo>
                    <a:lnTo>
                      <a:pt x="30" y="122"/>
                    </a:lnTo>
                    <a:lnTo>
                      <a:pt x="30" y="122"/>
                    </a:lnTo>
                    <a:lnTo>
                      <a:pt x="28" y="120"/>
                    </a:lnTo>
                    <a:lnTo>
                      <a:pt x="28" y="118"/>
                    </a:lnTo>
                    <a:lnTo>
                      <a:pt x="28" y="114"/>
                    </a:lnTo>
                    <a:lnTo>
                      <a:pt x="28" y="114"/>
                    </a:lnTo>
                    <a:lnTo>
                      <a:pt x="26" y="110"/>
                    </a:lnTo>
                    <a:lnTo>
                      <a:pt x="26" y="110"/>
                    </a:lnTo>
                    <a:lnTo>
                      <a:pt x="22" y="110"/>
                    </a:lnTo>
                    <a:lnTo>
                      <a:pt x="22" y="110"/>
                    </a:lnTo>
                    <a:lnTo>
                      <a:pt x="22" y="104"/>
                    </a:lnTo>
                    <a:lnTo>
                      <a:pt x="22" y="104"/>
                    </a:lnTo>
                    <a:lnTo>
                      <a:pt x="20" y="104"/>
                    </a:lnTo>
                    <a:lnTo>
                      <a:pt x="20" y="104"/>
                    </a:lnTo>
                    <a:lnTo>
                      <a:pt x="18" y="100"/>
                    </a:lnTo>
                    <a:lnTo>
                      <a:pt x="18" y="98"/>
                    </a:lnTo>
                    <a:lnTo>
                      <a:pt x="18" y="98"/>
                    </a:lnTo>
                    <a:lnTo>
                      <a:pt x="14" y="96"/>
                    </a:lnTo>
                    <a:lnTo>
                      <a:pt x="14" y="96"/>
                    </a:lnTo>
                    <a:lnTo>
                      <a:pt x="14" y="90"/>
                    </a:lnTo>
                    <a:lnTo>
                      <a:pt x="16" y="84"/>
                    </a:lnTo>
                    <a:lnTo>
                      <a:pt x="16" y="84"/>
                    </a:lnTo>
                    <a:lnTo>
                      <a:pt x="8" y="78"/>
                    </a:lnTo>
                    <a:lnTo>
                      <a:pt x="6" y="76"/>
                    </a:lnTo>
                    <a:lnTo>
                      <a:pt x="0" y="72"/>
                    </a:lnTo>
                    <a:lnTo>
                      <a:pt x="0" y="72"/>
                    </a:lnTo>
                    <a:lnTo>
                      <a:pt x="2" y="60"/>
                    </a:lnTo>
                    <a:lnTo>
                      <a:pt x="2" y="60"/>
                    </a:lnTo>
                    <a:lnTo>
                      <a:pt x="2" y="60"/>
                    </a:lnTo>
                    <a:lnTo>
                      <a:pt x="0" y="60"/>
                    </a:lnTo>
                    <a:lnTo>
                      <a:pt x="0" y="60"/>
                    </a:lnTo>
                    <a:lnTo>
                      <a:pt x="0" y="58"/>
                    </a:lnTo>
                    <a:lnTo>
                      <a:pt x="0" y="58"/>
                    </a:lnTo>
                    <a:lnTo>
                      <a:pt x="2" y="58"/>
                    </a:lnTo>
                    <a:lnTo>
                      <a:pt x="2" y="58"/>
                    </a:lnTo>
                    <a:lnTo>
                      <a:pt x="2" y="54"/>
                    </a:lnTo>
                    <a:lnTo>
                      <a:pt x="2" y="54"/>
                    </a:lnTo>
                    <a:lnTo>
                      <a:pt x="0" y="54"/>
                    </a:lnTo>
                    <a:lnTo>
                      <a:pt x="0" y="50"/>
                    </a:lnTo>
                    <a:lnTo>
                      <a:pt x="0" y="50"/>
                    </a:lnTo>
                    <a:lnTo>
                      <a:pt x="6" y="52"/>
                    </a:lnTo>
                    <a:lnTo>
                      <a:pt x="6" y="52"/>
                    </a:lnTo>
                    <a:lnTo>
                      <a:pt x="12" y="48"/>
                    </a:lnTo>
                    <a:lnTo>
                      <a:pt x="14" y="40"/>
                    </a:lnTo>
                    <a:lnTo>
                      <a:pt x="14" y="40"/>
                    </a:lnTo>
                    <a:lnTo>
                      <a:pt x="20" y="36"/>
                    </a:lnTo>
                    <a:lnTo>
                      <a:pt x="20" y="36"/>
                    </a:lnTo>
                    <a:lnTo>
                      <a:pt x="22" y="30"/>
                    </a:lnTo>
                    <a:lnTo>
                      <a:pt x="22" y="30"/>
                    </a:lnTo>
                    <a:lnTo>
                      <a:pt x="22" y="30"/>
                    </a:lnTo>
                    <a:lnTo>
                      <a:pt x="18" y="30"/>
                    </a:lnTo>
                    <a:lnTo>
                      <a:pt x="18" y="30"/>
                    </a:lnTo>
                    <a:lnTo>
                      <a:pt x="16" y="26"/>
                    </a:lnTo>
                    <a:lnTo>
                      <a:pt x="16" y="24"/>
                    </a:lnTo>
                    <a:lnTo>
                      <a:pt x="16" y="20"/>
                    </a:lnTo>
                    <a:lnTo>
                      <a:pt x="16" y="20"/>
                    </a:lnTo>
                    <a:lnTo>
                      <a:pt x="18" y="20"/>
                    </a:lnTo>
                    <a:lnTo>
                      <a:pt x="18" y="16"/>
                    </a:lnTo>
                    <a:lnTo>
                      <a:pt x="18" y="16"/>
                    </a:lnTo>
                    <a:lnTo>
                      <a:pt x="18" y="8"/>
                    </a:lnTo>
                    <a:lnTo>
                      <a:pt x="14" y="0"/>
                    </a:lnTo>
                    <a:lnTo>
                      <a:pt x="32" y="0"/>
                    </a:lnTo>
                    <a:lnTo>
                      <a:pt x="32" y="0"/>
                    </a:lnTo>
                    <a:lnTo>
                      <a:pt x="28" y="10"/>
                    </a:lnTo>
                    <a:lnTo>
                      <a:pt x="28" y="10"/>
                    </a:lnTo>
                    <a:lnTo>
                      <a:pt x="30" y="16"/>
                    </a:lnTo>
                    <a:lnTo>
                      <a:pt x="32" y="20"/>
                    </a:lnTo>
                    <a:lnTo>
                      <a:pt x="32" y="20"/>
                    </a:lnTo>
                    <a:lnTo>
                      <a:pt x="34" y="24"/>
                    </a:lnTo>
                    <a:lnTo>
                      <a:pt x="36" y="26"/>
                    </a:lnTo>
                    <a:lnTo>
                      <a:pt x="40" y="24"/>
                    </a:lnTo>
                    <a:lnTo>
                      <a:pt x="40" y="24"/>
                    </a:lnTo>
                    <a:lnTo>
                      <a:pt x="38" y="20"/>
                    </a:lnTo>
                    <a:lnTo>
                      <a:pt x="38" y="20"/>
                    </a:lnTo>
                    <a:lnTo>
                      <a:pt x="42" y="20"/>
                    </a:lnTo>
                    <a:lnTo>
                      <a:pt x="42" y="20"/>
                    </a:lnTo>
                    <a:lnTo>
                      <a:pt x="44" y="18"/>
                    </a:lnTo>
                    <a:lnTo>
                      <a:pt x="44" y="18"/>
                    </a:lnTo>
                    <a:lnTo>
                      <a:pt x="42" y="16"/>
                    </a:lnTo>
                    <a:lnTo>
                      <a:pt x="42" y="16"/>
                    </a:lnTo>
                    <a:lnTo>
                      <a:pt x="42" y="16"/>
                    </a:lnTo>
                    <a:lnTo>
                      <a:pt x="48" y="16"/>
                    </a:lnTo>
                    <a:lnTo>
                      <a:pt x="54" y="20"/>
                    </a:lnTo>
                    <a:lnTo>
                      <a:pt x="54" y="20"/>
                    </a:lnTo>
                    <a:lnTo>
                      <a:pt x="54" y="26"/>
                    </a:lnTo>
                    <a:lnTo>
                      <a:pt x="54" y="26"/>
                    </a:lnTo>
                    <a:lnTo>
                      <a:pt x="58" y="28"/>
                    </a:lnTo>
                    <a:lnTo>
                      <a:pt x="58" y="28"/>
                    </a:lnTo>
                    <a:lnTo>
                      <a:pt x="58" y="22"/>
                    </a:lnTo>
                    <a:lnTo>
                      <a:pt x="58" y="18"/>
                    </a:lnTo>
                    <a:lnTo>
                      <a:pt x="60" y="16"/>
                    </a:lnTo>
                    <a:lnTo>
                      <a:pt x="66" y="16"/>
                    </a:lnTo>
                    <a:lnTo>
                      <a:pt x="66" y="16"/>
                    </a:lnTo>
                    <a:lnTo>
                      <a:pt x="66" y="14"/>
                    </a:lnTo>
                    <a:lnTo>
                      <a:pt x="68" y="14"/>
                    </a:lnTo>
                    <a:lnTo>
                      <a:pt x="68" y="12"/>
                    </a:lnTo>
                    <a:lnTo>
                      <a:pt x="68" y="12"/>
                    </a:lnTo>
                    <a:lnTo>
                      <a:pt x="62" y="12"/>
                    </a:lnTo>
                    <a:lnTo>
                      <a:pt x="62" y="12"/>
                    </a:lnTo>
                    <a:lnTo>
                      <a:pt x="60" y="10"/>
                    </a:lnTo>
                    <a:lnTo>
                      <a:pt x="60" y="10"/>
                    </a:lnTo>
                    <a:lnTo>
                      <a:pt x="62" y="10"/>
                    </a:lnTo>
                    <a:lnTo>
                      <a:pt x="64" y="8"/>
                    </a:lnTo>
                    <a:lnTo>
                      <a:pt x="64" y="8"/>
                    </a:lnTo>
                    <a:lnTo>
                      <a:pt x="58" y="8"/>
                    </a:lnTo>
                    <a:lnTo>
                      <a:pt x="58" y="8"/>
                    </a:lnTo>
                    <a:lnTo>
                      <a:pt x="62" y="4"/>
                    </a:lnTo>
                    <a:lnTo>
                      <a:pt x="64" y="0"/>
                    </a:lnTo>
                    <a:lnTo>
                      <a:pt x="104" y="20"/>
                    </a:lnTo>
                    <a:lnTo>
                      <a:pt x="104" y="20"/>
                    </a:lnTo>
                    <a:lnTo>
                      <a:pt x="106" y="22"/>
                    </a:lnTo>
                    <a:lnTo>
                      <a:pt x="108" y="26"/>
                    </a:lnTo>
                    <a:lnTo>
                      <a:pt x="108" y="26"/>
                    </a:lnTo>
                    <a:lnTo>
                      <a:pt x="108" y="32"/>
                    </a:lnTo>
                    <a:lnTo>
                      <a:pt x="108" y="32"/>
                    </a:lnTo>
                    <a:lnTo>
                      <a:pt x="110" y="34"/>
                    </a:lnTo>
                    <a:lnTo>
                      <a:pt x="110" y="34"/>
                    </a:lnTo>
                    <a:lnTo>
                      <a:pt x="112" y="36"/>
                    </a:lnTo>
                    <a:lnTo>
                      <a:pt x="114" y="36"/>
                    </a:lnTo>
                    <a:lnTo>
                      <a:pt x="130" y="4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19" name="Freeform 35"/>
              <p:cNvSpPr>
                <a:spLocks noChangeAspect="1"/>
              </p:cNvSpPr>
              <p:nvPr/>
            </p:nvSpPr>
            <p:spPr bwMode="gray">
              <a:xfrm>
                <a:off x="4989555" y="5138237"/>
                <a:ext cx="27202" cy="39479"/>
              </a:xfrm>
              <a:custGeom>
                <a:avLst/>
                <a:gdLst/>
                <a:ahLst/>
                <a:cxnLst>
                  <a:cxn ang="0">
                    <a:pos x="14" y="14"/>
                  </a:cxn>
                  <a:cxn ang="0">
                    <a:pos x="14" y="14"/>
                  </a:cxn>
                  <a:cxn ang="0">
                    <a:pos x="16" y="6"/>
                  </a:cxn>
                  <a:cxn ang="0">
                    <a:pos x="16" y="6"/>
                  </a:cxn>
                  <a:cxn ang="0">
                    <a:pos x="16" y="4"/>
                  </a:cxn>
                  <a:cxn ang="0">
                    <a:pos x="14" y="2"/>
                  </a:cxn>
                  <a:cxn ang="0">
                    <a:pos x="10" y="0"/>
                  </a:cxn>
                  <a:cxn ang="0">
                    <a:pos x="10" y="0"/>
                  </a:cxn>
                  <a:cxn ang="0">
                    <a:pos x="8" y="0"/>
                  </a:cxn>
                  <a:cxn ang="0">
                    <a:pos x="6" y="2"/>
                  </a:cxn>
                  <a:cxn ang="0">
                    <a:pos x="4" y="0"/>
                  </a:cxn>
                  <a:cxn ang="0">
                    <a:pos x="4" y="0"/>
                  </a:cxn>
                  <a:cxn ang="0">
                    <a:pos x="2" y="0"/>
                  </a:cxn>
                  <a:cxn ang="0">
                    <a:pos x="2" y="2"/>
                  </a:cxn>
                  <a:cxn ang="0">
                    <a:pos x="0" y="8"/>
                  </a:cxn>
                  <a:cxn ang="0">
                    <a:pos x="0" y="8"/>
                  </a:cxn>
                  <a:cxn ang="0">
                    <a:pos x="0" y="12"/>
                  </a:cxn>
                  <a:cxn ang="0">
                    <a:pos x="0" y="16"/>
                  </a:cxn>
                  <a:cxn ang="0">
                    <a:pos x="0" y="16"/>
                  </a:cxn>
                  <a:cxn ang="0">
                    <a:pos x="2" y="18"/>
                  </a:cxn>
                  <a:cxn ang="0">
                    <a:pos x="6" y="20"/>
                  </a:cxn>
                  <a:cxn ang="0">
                    <a:pos x="6" y="20"/>
                  </a:cxn>
                  <a:cxn ang="0">
                    <a:pos x="12" y="22"/>
                  </a:cxn>
                  <a:cxn ang="0">
                    <a:pos x="16" y="24"/>
                  </a:cxn>
                  <a:cxn ang="0">
                    <a:pos x="14" y="14"/>
                  </a:cxn>
                </a:cxnLst>
                <a:rect l="0" t="0" r="r" b="b"/>
                <a:pathLst>
                  <a:path w="16" h="24">
                    <a:moveTo>
                      <a:pt x="14" y="14"/>
                    </a:moveTo>
                    <a:lnTo>
                      <a:pt x="14" y="14"/>
                    </a:lnTo>
                    <a:lnTo>
                      <a:pt x="16" y="6"/>
                    </a:lnTo>
                    <a:lnTo>
                      <a:pt x="16" y="6"/>
                    </a:lnTo>
                    <a:lnTo>
                      <a:pt x="16" y="4"/>
                    </a:lnTo>
                    <a:lnTo>
                      <a:pt x="14" y="2"/>
                    </a:lnTo>
                    <a:lnTo>
                      <a:pt x="10" y="0"/>
                    </a:lnTo>
                    <a:lnTo>
                      <a:pt x="10" y="0"/>
                    </a:lnTo>
                    <a:lnTo>
                      <a:pt x="8" y="0"/>
                    </a:lnTo>
                    <a:lnTo>
                      <a:pt x="6" y="2"/>
                    </a:lnTo>
                    <a:lnTo>
                      <a:pt x="4" y="0"/>
                    </a:lnTo>
                    <a:lnTo>
                      <a:pt x="4" y="0"/>
                    </a:lnTo>
                    <a:lnTo>
                      <a:pt x="2" y="0"/>
                    </a:lnTo>
                    <a:lnTo>
                      <a:pt x="2" y="2"/>
                    </a:lnTo>
                    <a:lnTo>
                      <a:pt x="0" y="8"/>
                    </a:lnTo>
                    <a:lnTo>
                      <a:pt x="0" y="8"/>
                    </a:lnTo>
                    <a:lnTo>
                      <a:pt x="0" y="12"/>
                    </a:lnTo>
                    <a:lnTo>
                      <a:pt x="0" y="16"/>
                    </a:lnTo>
                    <a:lnTo>
                      <a:pt x="0" y="16"/>
                    </a:lnTo>
                    <a:lnTo>
                      <a:pt x="2" y="18"/>
                    </a:lnTo>
                    <a:lnTo>
                      <a:pt x="6" y="20"/>
                    </a:lnTo>
                    <a:lnTo>
                      <a:pt x="6" y="20"/>
                    </a:lnTo>
                    <a:lnTo>
                      <a:pt x="12" y="22"/>
                    </a:lnTo>
                    <a:lnTo>
                      <a:pt x="16" y="24"/>
                    </a:lnTo>
                    <a:lnTo>
                      <a:pt x="14" y="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0" name="Freeform 41"/>
              <p:cNvSpPr>
                <a:spLocks noChangeAspect="1"/>
              </p:cNvSpPr>
              <p:nvPr/>
            </p:nvSpPr>
            <p:spPr bwMode="gray">
              <a:xfrm>
                <a:off x="4663133" y="5039539"/>
                <a:ext cx="367224" cy="358604"/>
              </a:xfrm>
              <a:custGeom>
                <a:avLst/>
                <a:gdLst/>
                <a:ahLst/>
                <a:cxnLst>
                  <a:cxn ang="0">
                    <a:pos x="34" y="106"/>
                  </a:cxn>
                  <a:cxn ang="0">
                    <a:pos x="26" y="114"/>
                  </a:cxn>
                  <a:cxn ang="0">
                    <a:pos x="12" y="110"/>
                  </a:cxn>
                  <a:cxn ang="0">
                    <a:pos x="12" y="104"/>
                  </a:cxn>
                  <a:cxn ang="0">
                    <a:pos x="2" y="110"/>
                  </a:cxn>
                  <a:cxn ang="0">
                    <a:pos x="8" y="122"/>
                  </a:cxn>
                  <a:cxn ang="0">
                    <a:pos x="8" y="128"/>
                  </a:cxn>
                  <a:cxn ang="0">
                    <a:pos x="16" y="148"/>
                  </a:cxn>
                  <a:cxn ang="0">
                    <a:pos x="22" y="164"/>
                  </a:cxn>
                  <a:cxn ang="0">
                    <a:pos x="16" y="182"/>
                  </a:cxn>
                  <a:cxn ang="0">
                    <a:pos x="18" y="188"/>
                  </a:cxn>
                  <a:cxn ang="0">
                    <a:pos x="16" y="194"/>
                  </a:cxn>
                  <a:cxn ang="0">
                    <a:pos x="20" y="204"/>
                  </a:cxn>
                  <a:cxn ang="0">
                    <a:pos x="22" y="212"/>
                  </a:cxn>
                  <a:cxn ang="0">
                    <a:pos x="26" y="208"/>
                  </a:cxn>
                  <a:cxn ang="0">
                    <a:pos x="30" y="212"/>
                  </a:cxn>
                  <a:cxn ang="0">
                    <a:pos x="44" y="218"/>
                  </a:cxn>
                  <a:cxn ang="0">
                    <a:pos x="56" y="212"/>
                  </a:cxn>
                  <a:cxn ang="0">
                    <a:pos x="72" y="212"/>
                  </a:cxn>
                  <a:cxn ang="0">
                    <a:pos x="78" y="206"/>
                  </a:cxn>
                  <a:cxn ang="0">
                    <a:pos x="84" y="204"/>
                  </a:cxn>
                  <a:cxn ang="0">
                    <a:pos x="96" y="202"/>
                  </a:cxn>
                  <a:cxn ang="0">
                    <a:pos x="112" y="206"/>
                  </a:cxn>
                  <a:cxn ang="0">
                    <a:pos x="124" y="204"/>
                  </a:cxn>
                  <a:cxn ang="0">
                    <a:pos x="130" y="200"/>
                  </a:cxn>
                  <a:cxn ang="0">
                    <a:pos x="140" y="196"/>
                  </a:cxn>
                  <a:cxn ang="0">
                    <a:pos x="154" y="184"/>
                  </a:cxn>
                  <a:cxn ang="0">
                    <a:pos x="160" y="176"/>
                  </a:cxn>
                  <a:cxn ang="0">
                    <a:pos x="172" y="166"/>
                  </a:cxn>
                  <a:cxn ang="0">
                    <a:pos x="176" y="158"/>
                  </a:cxn>
                  <a:cxn ang="0">
                    <a:pos x="186" y="144"/>
                  </a:cxn>
                  <a:cxn ang="0">
                    <a:pos x="194" y="132"/>
                  </a:cxn>
                  <a:cxn ang="0">
                    <a:pos x="210" y="100"/>
                  </a:cxn>
                  <a:cxn ang="0">
                    <a:pos x="206" y="74"/>
                  </a:cxn>
                  <a:cxn ang="0">
                    <a:pos x="198" y="80"/>
                  </a:cxn>
                  <a:cxn ang="0">
                    <a:pos x="192" y="68"/>
                  </a:cxn>
                  <a:cxn ang="0">
                    <a:pos x="196" y="60"/>
                  </a:cxn>
                  <a:cxn ang="0">
                    <a:pos x="202" y="58"/>
                  </a:cxn>
                  <a:cxn ang="0">
                    <a:pos x="200" y="46"/>
                  </a:cxn>
                  <a:cxn ang="0">
                    <a:pos x="200" y="18"/>
                  </a:cxn>
                  <a:cxn ang="0">
                    <a:pos x="202" y="4"/>
                  </a:cxn>
                  <a:cxn ang="0">
                    <a:pos x="188" y="0"/>
                  </a:cxn>
                  <a:cxn ang="0">
                    <a:pos x="178" y="2"/>
                  </a:cxn>
                  <a:cxn ang="0">
                    <a:pos x="170" y="4"/>
                  </a:cxn>
                  <a:cxn ang="0">
                    <a:pos x="162" y="8"/>
                  </a:cxn>
                  <a:cxn ang="0">
                    <a:pos x="148" y="14"/>
                  </a:cxn>
                  <a:cxn ang="0">
                    <a:pos x="136" y="24"/>
                  </a:cxn>
                  <a:cxn ang="0">
                    <a:pos x="132" y="38"/>
                  </a:cxn>
                  <a:cxn ang="0">
                    <a:pos x="124" y="60"/>
                  </a:cxn>
                  <a:cxn ang="0">
                    <a:pos x="112" y="60"/>
                  </a:cxn>
                  <a:cxn ang="0">
                    <a:pos x="102" y="58"/>
                  </a:cxn>
                  <a:cxn ang="0">
                    <a:pos x="92" y="56"/>
                  </a:cxn>
                  <a:cxn ang="0">
                    <a:pos x="88" y="64"/>
                  </a:cxn>
                  <a:cxn ang="0">
                    <a:pos x="70" y="76"/>
                  </a:cxn>
                  <a:cxn ang="0">
                    <a:pos x="58" y="82"/>
                  </a:cxn>
                  <a:cxn ang="0">
                    <a:pos x="52" y="74"/>
                  </a:cxn>
                  <a:cxn ang="0">
                    <a:pos x="48" y="58"/>
                  </a:cxn>
                </a:cxnLst>
                <a:rect l="0" t="0" r="r" b="b"/>
                <a:pathLst>
                  <a:path w="216" h="218">
                    <a:moveTo>
                      <a:pt x="42" y="54"/>
                    </a:moveTo>
                    <a:lnTo>
                      <a:pt x="40" y="106"/>
                    </a:lnTo>
                    <a:lnTo>
                      <a:pt x="40" y="106"/>
                    </a:lnTo>
                    <a:lnTo>
                      <a:pt x="38" y="106"/>
                    </a:lnTo>
                    <a:lnTo>
                      <a:pt x="34" y="106"/>
                    </a:lnTo>
                    <a:lnTo>
                      <a:pt x="32" y="108"/>
                    </a:lnTo>
                    <a:lnTo>
                      <a:pt x="32" y="108"/>
                    </a:lnTo>
                    <a:lnTo>
                      <a:pt x="30" y="112"/>
                    </a:lnTo>
                    <a:lnTo>
                      <a:pt x="26" y="114"/>
                    </a:lnTo>
                    <a:lnTo>
                      <a:pt x="26" y="114"/>
                    </a:lnTo>
                    <a:lnTo>
                      <a:pt x="24" y="114"/>
                    </a:lnTo>
                    <a:lnTo>
                      <a:pt x="20" y="114"/>
                    </a:lnTo>
                    <a:lnTo>
                      <a:pt x="20" y="114"/>
                    </a:lnTo>
                    <a:lnTo>
                      <a:pt x="14" y="114"/>
                    </a:lnTo>
                    <a:lnTo>
                      <a:pt x="12" y="110"/>
                    </a:lnTo>
                    <a:lnTo>
                      <a:pt x="12" y="110"/>
                    </a:lnTo>
                    <a:lnTo>
                      <a:pt x="12" y="108"/>
                    </a:lnTo>
                    <a:lnTo>
                      <a:pt x="12" y="106"/>
                    </a:lnTo>
                    <a:lnTo>
                      <a:pt x="12" y="106"/>
                    </a:lnTo>
                    <a:lnTo>
                      <a:pt x="12" y="104"/>
                    </a:lnTo>
                    <a:lnTo>
                      <a:pt x="12" y="104"/>
                    </a:lnTo>
                    <a:lnTo>
                      <a:pt x="8" y="104"/>
                    </a:lnTo>
                    <a:lnTo>
                      <a:pt x="6" y="106"/>
                    </a:lnTo>
                    <a:lnTo>
                      <a:pt x="6" y="106"/>
                    </a:lnTo>
                    <a:lnTo>
                      <a:pt x="2" y="110"/>
                    </a:lnTo>
                    <a:lnTo>
                      <a:pt x="0" y="112"/>
                    </a:lnTo>
                    <a:lnTo>
                      <a:pt x="0" y="112"/>
                    </a:lnTo>
                    <a:lnTo>
                      <a:pt x="4" y="120"/>
                    </a:lnTo>
                    <a:lnTo>
                      <a:pt x="4" y="120"/>
                    </a:lnTo>
                    <a:lnTo>
                      <a:pt x="8" y="122"/>
                    </a:lnTo>
                    <a:lnTo>
                      <a:pt x="8" y="122"/>
                    </a:lnTo>
                    <a:lnTo>
                      <a:pt x="6" y="124"/>
                    </a:lnTo>
                    <a:lnTo>
                      <a:pt x="6" y="126"/>
                    </a:lnTo>
                    <a:lnTo>
                      <a:pt x="8" y="128"/>
                    </a:lnTo>
                    <a:lnTo>
                      <a:pt x="8" y="128"/>
                    </a:lnTo>
                    <a:lnTo>
                      <a:pt x="10" y="136"/>
                    </a:lnTo>
                    <a:lnTo>
                      <a:pt x="10" y="144"/>
                    </a:lnTo>
                    <a:lnTo>
                      <a:pt x="10" y="144"/>
                    </a:lnTo>
                    <a:lnTo>
                      <a:pt x="12" y="146"/>
                    </a:lnTo>
                    <a:lnTo>
                      <a:pt x="16" y="148"/>
                    </a:lnTo>
                    <a:lnTo>
                      <a:pt x="16" y="148"/>
                    </a:lnTo>
                    <a:lnTo>
                      <a:pt x="20" y="160"/>
                    </a:lnTo>
                    <a:lnTo>
                      <a:pt x="20" y="160"/>
                    </a:lnTo>
                    <a:lnTo>
                      <a:pt x="22" y="164"/>
                    </a:lnTo>
                    <a:lnTo>
                      <a:pt x="22" y="164"/>
                    </a:lnTo>
                    <a:lnTo>
                      <a:pt x="22" y="174"/>
                    </a:lnTo>
                    <a:lnTo>
                      <a:pt x="20" y="182"/>
                    </a:lnTo>
                    <a:lnTo>
                      <a:pt x="16" y="180"/>
                    </a:lnTo>
                    <a:lnTo>
                      <a:pt x="16" y="180"/>
                    </a:lnTo>
                    <a:lnTo>
                      <a:pt x="16" y="182"/>
                    </a:lnTo>
                    <a:lnTo>
                      <a:pt x="14" y="182"/>
                    </a:lnTo>
                    <a:lnTo>
                      <a:pt x="14" y="182"/>
                    </a:lnTo>
                    <a:lnTo>
                      <a:pt x="16" y="188"/>
                    </a:lnTo>
                    <a:lnTo>
                      <a:pt x="18" y="188"/>
                    </a:lnTo>
                    <a:lnTo>
                      <a:pt x="18" y="188"/>
                    </a:lnTo>
                    <a:lnTo>
                      <a:pt x="16" y="192"/>
                    </a:lnTo>
                    <a:lnTo>
                      <a:pt x="16" y="192"/>
                    </a:lnTo>
                    <a:lnTo>
                      <a:pt x="16" y="192"/>
                    </a:lnTo>
                    <a:lnTo>
                      <a:pt x="16" y="192"/>
                    </a:lnTo>
                    <a:lnTo>
                      <a:pt x="16" y="194"/>
                    </a:lnTo>
                    <a:lnTo>
                      <a:pt x="16" y="194"/>
                    </a:lnTo>
                    <a:lnTo>
                      <a:pt x="16" y="194"/>
                    </a:lnTo>
                    <a:lnTo>
                      <a:pt x="18" y="196"/>
                    </a:lnTo>
                    <a:lnTo>
                      <a:pt x="20" y="198"/>
                    </a:lnTo>
                    <a:lnTo>
                      <a:pt x="20" y="204"/>
                    </a:lnTo>
                    <a:lnTo>
                      <a:pt x="20" y="204"/>
                    </a:lnTo>
                    <a:lnTo>
                      <a:pt x="18" y="206"/>
                    </a:lnTo>
                    <a:lnTo>
                      <a:pt x="18" y="206"/>
                    </a:lnTo>
                    <a:lnTo>
                      <a:pt x="22" y="212"/>
                    </a:lnTo>
                    <a:lnTo>
                      <a:pt x="22" y="212"/>
                    </a:lnTo>
                    <a:lnTo>
                      <a:pt x="24" y="212"/>
                    </a:lnTo>
                    <a:lnTo>
                      <a:pt x="24" y="212"/>
                    </a:lnTo>
                    <a:lnTo>
                      <a:pt x="24" y="208"/>
                    </a:lnTo>
                    <a:lnTo>
                      <a:pt x="24" y="208"/>
                    </a:lnTo>
                    <a:lnTo>
                      <a:pt x="26" y="208"/>
                    </a:lnTo>
                    <a:lnTo>
                      <a:pt x="28" y="210"/>
                    </a:lnTo>
                    <a:lnTo>
                      <a:pt x="28" y="212"/>
                    </a:lnTo>
                    <a:lnTo>
                      <a:pt x="28" y="212"/>
                    </a:lnTo>
                    <a:lnTo>
                      <a:pt x="30" y="212"/>
                    </a:lnTo>
                    <a:lnTo>
                      <a:pt x="30" y="212"/>
                    </a:lnTo>
                    <a:lnTo>
                      <a:pt x="30" y="212"/>
                    </a:lnTo>
                    <a:lnTo>
                      <a:pt x="34" y="212"/>
                    </a:lnTo>
                    <a:lnTo>
                      <a:pt x="36" y="214"/>
                    </a:lnTo>
                    <a:lnTo>
                      <a:pt x="40" y="216"/>
                    </a:lnTo>
                    <a:lnTo>
                      <a:pt x="44" y="218"/>
                    </a:lnTo>
                    <a:lnTo>
                      <a:pt x="44" y="218"/>
                    </a:lnTo>
                    <a:lnTo>
                      <a:pt x="46" y="216"/>
                    </a:lnTo>
                    <a:lnTo>
                      <a:pt x="46" y="216"/>
                    </a:lnTo>
                    <a:lnTo>
                      <a:pt x="56" y="212"/>
                    </a:lnTo>
                    <a:lnTo>
                      <a:pt x="56" y="212"/>
                    </a:lnTo>
                    <a:lnTo>
                      <a:pt x="56" y="208"/>
                    </a:lnTo>
                    <a:lnTo>
                      <a:pt x="56" y="208"/>
                    </a:lnTo>
                    <a:lnTo>
                      <a:pt x="64" y="208"/>
                    </a:lnTo>
                    <a:lnTo>
                      <a:pt x="72" y="212"/>
                    </a:lnTo>
                    <a:lnTo>
                      <a:pt x="72" y="212"/>
                    </a:lnTo>
                    <a:lnTo>
                      <a:pt x="74" y="210"/>
                    </a:lnTo>
                    <a:lnTo>
                      <a:pt x="76" y="206"/>
                    </a:lnTo>
                    <a:lnTo>
                      <a:pt x="76" y="206"/>
                    </a:lnTo>
                    <a:lnTo>
                      <a:pt x="76" y="206"/>
                    </a:lnTo>
                    <a:lnTo>
                      <a:pt x="78" y="206"/>
                    </a:lnTo>
                    <a:lnTo>
                      <a:pt x="80" y="206"/>
                    </a:lnTo>
                    <a:lnTo>
                      <a:pt x="80" y="206"/>
                    </a:lnTo>
                    <a:lnTo>
                      <a:pt x="82" y="204"/>
                    </a:lnTo>
                    <a:lnTo>
                      <a:pt x="84" y="204"/>
                    </a:lnTo>
                    <a:lnTo>
                      <a:pt x="84" y="204"/>
                    </a:lnTo>
                    <a:lnTo>
                      <a:pt x="90" y="206"/>
                    </a:lnTo>
                    <a:lnTo>
                      <a:pt x="90" y="206"/>
                    </a:lnTo>
                    <a:lnTo>
                      <a:pt x="92" y="204"/>
                    </a:lnTo>
                    <a:lnTo>
                      <a:pt x="94" y="204"/>
                    </a:lnTo>
                    <a:lnTo>
                      <a:pt x="96" y="202"/>
                    </a:lnTo>
                    <a:lnTo>
                      <a:pt x="96" y="202"/>
                    </a:lnTo>
                    <a:lnTo>
                      <a:pt x="102" y="206"/>
                    </a:lnTo>
                    <a:lnTo>
                      <a:pt x="106" y="206"/>
                    </a:lnTo>
                    <a:lnTo>
                      <a:pt x="112" y="206"/>
                    </a:lnTo>
                    <a:lnTo>
                      <a:pt x="112" y="206"/>
                    </a:lnTo>
                    <a:lnTo>
                      <a:pt x="114" y="204"/>
                    </a:lnTo>
                    <a:lnTo>
                      <a:pt x="114" y="204"/>
                    </a:lnTo>
                    <a:lnTo>
                      <a:pt x="118" y="204"/>
                    </a:lnTo>
                    <a:lnTo>
                      <a:pt x="124" y="204"/>
                    </a:lnTo>
                    <a:lnTo>
                      <a:pt x="124" y="204"/>
                    </a:lnTo>
                    <a:lnTo>
                      <a:pt x="124" y="200"/>
                    </a:lnTo>
                    <a:lnTo>
                      <a:pt x="126" y="198"/>
                    </a:lnTo>
                    <a:lnTo>
                      <a:pt x="126" y="198"/>
                    </a:lnTo>
                    <a:lnTo>
                      <a:pt x="128" y="198"/>
                    </a:lnTo>
                    <a:lnTo>
                      <a:pt x="130" y="200"/>
                    </a:lnTo>
                    <a:lnTo>
                      <a:pt x="130" y="200"/>
                    </a:lnTo>
                    <a:lnTo>
                      <a:pt x="134" y="200"/>
                    </a:lnTo>
                    <a:lnTo>
                      <a:pt x="136" y="198"/>
                    </a:lnTo>
                    <a:lnTo>
                      <a:pt x="140" y="196"/>
                    </a:lnTo>
                    <a:lnTo>
                      <a:pt x="140" y="196"/>
                    </a:lnTo>
                    <a:lnTo>
                      <a:pt x="144" y="196"/>
                    </a:lnTo>
                    <a:lnTo>
                      <a:pt x="144" y="196"/>
                    </a:lnTo>
                    <a:lnTo>
                      <a:pt x="152" y="188"/>
                    </a:lnTo>
                    <a:lnTo>
                      <a:pt x="152" y="188"/>
                    </a:lnTo>
                    <a:lnTo>
                      <a:pt x="154" y="184"/>
                    </a:lnTo>
                    <a:lnTo>
                      <a:pt x="156" y="184"/>
                    </a:lnTo>
                    <a:lnTo>
                      <a:pt x="156" y="184"/>
                    </a:lnTo>
                    <a:lnTo>
                      <a:pt x="158" y="180"/>
                    </a:lnTo>
                    <a:lnTo>
                      <a:pt x="160" y="176"/>
                    </a:lnTo>
                    <a:lnTo>
                      <a:pt x="160" y="176"/>
                    </a:lnTo>
                    <a:lnTo>
                      <a:pt x="164" y="174"/>
                    </a:lnTo>
                    <a:lnTo>
                      <a:pt x="164" y="174"/>
                    </a:lnTo>
                    <a:lnTo>
                      <a:pt x="170" y="166"/>
                    </a:lnTo>
                    <a:lnTo>
                      <a:pt x="170" y="166"/>
                    </a:lnTo>
                    <a:lnTo>
                      <a:pt x="172" y="166"/>
                    </a:lnTo>
                    <a:lnTo>
                      <a:pt x="176" y="164"/>
                    </a:lnTo>
                    <a:lnTo>
                      <a:pt x="176" y="164"/>
                    </a:lnTo>
                    <a:lnTo>
                      <a:pt x="176" y="160"/>
                    </a:lnTo>
                    <a:lnTo>
                      <a:pt x="176" y="158"/>
                    </a:lnTo>
                    <a:lnTo>
                      <a:pt x="176" y="158"/>
                    </a:lnTo>
                    <a:lnTo>
                      <a:pt x="184" y="154"/>
                    </a:lnTo>
                    <a:lnTo>
                      <a:pt x="184" y="154"/>
                    </a:lnTo>
                    <a:lnTo>
                      <a:pt x="184" y="148"/>
                    </a:lnTo>
                    <a:lnTo>
                      <a:pt x="186" y="144"/>
                    </a:lnTo>
                    <a:lnTo>
                      <a:pt x="186" y="144"/>
                    </a:lnTo>
                    <a:lnTo>
                      <a:pt x="190" y="142"/>
                    </a:lnTo>
                    <a:lnTo>
                      <a:pt x="190" y="142"/>
                    </a:lnTo>
                    <a:lnTo>
                      <a:pt x="192" y="138"/>
                    </a:lnTo>
                    <a:lnTo>
                      <a:pt x="194" y="132"/>
                    </a:lnTo>
                    <a:lnTo>
                      <a:pt x="194" y="132"/>
                    </a:lnTo>
                    <a:lnTo>
                      <a:pt x="196" y="126"/>
                    </a:lnTo>
                    <a:lnTo>
                      <a:pt x="202" y="122"/>
                    </a:lnTo>
                    <a:lnTo>
                      <a:pt x="212" y="116"/>
                    </a:lnTo>
                    <a:lnTo>
                      <a:pt x="212" y="116"/>
                    </a:lnTo>
                    <a:lnTo>
                      <a:pt x="210" y="100"/>
                    </a:lnTo>
                    <a:lnTo>
                      <a:pt x="210" y="100"/>
                    </a:lnTo>
                    <a:lnTo>
                      <a:pt x="214" y="100"/>
                    </a:lnTo>
                    <a:lnTo>
                      <a:pt x="214" y="100"/>
                    </a:lnTo>
                    <a:lnTo>
                      <a:pt x="216" y="76"/>
                    </a:lnTo>
                    <a:lnTo>
                      <a:pt x="206" y="74"/>
                    </a:lnTo>
                    <a:lnTo>
                      <a:pt x="208" y="84"/>
                    </a:lnTo>
                    <a:lnTo>
                      <a:pt x="208" y="84"/>
                    </a:lnTo>
                    <a:lnTo>
                      <a:pt x="204" y="82"/>
                    </a:lnTo>
                    <a:lnTo>
                      <a:pt x="198" y="80"/>
                    </a:lnTo>
                    <a:lnTo>
                      <a:pt x="198" y="80"/>
                    </a:lnTo>
                    <a:lnTo>
                      <a:pt x="194" y="78"/>
                    </a:lnTo>
                    <a:lnTo>
                      <a:pt x="192" y="76"/>
                    </a:lnTo>
                    <a:lnTo>
                      <a:pt x="192" y="76"/>
                    </a:lnTo>
                    <a:lnTo>
                      <a:pt x="192" y="72"/>
                    </a:lnTo>
                    <a:lnTo>
                      <a:pt x="192" y="68"/>
                    </a:lnTo>
                    <a:lnTo>
                      <a:pt x="192" y="68"/>
                    </a:lnTo>
                    <a:lnTo>
                      <a:pt x="194" y="62"/>
                    </a:lnTo>
                    <a:lnTo>
                      <a:pt x="194" y="60"/>
                    </a:lnTo>
                    <a:lnTo>
                      <a:pt x="196" y="60"/>
                    </a:lnTo>
                    <a:lnTo>
                      <a:pt x="196" y="60"/>
                    </a:lnTo>
                    <a:lnTo>
                      <a:pt x="198" y="62"/>
                    </a:lnTo>
                    <a:lnTo>
                      <a:pt x="200" y="60"/>
                    </a:lnTo>
                    <a:lnTo>
                      <a:pt x="202" y="60"/>
                    </a:lnTo>
                    <a:lnTo>
                      <a:pt x="202" y="60"/>
                    </a:lnTo>
                    <a:lnTo>
                      <a:pt x="202" y="58"/>
                    </a:lnTo>
                    <a:lnTo>
                      <a:pt x="200" y="54"/>
                    </a:lnTo>
                    <a:lnTo>
                      <a:pt x="200" y="54"/>
                    </a:lnTo>
                    <a:lnTo>
                      <a:pt x="200" y="50"/>
                    </a:lnTo>
                    <a:lnTo>
                      <a:pt x="200" y="46"/>
                    </a:lnTo>
                    <a:lnTo>
                      <a:pt x="200" y="46"/>
                    </a:lnTo>
                    <a:lnTo>
                      <a:pt x="202" y="40"/>
                    </a:lnTo>
                    <a:lnTo>
                      <a:pt x="202" y="32"/>
                    </a:lnTo>
                    <a:lnTo>
                      <a:pt x="202" y="32"/>
                    </a:lnTo>
                    <a:lnTo>
                      <a:pt x="200" y="24"/>
                    </a:lnTo>
                    <a:lnTo>
                      <a:pt x="200" y="18"/>
                    </a:lnTo>
                    <a:lnTo>
                      <a:pt x="200" y="18"/>
                    </a:lnTo>
                    <a:lnTo>
                      <a:pt x="202" y="14"/>
                    </a:lnTo>
                    <a:lnTo>
                      <a:pt x="202" y="10"/>
                    </a:lnTo>
                    <a:lnTo>
                      <a:pt x="202" y="4"/>
                    </a:lnTo>
                    <a:lnTo>
                      <a:pt x="202" y="4"/>
                    </a:lnTo>
                    <a:lnTo>
                      <a:pt x="200" y="2"/>
                    </a:lnTo>
                    <a:lnTo>
                      <a:pt x="194" y="2"/>
                    </a:lnTo>
                    <a:lnTo>
                      <a:pt x="194" y="2"/>
                    </a:lnTo>
                    <a:lnTo>
                      <a:pt x="190" y="0"/>
                    </a:lnTo>
                    <a:lnTo>
                      <a:pt x="188" y="0"/>
                    </a:lnTo>
                    <a:lnTo>
                      <a:pt x="188" y="0"/>
                    </a:lnTo>
                    <a:lnTo>
                      <a:pt x="186" y="0"/>
                    </a:lnTo>
                    <a:lnTo>
                      <a:pt x="180" y="0"/>
                    </a:lnTo>
                    <a:lnTo>
                      <a:pt x="180" y="0"/>
                    </a:lnTo>
                    <a:lnTo>
                      <a:pt x="178" y="2"/>
                    </a:lnTo>
                    <a:lnTo>
                      <a:pt x="176" y="0"/>
                    </a:lnTo>
                    <a:lnTo>
                      <a:pt x="174" y="0"/>
                    </a:lnTo>
                    <a:lnTo>
                      <a:pt x="174" y="0"/>
                    </a:lnTo>
                    <a:lnTo>
                      <a:pt x="172" y="2"/>
                    </a:lnTo>
                    <a:lnTo>
                      <a:pt x="170" y="4"/>
                    </a:lnTo>
                    <a:lnTo>
                      <a:pt x="166" y="6"/>
                    </a:lnTo>
                    <a:lnTo>
                      <a:pt x="166" y="6"/>
                    </a:lnTo>
                    <a:lnTo>
                      <a:pt x="164" y="6"/>
                    </a:lnTo>
                    <a:lnTo>
                      <a:pt x="162" y="6"/>
                    </a:lnTo>
                    <a:lnTo>
                      <a:pt x="162" y="8"/>
                    </a:lnTo>
                    <a:lnTo>
                      <a:pt x="160" y="8"/>
                    </a:lnTo>
                    <a:lnTo>
                      <a:pt x="160" y="8"/>
                    </a:lnTo>
                    <a:lnTo>
                      <a:pt x="154" y="12"/>
                    </a:lnTo>
                    <a:lnTo>
                      <a:pt x="148" y="14"/>
                    </a:lnTo>
                    <a:lnTo>
                      <a:pt x="148" y="14"/>
                    </a:lnTo>
                    <a:lnTo>
                      <a:pt x="144" y="16"/>
                    </a:lnTo>
                    <a:lnTo>
                      <a:pt x="142" y="18"/>
                    </a:lnTo>
                    <a:lnTo>
                      <a:pt x="140" y="22"/>
                    </a:lnTo>
                    <a:lnTo>
                      <a:pt x="136" y="24"/>
                    </a:lnTo>
                    <a:lnTo>
                      <a:pt x="136" y="24"/>
                    </a:lnTo>
                    <a:lnTo>
                      <a:pt x="134" y="26"/>
                    </a:lnTo>
                    <a:lnTo>
                      <a:pt x="134" y="32"/>
                    </a:lnTo>
                    <a:lnTo>
                      <a:pt x="132" y="36"/>
                    </a:lnTo>
                    <a:lnTo>
                      <a:pt x="132" y="38"/>
                    </a:lnTo>
                    <a:lnTo>
                      <a:pt x="132" y="38"/>
                    </a:lnTo>
                    <a:lnTo>
                      <a:pt x="126" y="40"/>
                    </a:lnTo>
                    <a:lnTo>
                      <a:pt x="124" y="40"/>
                    </a:lnTo>
                    <a:lnTo>
                      <a:pt x="124" y="40"/>
                    </a:lnTo>
                    <a:lnTo>
                      <a:pt x="124" y="60"/>
                    </a:lnTo>
                    <a:lnTo>
                      <a:pt x="124" y="60"/>
                    </a:lnTo>
                    <a:lnTo>
                      <a:pt x="122" y="62"/>
                    </a:lnTo>
                    <a:lnTo>
                      <a:pt x="120" y="62"/>
                    </a:lnTo>
                    <a:lnTo>
                      <a:pt x="116" y="60"/>
                    </a:lnTo>
                    <a:lnTo>
                      <a:pt x="116" y="60"/>
                    </a:lnTo>
                    <a:lnTo>
                      <a:pt x="112" y="60"/>
                    </a:lnTo>
                    <a:lnTo>
                      <a:pt x="108" y="60"/>
                    </a:lnTo>
                    <a:lnTo>
                      <a:pt x="106" y="60"/>
                    </a:lnTo>
                    <a:lnTo>
                      <a:pt x="106" y="60"/>
                    </a:lnTo>
                    <a:lnTo>
                      <a:pt x="104" y="58"/>
                    </a:lnTo>
                    <a:lnTo>
                      <a:pt x="102" y="58"/>
                    </a:lnTo>
                    <a:lnTo>
                      <a:pt x="100" y="60"/>
                    </a:lnTo>
                    <a:lnTo>
                      <a:pt x="98" y="60"/>
                    </a:lnTo>
                    <a:lnTo>
                      <a:pt x="98" y="60"/>
                    </a:lnTo>
                    <a:lnTo>
                      <a:pt x="96" y="56"/>
                    </a:lnTo>
                    <a:lnTo>
                      <a:pt x="92" y="56"/>
                    </a:lnTo>
                    <a:lnTo>
                      <a:pt x="92" y="56"/>
                    </a:lnTo>
                    <a:lnTo>
                      <a:pt x="90" y="58"/>
                    </a:lnTo>
                    <a:lnTo>
                      <a:pt x="88" y="60"/>
                    </a:lnTo>
                    <a:lnTo>
                      <a:pt x="88" y="64"/>
                    </a:lnTo>
                    <a:lnTo>
                      <a:pt x="88" y="64"/>
                    </a:lnTo>
                    <a:lnTo>
                      <a:pt x="86" y="66"/>
                    </a:lnTo>
                    <a:lnTo>
                      <a:pt x="82" y="70"/>
                    </a:lnTo>
                    <a:lnTo>
                      <a:pt x="74" y="74"/>
                    </a:lnTo>
                    <a:lnTo>
                      <a:pt x="74" y="74"/>
                    </a:lnTo>
                    <a:lnTo>
                      <a:pt x="70" y="76"/>
                    </a:lnTo>
                    <a:lnTo>
                      <a:pt x="62" y="80"/>
                    </a:lnTo>
                    <a:lnTo>
                      <a:pt x="62" y="80"/>
                    </a:lnTo>
                    <a:lnTo>
                      <a:pt x="60" y="80"/>
                    </a:lnTo>
                    <a:lnTo>
                      <a:pt x="58" y="82"/>
                    </a:lnTo>
                    <a:lnTo>
                      <a:pt x="58" y="82"/>
                    </a:lnTo>
                    <a:lnTo>
                      <a:pt x="56" y="82"/>
                    </a:lnTo>
                    <a:lnTo>
                      <a:pt x="56" y="82"/>
                    </a:lnTo>
                    <a:lnTo>
                      <a:pt x="54" y="82"/>
                    </a:lnTo>
                    <a:lnTo>
                      <a:pt x="52" y="80"/>
                    </a:lnTo>
                    <a:lnTo>
                      <a:pt x="52" y="74"/>
                    </a:lnTo>
                    <a:lnTo>
                      <a:pt x="52" y="74"/>
                    </a:lnTo>
                    <a:lnTo>
                      <a:pt x="54" y="70"/>
                    </a:lnTo>
                    <a:lnTo>
                      <a:pt x="52" y="62"/>
                    </a:lnTo>
                    <a:lnTo>
                      <a:pt x="52" y="62"/>
                    </a:lnTo>
                    <a:lnTo>
                      <a:pt x="48" y="58"/>
                    </a:lnTo>
                    <a:lnTo>
                      <a:pt x="46" y="56"/>
                    </a:lnTo>
                    <a:lnTo>
                      <a:pt x="42" y="54"/>
                    </a:lnTo>
                    <a:lnTo>
                      <a:pt x="42" y="5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1" name="Freeform 42"/>
              <p:cNvSpPr>
                <a:spLocks noChangeAspect="1"/>
              </p:cNvSpPr>
              <p:nvPr/>
            </p:nvSpPr>
            <p:spPr bwMode="gray">
              <a:xfrm>
                <a:off x="4863747" y="5246805"/>
                <a:ext cx="54404" cy="49349"/>
              </a:xfrm>
              <a:custGeom>
                <a:avLst/>
                <a:gdLst/>
                <a:ahLst/>
                <a:cxnLst>
                  <a:cxn ang="0">
                    <a:pos x="12" y="0"/>
                  </a:cxn>
                  <a:cxn ang="0">
                    <a:pos x="26" y="2"/>
                  </a:cxn>
                  <a:cxn ang="0">
                    <a:pos x="32" y="14"/>
                  </a:cxn>
                  <a:cxn ang="0">
                    <a:pos x="24" y="22"/>
                  </a:cxn>
                  <a:cxn ang="0">
                    <a:pos x="8" y="30"/>
                  </a:cxn>
                  <a:cxn ang="0">
                    <a:pos x="0" y="20"/>
                  </a:cxn>
                  <a:cxn ang="0">
                    <a:pos x="4" y="8"/>
                  </a:cxn>
                  <a:cxn ang="0">
                    <a:pos x="12" y="0"/>
                  </a:cxn>
                </a:cxnLst>
                <a:rect l="0" t="0" r="r" b="b"/>
                <a:pathLst>
                  <a:path w="32" h="30">
                    <a:moveTo>
                      <a:pt x="12" y="0"/>
                    </a:moveTo>
                    <a:lnTo>
                      <a:pt x="26" y="2"/>
                    </a:lnTo>
                    <a:lnTo>
                      <a:pt x="32" y="14"/>
                    </a:lnTo>
                    <a:lnTo>
                      <a:pt x="24" y="22"/>
                    </a:lnTo>
                    <a:lnTo>
                      <a:pt x="8" y="30"/>
                    </a:lnTo>
                    <a:lnTo>
                      <a:pt x="0" y="20"/>
                    </a:lnTo>
                    <a:lnTo>
                      <a:pt x="4" y="8"/>
                    </a:lnTo>
                    <a:lnTo>
                      <a:pt x="1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2" name="Freeform 43"/>
              <p:cNvSpPr>
                <a:spLocks noChangeAspect="1"/>
              </p:cNvSpPr>
              <p:nvPr/>
            </p:nvSpPr>
            <p:spPr bwMode="gray">
              <a:xfrm>
                <a:off x="5234372" y="4108486"/>
                <a:ext cx="221015" cy="342153"/>
              </a:xfrm>
              <a:custGeom>
                <a:avLst/>
                <a:gdLst/>
                <a:ahLst/>
                <a:cxnLst>
                  <a:cxn ang="0">
                    <a:pos x="14" y="202"/>
                  </a:cxn>
                  <a:cxn ang="0">
                    <a:pos x="14" y="200"/>
                  </a:cxn>
                  <a:cxn ang="0">
                    <a:pos x="18" y="196"/>
                  </a:cxn>
                  <a:cxn ang="0">
                    <a:pos x="24" y="188"/>
                  </a:cxn>
                  <a:cxn ang="0">
                    <a:pos x="26" y="184"/>
                  </a:cxn>
                  <a:cxn ang="0">
                    <a:pos x="38" y="172"/>
                  </a:cxn>
                  <a:cxn ang="0">
                    <a:pos x="54" y="164"/>
                  </a:cxn>
                  <a:cxn ang="0">
                    <a:pos x="54" y="160"/>
                  </a:cxn>
                  <a:cxn ang="0">
                    <a:pos x="68" y="148"/>
                  </a:cxn>
                  <a:cxn ang="0">
                    <a:pos x="68" y="144"/>
                  </a:cxn>
                  <a:cxn ang="0">
                    <a:pos x="72" y="144"/>
                  </a:cxn>
                  <a:cxn ang="0">
                    <a:pos x="78" y="134"/>
                  </a:cxn>
                  <a:cxn ang="0">
                    <a:pos x="80" y="130"/>
                  </a:cxn>
                  <a:cxn ang="0">
                    <a:pos x="88" y="126"/>
                  </a:cxn>
                  <a:cxn ang="0">
                    <a:pos x="92" y="112"/>
                  </a:cxn>
                  <a:cxn ang="0">
                    <a:pos x="96" y="106"/>
                  </a:cxn>
                  <a:cxn ang="0">
                    <a:pos x="98" y="98"/>
                  </a:cxn>
                  <a:cxn ang="0">
                    <a:pos x="102" y="88"/>
                  </a:cxn>
                  <a:cxn ang="0">
                    <a:pos x="106" y="78"/>
                  </a:cxn>
                  <a:cxn ang="0">
                    <a:pos x="110" y="68"/>
                  </a:cxn>
                  <a:cxn ang="0">
                    <a:pos x="112" y="62"/>
                  </a:cxn>
                  <a:cxn ang="0">
                    <a:pos x="120" y="48"/>
                  </a:cxn>
                  <a:cxn ang="0">
                    <a:pos x="122" y="42"/>
                  </a:cxn>
                  <a:cxn ang="0">
                    <a:pos x="126" y="26"/>
                  </a:cxn>
                  <a:cxn ang="0">
                    <a:pos x="130" y="2"/>
                  </a:cxn>
                  <a:cxn ang="0">
                    <a:pos x="124" y="0"/>
                  </a:cxn>
                  <a:cxn ang="0">
                    <a:pos x="122" y="2"/>
                  </a:cxn>
                  <a:cxn ang="0">
                    <a:pos x="100" y="8"/>
                  </a:cxn>
                  <a:cxn ang="0">
                    <a:pos x="90" y="10"/>
                  </a:cxn>
                  <a:cxn ang="0">
                    <a:pos x="80" y="12"/>
                  </a:cxn>
                  <a:cxn ang="0">
                    <a:pos x="78" y="16"/>
                  </a:cxn>
                  <a:cxn ang="0">
                    <a:pos x="68" y="20"/>
                  </a:cxn>
                  <a:cxn ang="0">
                    <a:pos x="62" y="16"/>
                  </a:cxn>
                  <a:cxn ang="0">
                    <a:pos x="50" y="18"/>
                  </a:cxn>
                  <a:cxn ang="0">
                    <a:pos x="38" y="18"/>
                  </a:cxn>
                  <a:cxn ang="0">
                    <a:pos x="30" y="14"/>
                  </a:cxn>
                  <a:cxn ang="0">
                    <a:pos x="14" y="20"/>
                  </a:cxn>
                  <a:cxn ang="0">
                    <a:pos x="20" y="26"/>
                  </a:cxn>
                  <a:cxn ang="0">
                    <a:pos x="24" y="34"/>
                  </a:cxn>
                  <a:cxn ang="0">
                    <a:pos x="34" y="42"/>
                  </a:cxn>
                  <a:cxn ang="0">
                    <a:pos x="52" y="112"/>
                  </a:cxn>
                  <a:cxn ang="0">
                    <a:pos x="18" y="116"/>
                  </a:cxn>
                  <a:cxn ang="0">
                    <a:pos x="0" y="142"/>
                  </a:cxn>
                  <a:cxn ang="0">
                    <a:pos x="12" y="208"/>
                  </a:cxn>
                </a:cxnLst>
                <a:rect l="0" t="0" r="r" b="b"/>
                <a:pathLst>
                  <a:path w="130" h="208">
                    <a:moveTo>
                      <a:pt x="12" y="208"/>
                    </a:moveTo>
                    <a:lnTo>
                      <a:pt x="12" y="208"/>
                    </a:lnTo>
                    <a:lnTo>
                      <a:pt x="14" y="202"/>
                    </a:lnTo>
                    <a:lnTo>
                      <a:pt x="14" y="202"/>
                    </a:lnTo>
                    <a:lnTo>
                      <a:pt x="14" y="202"/>
                    </a:lnTo>
                    <a:lnTo>
                      <a:pt x="14" y="200"/>
                    </a:lnTo>
                    <a:lnTo>
                      <a:pt x="14" y="200"/>
                    </a:lnTo>
                    <a:lnTo>
                      <a:pt x="18" y="196"/>
                    </a:lnTo>
                    <a:lnTo>
                      <a:pt x="18" y="196"/>
                    </a:lnTo>
                    <a:lnTo>
                      <a:pt x="18" y="192"/>
                    </a:lnTo>
                    <a:lnTo>
                      <a:pt x="18" y="192"/>
                    </a:lnTo>
                    <a:lnTo>
                      <a:pt x="24" y="188"/>
                    </a:lnTo>
                    <a:lnTo>
                      <a:pt x="24" y="188"/>
                    </a:lnTo>
                    <a:lnTo>
                      <a:pt x="26" y="184"/>
                    </a:lnTo>
                    <a:lnTo>
                      <a:pt x="26" y="184"/>
                    </a:lnTo>
                    <a:lnTo>
                      <a:pt x="32" y="180"/>
                    </a:lnTo>
                    <a:lnTo>
                      <a:pt x="32" y="180"/>
                    </a:lnTo>
                    <a:lnTo>
                      <a:pt x="38" y="172"/>
                    </a:lnTo>
                    <a:lnTo>
                      <a:pt x="38" y="172"/>
                    </a:lnTo>
                    <a:lnTo>
                      <a:pt x="46" y="168"/>
                    </a:lnTo>
                    <a:lnTo>
                      <a:pt x="54" y="164"/>
                    </a:lnTo>
                    <a:lnTo>
                      <a:pt x="54" y="164"/>
                    </a:lnTo>
                    <a:lnTo>
                      <a:pt x="54" y="160"/>
                    </a:lnTo>
                    <a:lnTo>
                      <a:pt x="54" y="160"/>
                    </a:lnTo>
                    <a:lnTo>
                      <a:pt x="62" y="154"/>
                    </a:lnTo>
                    <a:lnTo>
                      <a:pt x="64" y="150"/>
                    </a:lnTo>
                    <a:lnTo>
                      <a:pt x="68" y="148"/>
                    </a:lnTo>
                    <a:lnTo>
                      <a:pt x="68" y="148"/>
                    </a:lnTo>
                    <a:lnTo>
                      <a:pt x="68" y="146"/>
                    </a:lnTo>
                    <a:lnTo>
                      <a:pt x="68" y="144"/>
                    </a:lnTo>
                    <a:lnTo>
                      <a:pt x="68" y="144"/>
                    </a:lnTo>
                    <a:lnTo>
                      <a:pt x="72" y="144"/>
                    </a:lnTo>
                    <a:lnTo>
                      <a:pt x="72" y="144"/>
                    </a:lnTo>
                    <a:lnTo>
                      <a:pt x="78" y="138"/>
                    </a:lnTo>
                    <a:lnTo>
                      <a:pt x="78" y="138"/>
                    </a:lnTo>
                    <a:lnTo>
                      <a:pt x="78" y="134"/>
                    </a:lnTo>
                    <a:lnTo>
                      <a:pt x="78" y="130"/>
                    </a:lnTo>
                    <a:lnTo>
                      <a:pt x="80" y="130"/>
                    </a:lnTo>
                    <a:lnTo>
                      <a:pt x="80" y="130"/>
                    </a:lnTo>
                    <a:lnTo>
                      <a:pt x="84" y="128"/>
                    </a:lnTo>
                    <a:lnTo>
                      <a:pt x="88" y="126"/>
                    </a:lnTo>
                    <a:lnTo>
                      <a:pt x="88" y="126"/>
                    </a:lnTo>
                    <a:lnTo>
                      <a:pt x="88" y="120"/>
                    </a:lnTo>
                    <a:lnTo>
                      <a:pt x="92" y="112"/>
                    </a:lnTo>
                    <a:lnTo>
                      <a:pt x="92" y="112"/>
                    </a:lnTo>
                    <a:lnTo>
                      <a:pt x="96" y="110"/>
                    </a:lnTo>
                    <a:lnTo>
                      <a:pt x="96" y="110"/>
                    </a:lnTo>
                    <a:lnTo>
                      <a:pt x="96" y="106"/>
                    </a:lnTo>
                    <a:lnTo>
                      <a:pt x="96" y="102"/>
                    </a:lnTo>
                    <a:lnTo>
                      <a:pt x="96" y="102"/>
                    </a:lnTo>
                    <a:lnTo>
                      <a:pt x="98" y="98"/>
                    </a:lnTo>
                    <a:lnTo>
                      <a:pt x="102" y="94"/>
                    </a:lnTo>
                    <a:lnTo>
                      <a:pt x="102" y="94"/>
                    </a:lnTo>
                    <a:lnTo>
                      <a:pt x="102" y="88"/>
                    </a:lnTo>
                    <a:lnTo>
                      <a:pt x="102" y="88"/>
                    </a:lnTo>
                    <a:lnTo>
                      <a:pt x="106" y="78"/>
                    </a:lnTo>
                    <a:lnTo>
                      <a:pt x="106" y="78"/>
                    </a:lnTo>
                    <a:lnTo>
                      <a:pt x="108" y="68"/>
                    </a:lnTo>
                    <a:lnTo>
                      <a:pt x="110" y="68"/>
                    </a:lnTo>
                    <a:lnTo>
                      <a:pt x="110" y="68"/>
                    </a:lnTo>
                    <a:lnTo>
                      <a:pt x="110" y="64"/>
                    </a:lnTo>
                    <a:lnTo>
                      <a:pt x="112" y="62"/>
                    </a:lnTo>
                    <a:lnTo>
                      <a:pt x="112" y="62"/>
                    </a:lnTo>
                    <a:lnTo>
                      <a:pt x="120" y="52"/>
                    </a:lnTo>
                    <a:lnTo>
                      <a:pt x="120" y="52"/>
                    </a:lnTo>
                    <a:lnTo>
                      <a:pt x="120" y="48"/>
                    </a:lnTo>
                    <a:lnTo>
                      <a:pt x="120" y="44"/>
                    </a:lnTo>
                    <a:lnTo>
                      <a:pt x="122" y="42"/>
                    </a:lnTo>
                    <a:lnTo>
                      <a:pt x="122" y="42"/>
                    </a:lnTo>
                    <a:lnTo>
                      <a:pt x="122" y="38"/>
                    </a:lnTo>
                    <a:lnTo>
                      <a:pt x="122" y="38"/>
                    </a:lnTo>
                    <a:lnTo>
                      <a:pt x="126" y="26"/>
                    </a:lnTo>
                    <a:lnTo>
                      <a:pt x="126" y="26"/>
                    </a:lnTo>
                    <a:lnTo>
                      <a:pt x="128" y="14"/>
                    </a:lnTo>
                    <a:lnTo>
                      <a:pt x="130" y="2"/>
                    </a:lnTo>
                    <a:lnTo>
                      <a:pt x="130" y="2"/>
                    </a:lnTo>
                    <a:lnTo>
                      <a:pt x="126" y="0"/>
                    </a:lnTo>
                    <a:lnTo>
                      <a:pt x="124" y="0"/>
                    </a:lnTo>
                    <a:lnTo>
                      <a:pt x="124" y="0"/>
                    </a:lnTo>
                    <a:lnTo>
                      <a:pt x="122" y="2"/>
                    </a:lnTo>
                    <a:lnTo>
                      <a:pt x="122" y="2"/>
                    </a:lnTo>
                    <a:lnTo>
                      <a:pt x="108" y="8"/>
                    </a:lnTo>
                    <a:lnTo>
                      <a:pt x="108" y="8"/>
                    </a:lnTo>
                    <a:lnTo>
                      <a:pt x="100" y="8"/>
                    </a:lnTo>
                    <a:lnTo>
                      <a:pt x="94" y="8"/>
                    </a:lnTo>
                    <a:lnTo>
                      <a:pt x="94" y="8"/>
                    </a:lnTo>
                    <a:lnTo>
                      <a:pt x="90" y="10"/>
                    </a:lnTo>
                    <a:lnTo>
                      <a:pt x="90" y="10"/>
                    </a:lnTo>
                    <a:lnTo>
                      <a:pt x="84" y="12"/>
                    </a:lnTo>
                    <a:lnTo>
                      <a:pt x="80" y="12"/>
                    </a:lnTo>
                    <a:lnTo>
                      <a:pt x="80" y="12"/>
                    </a:lnTo>
                    <a:lnTo>
                      <a:pt x="78" y="16"/>
                    </a:lnTo>
                    <a:lnTo>
                      <a:pt x="78" y="16"/>
                    </a:lnTo>
                    <a:lnTo>
                      <a:pt x="70" y="18"/>
                    </a:lnTo>
                    <a:lnTo>
                      <a:pt x="68" y="20"/>
                    </a:lnTo>
                    <a:lnTo>
                      <a:pt x="68" y="20"/>
                    </a:lnTo>
                    <a:lnTo>
                      <a:pt x="66" y="20"/>
                    </a:lnTo>
                    <a:lnTo>
                      <a:pt x="64" y="18"/>
                    </a:lnTo>
                    <a:lnTo>
                      <a:pt x="62" y="16"/>
                    </a:lnTo>
                    <a:lnTo>
                      <a:pt x="62" y="16"/>
                    </a:lnTo>
                    <a:lnTo>
                      <a:pt x="56" y="16"/>
                    </a:lnTo>
                    <a:lnTo>
                      <a:pt x="50" y="18"/>
                    </a:lnTo>
                    <a:lnTo>
                      <a:pt x="38" y="20"/>
                    </a:lnTo>
                    <a:lnTo>
                      <a:pt x="38" y="20"/>
                    </a:lnTo>
                    <a:lnTo>
                      <a:pt x="38" y="18"/>
                    </a:lnTo>
                    <a:lnTo>
                      <a:pt x="38" y="18"/>
                    </a:lnTo>
                    <a:lnTo>
                      <a:pt x="34" y="16"/>
                    </a:lnTo>
                    <a:lnTo>
                      <a:pt x="30" y="14"/>
                    </a:lnTo>
                    <a:lnTo>
                      <a:pt x="24" y="6"/>
                    </a:lnTo>
                    <a:lnTo>
                      <a:pt x="18" y="14"/>
                    </a:lnTo>
                    <a:lnTo>
                      <a:pt x="14" y="20"/>
                    </a:lnTo>
                    <a:lnTo>
                      <a:pt x="14" y="20"/>
                    </a:lnTo>
                    <a:lnTo>
                      <a:pt x="20" y="26"/>
                    </a:lnTo>
                    <a:lnTo>
                      <a:pt x="20" y="26"/>
                    </a:lnTo>
                    <a:lnTo>
                      <a:pt x="22" y="30"/>
                    </a:lnTo>
                    <a:lnTo>
                      <a:pt x="24" y="34"/>
                    </a:lnTo>
                    <a:lnTo>
                      <a:pt x="24" y="34"/>
                    </a:lnTo>
                    <a:lnTo>
                      <a:pt x="28" y="38"/>
                    </a:lnTo>
                    <a:lnTo>
                      <a:pt x="34" y="42"/>
                    </a:lnTo>
                    <a:lnTo>
                      <a:pt x="34" y="42"/>
                    </a:lnTo>
                    <a:lnTo>
                      <a:pt x="70" y="58"/>
                    </a:lnTo>
                    <a:lnTo>
                      <a:pt x="88" y="58"/>
                    </a:lnTo>
                    <a:lnTo>
                      <a:pt x="52" y="112"/>
                    </a:lnTo>
                    <a:lnTo>
                      <a:pt x="36" y="112"/>
                    </a:lnTo>
                    <a:lnTo>
                      <a:pt x="30" y="116"/>
                    </a:lnTo>
                    <a:lnTo>
                      <a:pt x="18" y="116"/>
                    </a:lnTo>
                    <a:lnTo>
                      <a:pt x="14" y="120"/>
                    </a:lnTo>
                    <a:lnTo>
                      <a:pt x="6" y="136"/>
                    </a:lnTo>
                    <a:lnTo>
                      <a:pt x="0" y="142"/>
                    </a:lnTo>
                    <a:lnTo>
                      <a:pt x="0" y="198"/>
                    </a:lnTo>
                    <a:lnTo>
                      <a:pt x="10" y="208"/>
                    </a:lnTo>
                    <a:lnTo>
                      <a:pt x="12" y="20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3" name="Freeform 47"/>
              <p:cNvSpPr>
                <a:spLocks noChangeAspect="1"/>
              </p:cNvSpPr>
              <p:nvPr/>
            </p:nvSpPr>
            <p:spPr bwMode="gray">
              <a:xfrm>
                <a:off x="3977986" y="4144676"/>
                <a:ext cx="78205" cy="95409"/>
              </a:xfrm>
              <a:custGeom>
                <a:avLst/>
                <a:gdLst/>
                <a:ahLst/>
                <a:cxnLst>
                  <a:cxn ang="0">
                    <a:pos x="2" y="18"/>
                  </a:cxn>
                  <a:cxn ang="0">
                    <a:pos x="2" y="26"/>
                  </a:cxn>
                  <a:cxn ang="0">
                    <a:pos x="6" y="34"/>
                  </a:cxn>
                  <a:cxn ang="0">
                    <a:pos x="2" y="34"/>
                  </a:cxn>
                  <a:cxn ang="0">
                    <a:pos x="4" y="36"/>
                  </a:cxn>
                  <a:cxn ang="0">
                    <a:pos x="8" y="38"/>
                  </a:cxn>
                  <a:cxn ang="0">
                    <a:pos x="8" y="48"/>
                  </a:cxn>
                  <a:cxn ang="0">
                    <a:pos x="10" y="48"/>
                  </a:cxn>
                  <a:cxn ang="0">
                    <a:pos x="10" y="46"/>
                  </a:cxn>
                  <a:cxn ang="0">
                    <a:pos x="12" y="46"/>
                  </a:cxn>
                  <a:cxn ang="0">
                    <a:pos x="16" y="54"/>
                  </a:cxn>
                  <a:cxn ang="0">
                    <a:pos x="18" y="56"/>
                  </a:cxn>
                  <a:cxn ang="0">
                    <a:pos x="26" y="58"/>
                  </a:cxn>
                  <a:cxn ang="0">
                    <a:pos x="30" y="48"/>
                  </a:cxn>
                  <a:cxn ang="0">
                    <a:pos x="38" y="40"/>
                  </a:cxn>
                  <a:cxn ang="0">
                    <a:pos x="38" y="36"/>
                  </a:cxn>
                  <a:cxn ang="0">
                    <a:pos x="42" y="34"/>
                  </a:cxn>
                  <a:cxn ang="0">
                    <a:pos x="44" y="32"/>
                  </a:cxn>
                  <a:cxn ang="0">
                    <a:pos x="40" y="30"/>
                  </a:cxn>
                  <a:cxn ang="0">
                    <a:pos x="40" y="26"/>
                  </a:cxn>
                  <a:cxn ang="0">
                    <a:pos x="42" y="22"/>
                  </a:cxn>
                  <a:cxn ang="0">
                    <a:pos x="38" y="16"/>
                  </a:cxn>
                  <a:cxn ang="0">
                    <a:pos x="36" y="12"/>
                  </a:cxn>
                  <a:cxn ang="0">
                    <a:pos x="34" y="10"/>
                  </a:cxn>
                  <a:cxn ang="0">
                    <a:pos x="34" y="4"/>
                  </a:cxn>
                  <a:cxn ang="0">
                    <a:pos x="30" y="2"/>
                  </a:cxn>
                  <a:cxn ang="0">
                    <a:pos x="26" y="2"/>
                  </a:cxn>
                  <a:cxn ang="0">
                    <a:pos x="22" y="2"/>
                  </a:cxn>
                  <a:cxn ang="0">
                    <a:pos x="14" y="0"/>
                  </a:cxn>
                  <a:cxn ang="0">
                    <a:pos x="12" y="4"/>
                  </a:cxn>
                  <a:cxn ang="0">
                    <a:pos x="10" y="12"/>
                  </a:cxn>
                  <a:cxn ang="0">
                    <a:pos x="8" y="14"/>
                  </a:cxn>
                  <a:cxn ang="0">
                    <a:pos x="6" y="18"/>
                  </a:cxn>
                  <a:cxn ang="0">
                    <a:pos x="4" y="20"/>
                  </a:cxn>
                  <a:cxn ang="0">
                    <a:pos x="2" y="18"/>
                  </a:cxn>
                </a:cxnLst>
                <a:rect l="0" t="0" r="r" b="b"/>
                <a:pathLst>
                  <a:path w="46" h="58">
                    <a:moveTo>
                      <a:pt x="2" y="18"/>
                    </a:moveTo>
                    <a:lnTo>
                      <a:pt x="2" y="18"/>
                    </a:lnTo>
                    <a:lnTo>
                      <a:pt x="0" y="22"/>
                    </a:lnTo>
                    <a:lnTo>
                      <a:pt x="2" y="26"/>
                    </a:lnTo>
                    <a:lnTo>
                      <a:pt x="6" y="34"/>
                    </a:lnTo>
                    <a:lnTo>
                      <a:pt x="6" y="34"/>
                    </a:lnTo>
                    <a:lnTo>
                      <a:pt x="4" y="34"/>
                    </a:lnTo>
                    <a:lnTo>
                      <a:pt x="2" y="34"/>
                    </a:lnTo>
                    <a:lnTo>
                      <a:pt x="4" y="36"/>
                    </a:lnTo>
                    <a:lnTo>
                      <a:pt x="4" y="36"/>
                    </a:lnTo>
                    <a:lnTo>
                      <a:pt x="8" y="38"/>
                    </a:lnTo>
                    <a:lnTo>
                      <a:pt x="8" y="38"/>
                    </a:lnTo>
                    <a:lnTo>
                      <a:pt x="8" y="44"/>
                    </a:lnTo>
                    <a:lnTo>
                      <a:pt x="8" y="48"/>
                    </a:lnTo>
                    <a:lnTo>
                      <a:pt x="8" y="48"/>
                    </a:lnTo>
                    <a:lnTo>
                      <a:pt x="10" y="48"/>
                    </a:lnTo>
                    <a:lnTo>
                      <a:pt x="10" y="48"/>
                    </a:lnTo>
                    <a:lnTo>
                      <a:pt x="10" y="46"/>
                    </a:lnTo>
                    <a:lnTo>
                      <a:pt x="12" y="46"/>
                    </a:lnTo>
                    <a:lnTo>
                      <a:pt x="12" y="46"/>
                    </a:lnTo>
                    <a:lnTo>
                      <a:pt x="14" y="52"/>
                    </a:lnTo>
                    <a:lnTo>
                      <a:pt x="16" y="54"/>
                    </a:lnTo>
                    <a:lnTo>
                      <a:pt x="18" y="56"/>
                    </a:lnTo>
                    <a:lnTo>
                      <a:pt x="18" y="56"/>
                    </a:lnTo>
                    <a:lnTo>
                      <a:pt x="26" y="58"/>
                    </a:lnTo>
                    <a:lnTo>
                      <a:pt x="26" y="58"/>
                    </a:lnTo>
                    <a:lnTo>
                      <a:pt x="28" y="54"/>
                    </a:lnTo>
                    <a:lnTo>
                      <a:pt x="30" y="48"/>
                    </a:lnTo>
                    <a:lnTo>
                      <a:pt x="30" y="48"/>
                    </a:lnTo>
                    <a:lnTo>
                      <a:pt x="38" y="40"/>
                    </a:lnTo>
                    <a:lnTo>
                      <a:pt x="38" y="40"/>
                    </a:lnTo>
                    <a:lnTo>
                      <a:pt x="38" y="36"/>
                    </a:lnTo>
                    <a:lnTo>
                      <a:pt x="42" y="34"/>
                    </a:lnTo>
                    <a:lnTo>
                      <a:pt x="42" y="34"/>
                    </a:lnTo>
                    <a:lnTo>
                      <a:pt x="44" y="34"/>
                    </a:lnTo>
                    <a:lnTo>
                      <a:pt x="44" y="32"/>
                    </a:lnTo>
                    <a:lnTo>
                      <a:pt x="46" y="30"/>
                    </a:lnTo>
                    <a:lnTo>
                      <a:pt x="40" y="30"/>
                    </a:lnTo>
                    <a:lnTo>
                      <a:pt x="40" y="30"/>
                    </a:lnTo>
                    <a:lnTo>
                      <a:pt x="40" y="26"/>
                    </a:lnTo>
                    <a:lnTo>
                      <a:pt x="42" y="22"/>
                    </a:lnTo>
                    <a:lnTo>
                      <a:pt x="42" y="22"/>
                    </a:lnTo>
                    <a:lnTo>
                      <a:pt x="38" y="16"/>
                    </a:lnTo>
                    <a:lnTo>
                      <a:pt x="38" y="16"/>
                    </a:lnTo>
                    <a:lnTo>
                      <a:pt x="38" y="14"/>
                    </a:lnTo>
                    <a:lnTo>
                      <a:pt x="36" y="12"/>
                    </a:lnTo>
                    <a:lnTo>
                      <a:pt x="34" y="12"/>
                    </a:lnTo>
                    <a:lnTo>
                      <a:pt x="34" y="10"/>
                    </a:lnTo>
                    <a:lnTo>
                      <a:pt x="34" y="10"/>
                    </a:lnTo>
                    <a:lnTo>
                      <a:pt x="34" y="4"/>
                    </a:lnTo>
                    <a:lnTo>
                      <a:pt x="30" y="2"/>
                    </a:lnTo>
                    <a:lnTo>
                      <a:pt x="30" y="2"/>
                    </a:lnTo>
                    <a:lnTo>
                      <a:pt x="28" y="2"/>
                    </a:lnTo>
                    <a:lnTo>
                      <a:pt x="26" y="2"/>
                    </a:lnTo>
                    <a:lnTo>
                      <a:pt x="22" y="2"/>
                    </a:lnTo>
                    <a:lnTo>
                      <a:pt x="22" y="2"/>
                    </a:lnTo>
                    <a:lnTo>
                      <a:pt x="16" y="0"/>
                    </a:lnTo>
                    <a:lnTo>
                      <a:pt x="14" y="0"/>
                    </a:lnTo>
                    <a:lnTo>
                      <a:pt x="12" y="4"/>
                    </a:lnTo>
                    <a:lnTo>
                      <a:pt x="12" y="4"/>
                    </a:lnTo>
                    <a:lnTo>
                      <a:pt x="12" y="10"/>
                    </a:lnTo>
                    <a:lnTo>
                      <a:pt x="10" y="12"/>
                    </a:lnTo>
                    <a:lnTo>
                      <a:pt x="8" y="14"/>
                    </a:lnTo>
                    <a:lnTo>
                      <a:pt x="8" y="14"/>
                    </a:lnTo>
                    <a:lnTo>
                      <a:pt x="6" y="16"/>
                    </a:lnTo>
                    <a:lnTo>
                      <a:pt x="6" y="18"/>
                    </a:lnTo>
                    <a:lnTo>
                      <a:pt x="4" y="20"/>
                    </a:lnTo>
                    <a:lnTo>
                      <a:pt x="4" y="20"/>
                    </a:lnTo>
                    <a:lnTo>
                      <a:pt x="2" y="18"/>
                    </a:lnTo>
                    <a:lnTo>
                      <a:pt x="2" y="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4" name="Freeform 48"/>
              <p:cNvSpPr>
                <a:spLocks noChangeAspect="1"/>
              </p:cNvSpPr>
              <p:nvPr/>
            </p:nvSpPr>
            <p:spPr bwMode="gray">
              <a:xfrm>
                <a:off x="3889581" y="3957149"/>
                <a:ext cx="132609" cy="128307"/>
              </a:xfrm>
              <a:custGeom>
                <a:avLst/>
                <a:gdLst/>
                <a:ahLst/>
                <a:cxnLst>
                  <a:cxn ang="0">
                    <a:pos x="14" y="8"/>
                  </a:cxn>
                  <a:cxn ang="0">
                    <a:pos x="12" y="16"/>
                  </a:cxn>
                  <a:cxn ang="0">
                    <a:pos x="12" y="26"/>
                  </a:cxn>
                  <a:cxn ang="0">
                    <a:pos x="8" y="34"/>
                  </a:cxn>
                  <a:cxn ang="0">
                    <a:pos x="4" y="34"/>
                  </a:cxn>
                  <a:cxn ang="0">
                    <a:pos x="4" y="38"/>
                  </a:cxn>
                  <a:cxn ang="0">
                    <a:pos x="4" y="40"/>
                  </a:cxn>
                  <a:cxn ang="0">
                    <a:pos x="0" y="40"/>
                  </a:cxn>
                  <a:cxn ang="0">
                    <a:pos x="4" y="44"/>
                  </a:cxn>
                  <a:cxn ang="0">
                    <a:pos x="6" y="56"/>
                  </a:cxn>
                  <a:cxn ang="0">
                    <a:pos x="10" y="58"/>
                  </a:cxn>
                  <a:cxn ang="0">
                    <a:pos x="12" y="56"/>
                  </a:cxn>
                  <a:cxn ang="0">
                    <a:pos x="16" y="56"/>
                  </a:cxn>
                  <a:cxn ang="0">
                    <a:pos x="22" y="56"/>
                  </a:cxn>
                  <a:cxn ang="0">
                    <a:pos x="24" y="54"/>
                  </a:cxn>
                  <a:cxn ang="0">
                    <a:pos x="26" y="54"/>
                  </a:cxn>
                  <a:cxn ang="0">
                    <a:pos x="32" y="56"/>
                  </a:cxn>
                  <a:cxn ang="0">
                    <a:pos x="38" y="54"/>
                  </a:cxn>
                  <a:cxn ang="0">
                    <a:pos x="48" y="54"/>
                  </a:cxn>
                  <a:cxn ang="0">
                    <a:pos x="52" y="54"/>
                  </a:cxn>
                  <a:cxn ang="0">
                    <a:pos x="54" y="56"/>
                  </a:cxn>
                  <a:cxn ang="0">
                    <a:pos x="48" y="62"/>
                  </a:cxn>
                  <a:cxn ang="0">
                    <a:pos x="26" y="64"/>
                  </a:cxn>
                  <a:cxn ang="0">
                    <a:pos x="24" y="64"/>
                  </a:cxn>
                  <a:cxn ang="0">
                    <a:pos x="22" y="66"/>
                  </a:cxn>
                  <a:cxn ang="0">
                    <a:pos x="10" y="68"/>
                  </a:cxn>
                  <a:cxn ang="0">
                    <a:pos x="10" y="70"/>
                  </a:cxn>
                  <a:cxn ang="0">
                    <a:pos x="12" y="70"/>
                  </a:cxn>
                  <a:cxn ang="0">
                    <a:pos x="10" y="74"/>
                  </a:cxn>
                  <a:cxn ang="0">
                    <a:pos x="20" y="76"/>
                  </a:cxn>
                  <a:cxn ang="0">
                    <a:pos x="26" y="72"/>
                  </a:cxn>
                  <a:cxn ang="0">
                    <a:pos x="48" y="72"/>
                  </a:cxn>
                  <a:cxn ang="0">
                    <a:pos x="52" y="74"/>
                  </a:cxn>
                  <a:cxn ang="0">
                    <a:pos x="58" y="74"/>
                  </a:cxn>
                  <a:cxn ang="0">
                    <a:pos x="66" y="76"/>
                  </a:cxn>
                  <a:cxn ang="0">
                    <a:pos x="68" y="76"/>
                  </a:cxn>
                  <a:cxn ang="0">
                    <a:pos x="78" y="74"/>
                  </a:cxn>
                  <a:cxn ang="0">
                    <a:pos x="76" y="64"/>
                  </a:cxn>
                  <a:cxn ang="0">
                    <a:pos x="76" y="62"/>
                  </a:cxn>
                  <a:cxn ang="0">
                    <a:pos x="72" y="58"/>
                  </a:cxn>
                  <a:cxn ang="0">
                    <a:pos x="70" y="54"/>
                  </a:cxn>
                  <a:cxn ang="0">
                    <a:pos x="72" y="48"/>
                  </a:cxn>
                  <a:cxn ang="0">
                    <a:pos x="72" y="42"/>
                  </a:cxn>
                  <a:cxn ang="0">
                    <a:pos x="72" y="40"/>
                  </a:cxn>
                  <a:cxn ang="0">
                    <a:pos x="72" y="34"/>
                  </a:cxn>
                  <a:cxn ang="0">
                    <a:pos x="68" y="28"/>
                  </a:cxn>
                  <a:cxn ang="0">
                    <a:pos x="68" y="28"/>
                  </a:cxn>
                  <a:cxn ang="0">
                    <a:pos x="62" y="28"/>
                  </a:cxn>
                  <a:cxn ang="0">
                    <a:pos x="60" y="26"/>
                  </a:cxn>
                  <a:cxn ang="0">
                    <a:pos x="60" y="18"/>
                  </a:cxn>
                  <a:cxn ang="0">
                    <a:pos x="58" y="16"/>
                  </a:cxn>
                  <a:cxn ang="0">
                    <a:pos x="52" y="16"/>
                  </a:cxn>
                  <a:cxn ang="0">
                    <a:pos x="52" y="14"/>
                  </a:cxn>
                  <a:cxn ang="0">
                    <a:pos x="48" y="6"/>
                  </a:cxn>
                  <a:cxn ang="0">
                    <a:pos x="44" y="2"/>
                  </a:cxn>
                  <a:cxn ang="0">
                    <a:pos x="40" y="2"/>
                  </a:cxn>
                  <a:cxn ang="0">
                    <a:pos x="30" y="2"/>
                  </a:cxn>
                  <a:cxn ang="0">
                    <a:pos x="26" y="0"/>
                  </a:cxn>
                  <a:cxn ang="0">
                    <a:pos x="24" y="2"/>
                  </a:cxn>
                  <a:cxn ang="0">
                    <a:pos x="22" y="4"/>
                  </a:cxn>
                  <a:cxn ang="0">
                    <a:pos x="18" y="6"/>
                  </a:cxn>
                </a:cxnLst>
                <a:rect l="0" t="0" r="r" b="b"/>
                <a:pathLst>
                  <a:path w="78" h="78">
                    <a:moveTo>
                      <a:pt x="14" y="8"/>
                    </a:moveTo>
                    <a:lnTo>
                      <a:pt x="14" y="8"/>
                    </a:lnTo>
                    <a:lnTo>
                      <a:pt x="12" y="16"/>
                    </a:lnTo>
                    <a:lnTo>
                      <a:pt x="12" y="16"/>
                    </a:lnTo>
                    <a:lnTo>
                      <a:pt x="12" y="22"/>
                    </a:lnTo>
                    <a:lnTo>
                      <a:pt x="12" y="26"/>
                    </a:lnTo>
                    <a:lnTo>
                      <a:pt x="8" y="34"/>
                    </a:lnTo>
                    <a:lnTo>
                      <a:pt x="8" y="34"/>
                    </a:lnTo>
                    <a:lnTo>
                      <a:pt x="6" y="34"/>
                    </a:lnTo>
                    <a:lnTo>
                      <a:pt x="4" y="34"/>
                    </a:lnTo>
                    <a:lnTo>
                      <a:pt x="4" y="34"/>
                    </a:lnTo>
                    <a:lnTo>
                      <a:pt x="4" y="38"/>
                    </a:lnTo>
                    <a:lnTo>
                      <a:pt x="4" y="40"/>
                    </a:lnTo>
                    <a:lnTo>
                      <a:pt x="4" y="40"/>
                    </a:lnTo>
                    <a:lnTo>
                      <a:pt x="2" y="40"/>
                    </a:lnTo>
                    <a:lnTo>
                      <a:pt x="0" y="40"/>
                    </a:lnTo>
                    <a:lnTo>
                      <a:pt x="4" y="44"/>
                    </a:lnTo>
                    <a:lnTo>
                      <a:pt x="4" y="44"/>
                    </a:lnTo>
                    <a:lnTo>
                      <a:pt x="6" y="50"/>
                    </a:lnTo>
                    <a:lnTo>
                      <a:pt x="6" y="56"/>
                    </a:lnTo>
                    <a:lnTo>
                      <a:pt x="6" y="56"/>
                    </a:lnTo>
                    <a:lnTo>
                      <a:pt x="10" y="58"/>
                    </a:lnTo>
                    <a:lnTo>
                      <a:pt x="10" y="58"/>
                    </a:lnTo>
                    <a:lnTo>
                      <a:pt x="12" y="56"/>
                    </a:lnTo>
                    <a:lnTo>
                      <a:pt x="16" y="56"/>
                    </a:lnTo>
                    <a:lnTo>
                      <a:pt x="16" y="56"/>
                    </a:lnTo>
                    <a:lnTo>
                      <a:pt x="18" y="56"/>
                    </a:lnTo>
                    <a:lnTo>
                      <a:pt x="22" y="56"/>
                    </a:lnTo>
                    <a:lnTo>
                      <a:pt x="22" y="56"/>
                    </a:lnTo>
                    <a:lnTo>
                      <a:pt x="24" y="54"/>
                    </a:lnTo>
                    <a:lnTo>
                      <a:pt x="26" y="54"/>
                    </a:lnTo>
                    <a:lnTo>
                      <a:pt x="26" y="54"/>
                    </a:lnTo>
                    <a:lnTo>
                      <a:pt x="30" y="56"/>
                    </a:lnTo>
                    <a:lnTo>
                      <a:pt x="32" y="56"/>
                    </a:lnTo>
                    <a:lnTo>
                      <a:pt x="38" y="54"/>
                    </a:lnTo>
                    <a:lnTo>
                      <a:pt x="38" y="54"/>
                    </a:lnTo>
                    <a:lnTo>
                      <a:pt x="48" y="54"/>
                    </a:lnTo>
                    <a:lnTo>
                      <a:pt x="48" y="54"/>
                    </a:lnTo>
                    <a:lnTo>
                      <a:pt x="52" y="54"/>
                    </a:lnTo>
                    <a:lnTo>
                      <a:pt x="52" y="54"/>
                    </a:lnTo>
                    <a:lnTo>
                      <a:pt x="54" y="56"/>
                    </a:lnTo>
                    <a:lnTo>
                      <a:pt x="54" y="56"/>
                    </a:lnTo>
                    <a:lnTo>
                      <a:pt x="52" y="62"/>
                    </a:lnTo>
                    <a:lnTo>
                      <a:pt x="48" y="62"/>
                    </a:lnTo>
                    <a:lnTo>
                      <a:pt x="48" y="62"/>
                    </a:lnTo>
                    <a:lnTo>
                      <a:pt x="26" y="64"/>
                    </a:lnTo>
                    <a:lnTo>
                      <a:pt x="26" y="64"/>
                    </a:lnTo>
                    <a:lnTo>
                      <a:pt x="24" y="64"/>
                    </a:lnTo>
                    <a:lnTo>
                      <a:pt x="22" y="64"/>
                    </a:lnTo>
                    <a:lnTo>
                      <a:pt x="22" y="66"/>
                    </a:lnTo>
                    <a:lnTo>
                      <a:pt x="10" y="68"/>
                    </a:lnTo>
                    <a:lnTo>
                      <a:pt x="10" y="68"/>
                    </a:lnTo>
                    <a:lnTo>
                      <a:pt x="10" y="70"/>
                    </a:lnTo>
                    <a:lnTo>
                      <a:pt x="10" y="70"/>
                    </a:lnTo>
                    <a:lnTo>
                      <a:pt x="12" y="70"/>
                    </a:lnTo>
                    <a:lnTo>
                      <a:pt x="12" y="70"/>
                    </a:lnTo>
                    <a:lnTo>
                      <a:pt x="10" y="72"/>
                    </a:lnTo>
                    <a:lnTo>
                      <a:pt x="10" y="74"/>
                    </a:lnTo>
                    <a:lnTo>
                      <a:pt x="14" y="78"/>
                    </a:lnTo>
                    <a:lnTo>
                      <a:pt x="20" y="76"/>
                    </a:lnTo>
                    <a:lnTo>
                      <a:pt x="26" y="72"/>
                    </a:lnTo>
                    <a:lnTo>
                      <a:pt x="26" y="72"/>
                    </a:lnTo>
                    <a:lnTo>
                      <a:pt x="36" y="72"/>
                    </a:lnTo>
                    <a:lnTo>
                      <a:pt x="48" y="72"/>
                    </a:lnTo>
                    <a:lnTo>
                      <a:pt x="48" y="72"/>
                    </a:lnTo>
                    <a:lnTo>
                      <a:pt x="52" y="74"/>
                    </a:lnTo>
                    <a:lnTo>
                      <a:pt x="58" y="74"/>
                    </a:lnTo>
                    <a:lnTo>
                      <a:pt x="58" y="74"/>
                    </a:lnTo>
                    <a:lnTo>
                      <a:pt x="62" y="74"/>
                    </a:lnTo>
                    <a:lnTo>
                      <a:pt x="66" y="76"/>
                    </a:lnTo>
                    <a:lnTo>
                      <a:pt x="66" y="76"/>
                    </a:lnTo>
                    <a:lnTo>
                      <a:pt x="68" y="76"/>
                    </a:lnTo>
                    <a:lnTo>
                      <a:pt x="72" y="76"/>
                    </a:lnTo>
                    <a:lnTo>
                      <a:pt x="78" y="74"/>
                    </a:lnTo>
                    <a:lnTo>
                      <a:pt x="78" y="74"/>
                    </a:lnTo>
                    <a:lnTo>
                      <a:pt x="76" y="64"/>
                    </a:lnTo>
                    <a:lnTo>
                      <a:pt x="76" y="64"/>
                    </a:lnTo>
                    <a:lnTo>
                      <a:pt x="76" y="62"/>
                    </a:lnTo>
                    <a:lnTo>
                      <a:pt x="72" y="58"/>
                    </a:lnTo>
                    <a:lnTo>
                      <a:pt x="72" y="58"/>
                    </a:lnTo>
                    <a:lnTo>
                      <a:pt x="70" y="56"/>
                    </a:lnTo>
                    <a:lnTo>
                      <a:pt x="70" y="54"/>
                    </a:lnTo>
                    <a:lnTo>
                      <a:pt x="70" y="54"/>
                    </a:lnTo>
                    <a:lnTo>
                      <a:pt x="72" y="48"/>
                    </a:lnTo>
                    <a:lnTo>
                      <a:pt x="72" y="44"/>
                    </a:lnTo>
                    <a:lnTo>
                      <a:pt x="72" y="42"/>
                    </a:lnTo>
                    <a:lnTo>
                      <a:pt x="72" y="42"/>
                    </a:lnTo>
                    <a:lnTo>
                      <a:pt x="72" y="40"/>
                    </a:lnTo>
                    <a:lnTo>
                      <a:pt x="70" y="38"/>
                    </a:lnTo>
                    <a:lnTo>
                      <a:pt x="72" y="34"/>
                    </a:lnTo>
                    <a:lnTo>
                      <a:pt x="72" y="34"/>
                    </a:lnTo>
                    <a:lnTo>
                      <a:pt x="68" y="28"/>
                    </a:lnTo>
                    <a:lnTo>
                      <a:pt x="68" y="28"/>
                    </a:lnTo>
                    <a:lnTo>
                      <a:pt x="68" y="28"/>
                    </a:lnTo>
                    <a:lnTo>
                      <a:pt x="64" y="28"/>
                    </a:lnTo>
                    <a:lnTo>
                      <a:pt x="62" y="28"/>
                    </a:lnTo>
                    <a:lnTo>
                      <a:pt x="60" y="26"/>
                    </a:lnTo>
                    <a:lnTo>
                      <a:pt x="60" y="26"/>
                    </a:lnTo>
                    <a:lnTo>
                      <a:pt x="60" y="20"/>
                    </a:lnTo>
                    <a:lnTo>
                      <a:pt x="60" y="18"/>
                    </a:lnTo>
                    <a:lnTo>
                      <a:pt x="58" y="16"/>
                    </a:lnTo>
                    <a:lnTo>
                      <a:pt x="58" y="16"/>
                    </a:lnTo>
                    <a:lnTo>
                      <a:pt x="54" y="16"/>
                    </a:lnTo>
                    <a:lnTo>
                      <a:pt x="52" y="16"/>
                    </a:lnTo>
                    <a:lnTo>
                      <a:pt x="52" y="14"/>
                    </a:lnTo>
                    <a:lnTo>
                      <a:pt x="52" y="14"/>
                    </a:lnTo>
                    <a:lnTo>
                      <a:pt x="50" y="8"/>
                    </a:lnTo>
                    <a:lnTo>
                      <a:pt x="48" y="6"/>
                    </a:lnTo>
                    <a:lnTo>
                      <a:pt x="48" y="6"/>
                    </a:lnTo>
                    <a:lnTo>
                      <a:pt x="44" y="2"/>
                    </a:lnTo>
                    <a:lnTo>
                      <a:pt x="44" y="2"/>
                    </a:lnTo>
                    <a:lnTo>
                      <a:pt x="40" y="2"/>
                    </a:lnTo>
                    <a:lnTo>
                      <a:pt x="40" y="2"/>
                    </a:lnTo>
                    <a:lnTo>
                      <a:pt x="30" y="2"/>
                    </a:lnTo>
                    <a:lnTo>
                      <a:pt x="30" y="2"/>
                    </a:lnTo>
                    <a:lnTo>
                      <a:pt x="26" y="0"/>
                    </a:lnTo>
                    <a:lnTo>
                      <a:pt x="24" y="0"/>
                    </a:lnTo>
                    <a:lnTo>
                      <a:pt x="24" y="2"/>
                    </a:lnTo>
                    <a:lnTo>
                      <a:pt x="24" y="2"/>
                    </a:lnTo>
                    <a:lnTo>
                      <a:pt x="22" y="4"/>
                    </a:lnTo>
                    <a:lnTo>
                      <a:pt x="20" y="4"/>
                    </a:lnTo>
                    <a:lnTo>
                      <a:pt x="18" y="6"/>
                    </a:lnTo>
                    <a:lnTo>
                      <a:pt x="14" y="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5" name="Freeform 50"/>
              <p:cNvSpPr>
                <a:spLocks noChangeAspect="1"/>
              </p:cNvSpPr>
              <p:nvPr/>
            </p:nvSpPr>
            <p:spPr bwMode="gray">
              <a:xfrm>
                <a:off x="4941952" y="4476959"/>
                <a:ext cx="54404" cy="42769"/>
              </a:xfrm>
              <a:custGeom>
                <a:avLst/>
                <a:gdLst/>
                <a:ahLst/>
                <a:cxnLst>
                  <a:cxn ang="0">
                    <a:pos x="2" y="12"/>
                  </a:cxn>
                  <a:cxn ang="0">
                    <a:pos x="2" y="12"/>
                  </a:cxn>
                  <a:cxn ang="0">
                    <a:pos x="2" y="12"/>
                  </a:cxn>
                  <a:cxn ang="0">
                    <a:pos x="2" y="12"/>
                  </a:cxn>
                  <a:cxn ang="0">
                    <a:pos x="0" y="14"/>
                  </a:cxn>
                  <a:cxn ang="0">
                    <a:pos x="0" y="16"/>
                  </a:cxn>
                  <a:cxn ang="0">
                    <a:pos x="0" y="16"/>
                  </a:cxn>
                  <a:cxn ang="0">
                    <a:pos x="0" y="18"/>
                  </a:cxn>
                  <a:cxn ang="0">
                    <a:pos x="2" y="20"/>
                  </a:cxn>
                  <a:cxn ang="0">
                    <a:pos x="6" y="22"/>
                  </a:cxn>
                  <a:cxn ang="0">
                    <a:pos x="6" y="22"/>
                  </a:cxn>
                  <a:cxn ang="0">
                    <a:pos x="8" y="20"/>
                  </a:cxn>
                  <a:cxn ang="0">
                    <a:pos x="10" y="18"/>
                  </a:cxn>
                  <a:cxn ang="0">
                    <a:pos x="12" y="20"/>
                  </a:cxn>
                  <a:cxn ang="0">
                    <a:pos x="12" y="20"/>
                  </a:cxn>
                  <a:cxn ang="0">
                    <a:pos x="14" y="26"/>
                  </a:cxn>
                  <a:cxn ang="0">
                    <a:pos x="14" y="26"/>
                  </a:cxn>
                  <a:cxn ang="0">
                    <a:pos x="18" y="24"/>
                  </a:cxn>
                  <a:cxn ang="0">
                    <a:pos x="18" y="24"/>
                  </a:cxn>
                  <a:cxn ang="0">
                    <a:pos x="20" y="22"/>
                  </a:cxn>
                  <a:cxn ang="0">
                    <a:pos x="20" y="20"/>
                  </a:cxn>
                  <a:cxn ang="0">
                    <a:pos x="20" y="18"/>
                  </a:cxn>
                  <a:cxn ang="0">
                    <a:pos x="22" y="18"/>
                  </a:cxn>
                  <a:cxn ang="0">
                    <a:pos x="22" y="18"/>
                  </a:cxn>
                  <a:cxn ang="0">
                    <a:pos x="28" y="20"/>
                  </a:cxn>
                  <a:cxn ang="0">
                    <a:pos x="30" y="20"/>
                  </a:cxn>
                  <a:cxn ang="0">
                    <a:pos x="30" y="20"/>
                  </a:cxn>
                  <a:cxn ang="0">
                    <a:pos x="32" y="20"/>
                  </a:cxn>
                  <a:cxn ang="0">
                    <a:pos x="32" y="16"/>
                  </a:cxn>
                  <a:cxn ang="0">
                    <a:pos x="32" y="16"/>
                  </a:cxn>
                  <a:cxn ang="0">
                    <a:pos x="32" y="8"/>
                  </a:cxn>
                  <a:cxn ang="0">
                    <a:pos x="28" y="0"/>
                  </a:cxn>
                  <a:cxn ang="0">
                    <a:pos x="28" y="0"/>
                  </a:cxn>
                  <a:cxn ang="0">
                    <a:pos x="26" y="2"/>
                  </a:cxn>
                  <a:cxn ang="0">
                    <a:pos x="22" y="4"/>
                  </a:cxn>
                  <a:cxn ang="0">
                    <a:pos x="22" y="4"/>
                  </a:cxn>
                  <a:cxn ang="0">
                    <a:pos x="18" y="6"/>
                  </a:cxn>
                  <a:cxn ang="0">
                    <a:pos x="14" y="4"/>
                  </a:cxn>
                  <a:cxn ang="0">
                    <a:pos x="14" y="4"/>
                  </a:cxn>
                  <a:cxn ang="0">
                    <a:pos x="6" y="0"/>
                  </a:cxn>
                  <a:cxn ang="0">
                    <a:pos x="6" y="0"/>
                  </a:cxn>
                  <a:cxn ang="0">
                    <a:pos x="6" y="2"/>
                  </a:cxn>
                  <a:cxn ang="0">
                    <a:pos x="6" y="2"/>
                  </a:cxn>
                  <a:cxn ang="0">
                    <a:pos x="8" y="4"/>
                  </a:cxn>
                  <a:cxn ang="0">
                    <a:pos x="6" y="12"/>
                  </a:cxn>
                  <a:cxn ang="0">
                    <a:pos x="6" y="12"/>
                  </a:cxn>
                  <a:cxn ang="0">
                    <a:pos x="2" y="12"/>
                  </a:cxn>
                  <a:cxn ang="0">
                    <a:pos x="2" y="12"/>
                  </a:cxn>
                </a:cxnLst>
                <a:rect l="0" t="0" r="r" b="b"/>
                <a:pathLst>
                  <a:path w="32" h="26">
                    <a:moveTo>
                      <a:pt x="2" y="12"/>
                    </a:moveTo>
                    <a:lnTo>
                      <a:pt x="2" y="12"/>
                    </a:lnTo>
                    <a:lnTo>
                      <a:pt x="2" y="12"/>
                    </a:lnTo>
                    <a:lnTo>
                      <a:pt x="2" y="12"/>
                    </a:lnTo>
                    <a:lnTo>
                      <a:pt x="0" y="14"/>
                    </a:lnTo>
                    <a:lnTo>
                      <a:pt x="0" y="16"/>
                    </a:lnTo>
                    <a:lnTo>
                      <a:pt x="0" y="16"/>
                    </a:lnTo>
                    <a:lnTo>
                      <a:pt x="0" y="18"/>
                    </a:lnTo>
                    <a:lnTo>
                      <a:pt x="2" y="20"/>
                    </a:lnTo>
                    <a:lnTo>
                      <a:pt x="6" y="22"/>
                    </a:lnTo>
                    <a:lnTo>
                      <a:pt x="6" y="22"/>
                    </a:lnTo>
                    <a:lnTo>
                      <a:pt x="8" y="20"/>
                    </a:lnTo>
                    <a:lnTo>
                      <a:pt x="10" y="18"/>
                    </a:lnTo>
                    <a:lnTo>
                      <a:pt x="12" y="20"/>
                    </a:lnTo>
                    <a:lnTo>
                      <a:pt x="12" y="20"/>
                    </a:lnTo>
                    <a:lnTo>
                      <a:pt x="14" y="26"/>
                    </a:lnTo>
                    <a:lnTo>
                      <a:pt x="14" y="26"/>
                    </a:lnTo>
                    <a:lnTo>
                      <a:pt x="18" y="24"/>
                    </a:lnTo>
                    <a:lnTo>
                      <a:pt x="18" y="24"/>
                    </a:lnTo>
                    <a:lnTo>
                      <a:pt x="20" y="22"/>
                    </a:lnTo>
                    <a:lnTo>
                      <a:pt x="20" y="20"/>
                    </a:lnTo>
                    <a:lnTo>
                      <a:pt x="20" y="18"/>
                    </a:lnTo>
                    <a:lnTo>
                      <a:pt x="22" y="18"/>
                    </a:lnTo>
                    <a:lnTo>
                      <a:pt x="22" y="18"/>
                    </a:lnTo>
                    <a:lnTo>
                      <a:pt x="28" y="20"/>
                    </a:lnTo>
                    <a:lnTo>
                      <a:pt x="30" y="20"/>
                    </a:lnTo>
                    <a:lnTo>
                      <a:pt x="30" y="20"/>
                    </a:lnTo>
                    <a:lnTo>
                      <a:pt x="32" y="20"/>
                    </a:lnTo>
                    <a:lnTo>
                      <a:pt x="32" y="16"/>
                    </a:lnTo>
                    <a:lnTo>
                      <a:pt x="32" y="16"/>
                    </a:lnTo>
                    <a:lnTo>
                      <a:pt x="32" y="8"/>
                    </a:lnTo>
                    <a:lnTo>
                      <a:pt x="28" y="0"/>
                    </a:lnTo>
                    <a:lnTo>
                      <a:pt x="28" y="0"/>
                    </a:lnTo>
                    <a:lnTo>
                      <a:pt x="26" y="2"/>
                    </a:lnTo>
                    <a:lnTo>
                      <a:pt x="22" y="4"/>
                    </a:lnTo>
                    <a:lnTo>
                      <a:pt x="22" y="4"/>
                    </a:lnTo>
                    <a:lnTo>
                      <a:pt x="18" y="6"/>
                    </a:lnTo>
                    <a:lnTo>
                      <a:pt x="14" y="4"/>
                    </a:lnTo>
                    <a:lnTo>
                      <a:pt x="14" y="4"/>
                    </a:lnTo>
                    <a:lnTo>
                      <a:pt x="6" y="0"/>
                    </a:lnTo>
                    <a:lnTo>
                      <a:pt x="6" y="0"/>
                    </a:lnTo>
                    <a:lnTo>
                      <a:pt x="6" y="2"/>
                    </a:lnTo>
                    <a:lnTo>
                      <a:pt x="6" y="2"/>
                    </a:lnTo>
                    <a:lnTo>
                      <a:pt x="8" y="4"/>
                    </a:lnTo>
                    <a:lnTo>
                      <a:pt x="6" y="12"/>
                    </a:lnTo>
                    <a:lnTo>
                      <a:pt x="6" y="12"/>
                    </a:lnTo>
                    <a:lnTo>
                      <a:pt x="2" y="12"/>
                    </a:lnTo>
                    <a:lnTo>
                      <a:pt x="2" y="1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6" name="Freeform 122"/>
              <p:cNvSpPr>
                <a:spLocks noChangeAspect="1"/>
              </p:cNvSpPr>
              <p:nvPr/>
            </p:nvSpPr>
            <p:spPr bwMode="gray">
              <a:xfrm>
                <a:off x="4345212" y="4032818"/>
                <a:ext cx="277119" cy="276355"/>
              </a:xfrm>
              <a:custGeom>
                <a:avLst/>
                <a:gdLst/>
                <a:ahLst/>
                <a:cxnLst>
                  <a:cxn ang="0">
                    <a:pos x="80" y="150"/>
                  </a:cxn>
                  <a:cxn ang="0">
                    <a:pos x="78" y="142"/>
                  </a:cxn>
                  <a:cxn ang="0">
                    <a:pos x="80" y="138"/>
                  </a:cxn>
                  <a:cxn ang="0">
                    <a:pos x="86" y="130"/>
                  </a:cxn>
                  <a:cxn ang="0">
                    <a:pos x="96" y="126"/>
                  </a:cxn>
                  <a:cxn ang="0">
                    <a:pos x="102" y="128"/>
                  </a:cxn>
                  <a:cxn ang="0">
                    <a:pos x="106" y="136"/>
                  </a:cxn>
                  <a:cxn ang="0">
                    <a:pos x="113" y="128"/>
                  </a:cxn>
                  <a:cxn ang="0">
                    <a:pos x="113" y="122"/>
                  </a:cxn>
                  <a:cxn ang="0">
                    <a:pos x="119" y="110"/>
                  </a:cxn>
                  <a:cxn ang="0">
                    <a:pos x="125" y="98"/>
                  </a:cxn>
                  <a:cxn ang="0">
                    <a:pos x="127" y="90"/>
                  </a:cxn>
                  <a:cxn ang="0">
                    <a:pos x="141" y="80"/>
                  </a:cxn>
                  <a:cxn ang="0">
                    <a:pos x="141" y="72"/>
                  </a:cxn>
                  <a:cxn ang="0">
                    <a:pos x="143" y="66"/>
                  </a:cxn>
                  <a:cxn ang="0">
                    <a:pos x="147" y="56"/>
                  </a:cxn>
                  <a:cxn ang="0">
                    <a:pos x="151" y="50"/>
                  </a:cxn>
                  <a:cxn ang="0">
                    <a:pos x="157" y="42"/>
                  </a:cxn>
                  <a:cxn ang="0">
                    <a:pos x="163" y="30"/>
                  </a:cxn>
                  <a:cxn ang="0">
                    <a:pos x="159" y="14"/>
                  </a:cxn>
                  <a:cxn ang="0">
                    <a:pos x="141" y="6"/>
                  </a:cxn>
                  <a:cxn ang="0">
                    <a:pos x="129" y="10"/>
                  </a:cxn>
                  <a:cxn ang="0">
                    <a:pos x="106" y="8"/>
                  </a:cxn>
                  <a:cxn ang="0">
                    <a:pos x="98" y="14"/>
                  </a:cxn>
                  <a:cxn ang="0">
                    <a:pos x="84" y="14"/>
                  </a:cxn>
                  <a:cxn ang="0">
                    <a:pos x="76" y="8"/>
                  </a:cxn>
                  <a:cxn ang="0">
                    <a:pos x="62" y="12"/>
                  </a:cxn>
                  <a:cxn ang="0">
                    <a:pos x="54" y="6"/>
                  </a:cxn>
                  <a:cxn ang="0">
                    <a:pos x="46" y="0"/>
                  </a:cxn>
                  <a:cxn ang="0">
                    <a:pos x="34" y="2"/>
                  </a:cxn>
                  <a:cxn ang="0">
                    <a:pos x="20" y="16"/>
                  </a:cxn>
                  <a:cxn ang="0">
                    <a:pos x="10" y="36"/>
                  </a:cxn>
                  <a:cxn ang="0">
                    <a:pos x="10" y="44"/>
                  </a:cxn>
                  <a:cxn ang="0">
                    <a:pos x="14" y="52"/>
                  </a:cxn>
                  <a:cxn ang="0">
                    <a:pos x="12" y="62"/>
                  </a:cxn>
                  <a:cxn ang="0">
                    <a:pos x="10" y="66"/>
                  </a:cxn>
                  <a:cxn ang="0">
                    <a:pos x="8" y="78"/>
                  </a:cxn>
                  <a:cxn ang="0">
                    <a:pos x="6" y="84"/>
                  </a:cxn>
                  <a:cxn ang="0">
                    <a:pos x="4" y="88"/>
                  </a:cxn>
                  <a:cxn ang="0">
                    <a:pos x="2" y="94"/>
                  </a:cxn>
                  <a:cxn ang="0">
                    <a:pos x="2" y="112"/>
                  </a:cxn>
                  <a:cxn ang="0">
                    <a:pos x="4" y="122"/>
                  </a:cxn>
                  <a:cxn ang="0">
                    <a:pos x="12" y="130"/>
                  </a:cxn>
                  <a:cxn ang="0">
                    <a:pos x="26" y="132"/>
                  </a:cxn>
                  <a:cxn ang="0">
                    <a:pos x="34" y="142"/>
                  </a:cxn>
                  <a:cxn ang="0">
                    <a:pos x="40" y="146"/>
                  </a:cxn>
                  <a:cxn ang="0">
                    <a:pos x="42" y="152"/>
                  </a:cxn>
                  <a:cxn ang="0">
                    <a:pos x="46" y="168"/>
                  </a:cxn>
                  <a:cxn ang="0">
                    <a:pos x="58" y="166"/>
                  </a:cxn>
                  <a:cxn ang="0">
                    <a:pos x="64" y="164"/>
                  </a:cxn>
                  <a:cxn ang="0">
                    <a:pos x="68" y="164"/>
                  </a:cxn>
                  <a:cxn ang="0">
                    <a:pos x="74" y="160"/>
                  </a:cxn>
                  <a:cxn ang="0">
                    <a:pos x="76" y="160"/>
                  </a:cxn>
                </a:cxnLst>
                <a:rect l="0" t="0" r="r" b="b"/>
                <a:pathLst>
                  <a:path w="163" h="168">
                    <a:moveTo>
                      <a:pt x="78" y="160"/>
                    </a:moveTo>
                    <a:lnTo>
                      <a:pt x="78" y="156"/>
                    </a:lnTo>
                    <a:lnTo>
                      <a:pt x="80" y="150"/>
                    </a:lnTo>
                    <a:lnTo>
                      <a:pt x="80" y="150"/>
                    </a:lnTo>
                    <a:lnTo>
                      <a:pt x="78" y="148"/>
                    </a:lnTo>
                    <a:lnTo>
                      <a:pt x="78" y="146"/>
                    </a:lnTo>
                    <a:lnTo>
                      <a:pt x="78" y="146"/>
                    </a:lnTo>
                    <a:lnTo>
                      <a:pt x="78" y="142"/>
                    </a:lnTo>
                    <a:lnTo>
                      <a:pt x="78" y="142"/>
                    </a:lnTo>
                    <a:lnTo>
                      <a:pt x="78" y="142"/>
                    </a:lnTo>
                    <a:lnTo>
                      <a:pt x="80" y="140"/>
                    </a:lnTo>
                    <a:lnTo>
                      <a:pt x="80" y="138"/>
                    </a:lnTo>
                    <a:lnTo>
                      <a:pt x="82" y="132"/>
                    </a:lnTo>
                    <a:lnTo>
                      <a:pt x="82" y="132"/>
                    </a:lnTo>
                    <a:lnTo>
                      <a:pt x="84" y="130"/>
                    </a:lnTo>
                    <a:lnTo>
                      <a:pt x="86" y="130"/>
                    </a:lnTo>
                    <a:lnTo>
                      <a:pt x="92" y="128"/>
                    </a:lnTo>
                    <a:lnTo>
                      <a:pt x="92" y="128"/>
                    </a:lnTo>
                    <a:lnTo>
                      <a:pt x="96" y="126"/>
                    </a:lnTo>
                    <a:lnTo>
                      <a:pt x="96" y="126"/>
                    </a:lnTo>
                    <a:lnTo>
                      <a:pt x="96" y="126"/>
                    </a:lnTo>
                    <a:lnTo>
                      <a:pt x="102" y="128"/>
                    </a:lnTo>
                    <a:lnTo>
                      <a:pt x="102" y="128"/>
                    </a:lnTo>
                    <a:lnTo>
                      <a:pt x="102" y="128"/>
                    </a:lnTo>
                    <a:lnTo>
                      <a:pt x="104" y="130"/>
                    </a:lnTo>
                    <a:lnTo>
                      <a:pt x="102" y="136"/>
                    </a:lnTo>
                    <a:lnTo>
                      <a:pt x="102" y="136"/>
                    </a:lnTo>
                    <a:lnTo>
                      <a:pt x="106" y="136"/>
                    </a:lnTo>
                    <a:lnTo>
                      <a:pt x="108" y="134"/>
                    </a:lnTo>
                    <a:lnTo>
                      <a:pt x="110" y="130"/>
                    </a:lnTo>
                    <a:lnTo>
                      <a:pt x="113" y="128"/>
                    </a:lnTo>
                    <a:lnTo>
                      <a:pt x="113" y="128"/>
                    </a:lnTo>
                    <a:lnTo>
                      <a:pt x="115" y="126"/>
                    </a:lnTo>
                    <a:lnTo>
                      <a:pt x="115" y="126"/>
                    </a:lnTo>
                    <a:lnTo>
                      <a:pt x="113" y="122"/>
                    </a:lnTo>
                    <a:lnTo>
                      <a:pt x="113" y="122"/>
                    </a:lnTo>
                    <a:lnTo>
                      <a:pt x="115" y="116"/>
                    </a:lnTo>
                    <a:lnTo>
                      <a:pt x="117" y="112"/>
                    </a:lnTo>
                    <a:lnTo>
                      <a:pt x="117" y="112"/>
                    </a:lnTo>
                    <a:lnTo>
                      <a:pt x="119" y="110"/>
                    </a:lnTo>
                    <a:lnTo>
                      <a:pt x="123" y="106"/>
                    </a:lnTo>
                    <a:lnTo>
                      <a:pt x="123" y="106"/>
                    </a:lnTo>
                    <a:lnTo>
                      <a:pt x="123" y="102"/>
                    </a:lnTo>
                    <a:lnTo>
                      <a:pt x="125" y="98"/>
                    </a:lnTo>
                    <a:lnTo>
                      <a:pt x="125" y="98"/>
                    </a:lnTo>
                    <a:lnTo>
                      <a:pt x="127" y="94"/>
                    </a:lnTo>
                    <a:lnTo>
                      <a:pt x="127" y="90"/>
                    </a:lnTo>
                    <a:lnTo>
                      <a:pt x="127" y="90"/>
                    </a:lnTo>
                    <a:lnTo>
                      <a:pt x="129" y="86"/>
                    </a:lnTo>
                    <a:lnTo>
                      <a:pt x="131" y="84"/>
                    </a:lnTo>
                    <a:lnTo>
                      <a:pt x="131" y="84"/>
                    </a:lnTo>
                    <a:lnTo>
                      <a:pt x="141" y="80"/>
                    </a:lnTo>
                    <a:lnTo>
                      <a:pt x="141" y="80"/>
                    </a:lnTo>
                    <a:lnTo>
                      <a:pt x="143" y="78"/>
                    </a:lnTo>
                    <a:lnTo>
                      <a:pt x="143" y="76"/>
                    </a:lnTo>
                    <a:lnTo>
                      <a:pt x="141" y="72"/>
                    </a:lnTo>
                    <a:lnTo>
                      <a:pt x="141" y="72"/>
                    </a:lnTo>
                    <a:lnTo>
                      <a:pt x="141" y="70"/>
                    </a:lnTo>
                    <a:lnTo>
                      <a:pt x="143" y="66"/>
                    </a:lnTo>
                    <a:lnTo>
                      <a:pt x="143" y="66"/>
                    </a:lnTo>
                    <a:lnTo>
                      <a:pt x="145" y="64"/>
                    </a:lnTo>
                    <a:lnTo>
                      <a:pt x="147" y="60"/>
                    </a:lnTo>
                    <a:lnTo>
                      <a:pt x="147" y="60"/>
                    </a:lnTo>
                    <a:lnTo>
                      <a:pt x="147" y="56"/>
                    </a:lnTo>
                    <a:lnTo>
                      <a:pt x="147" y="56"/>
                    </a:lnTo>
                    <a:lnTo>
                      <a:pt x="147" y="54"/>
                    </a:lnTo>
                    <a:lnTo>
                      <a:pt x="147" y="54"/>
                    </a:lnTo>
                    <a:lnTo>
                      <a:pt x="151" y="50"/>
                    </a:lnTo>
                    <a:lnTo>
                      <a:pt x="153" y="46"/>
                    </a:lnTo>
                    <a:lnTo>
                      <a:pt x="153" y="46"/>
                    </a:lnTo>
                    <a:lnTo>
                      <a:pt x="155" y="44"/>
                    </a:lnTo>
                    <a:lnTo>
                      <a:pt x="157" y="42"/>
                    </a:lnTo>
                    <a:lnTo>
                      <a:pt x="157" y="42"/>
                    </a:lnTo>
                    <a:lnTo>
                      <a:pt x="159" y="42"/>
                    </a:lnTo>
                    <a:lnTo>
                      <a:pt x="161" y="38"/>
                    </a:lnTo>
                    <a:lnTo>
                      <a:pt x="163" y="30"/>
                    </a:lnTo>
                    <a:lnTo>
                      <a:pt x="163" y="30"/>
                    </a:lnTo>
                    <a:lnTo>
                      <a:pt x="161" y="28"/>
                    </a:lnTo>
                    <a:lnTo>
                      <a:pt x="159" y="26"/>
                    </a:lnTo>
                    <a:lnTo>
                      <a:pt x="159" y="14"/>
                    </a:lnTo>
                    <a:lnTo>
                      <a:pt x="153" y="0"/>
                    </a:lnTo>
                    <a:lnTo>
                      <a:pt x="143" y="4"/>
                    </a:lnTo>
                    <a:lnTo>
                      <a:pt x="143" y="4"/>
                    </a:lnTo>
                    <a:lnTo>
                      <a:pt x="141" y="6"/>
                    </a:lnTo>
                    <a:lnTo>
                      <a:pt x="139" y="8"/>
                    </a:lnTo>
                    <a:lnTo>
                      <a:pt x="137" y="10"/>
                    </a:lnTo>
                    <a:lnTo>
                      <a:pt x="137" y="10"/>
                    </a:lnTo>
                    <a:lnTo>
                      <a:pt x="129" y="10"/>
                    </a:lnTo>
                    <a:lnTo>
                      <a:pt x="121" y="10"/>
                    </a:lnTo>
                    <a:lnTo>
                      <a:pt x="121" y="10"/>
                    </a:lnTo>
                    <a:lnTo>
                      <a:pt x="113" y="8"/>
                    </a:lnTo>
                    <a:lnTo>
                      <a:pt x="106" y="8"/>
                    </a:lnTo>
                    <a:lnTo>
                      <a:pt x="106" y="8"/>
                    </a:lnTo>
                    <a:lnTo>
                      <a:pt x="100" y="10"/>
                    </a:lnTo>
                    <a:lnTo>
                      <a:pt x="98" y="14"/>
                    </a:lnTo>
                    <a:lnTo>
                      <a:pt x="98" y="14"/>
                    </a:lnTo>
                    <a:lnTo>
                      <a:pt x="96" y="14"/>
                    </a:lnTo>
                    <a:lnTo>
                      <a:pt x="94" y="14"/>
                    </a:lnTo>
                    <a:lnTo>
                      <a:pt x="84" y="14"/>
                    </a:lnTo>
                    <a:lnTo>
                      <a:pt x="84" y="14"/>
                    </a:lnTo>
                    <a:lnTo>
                      <a:pt x="78" y="12"/>
                    </a:lnTo>
                    <a:lnTo>
                      <a:pt x="78" y="10"/>
                    </a:lnTo>
                    <a:lnTo>
                      <a:pt x="78" y="10"/>
                    </a:lnTo>
                    <a:lnTo>
                      <a:pt x="76" y="8"/>
                    </a:lnTo>
                    <a:lnTo>
                      <a:pt x="72" y="8"/>
                    </a:lnTo>
                    <a:lnTo>
                      <a:pt x="68" y="12"/>
                    </a:lnTo>
                    <a:lnTo>
                      <a:pt x="68" y="12"/>
                    </a:lnTo>
                    <a:lnTo>
                      <a:pt x="62" y="12"/>
                    </a:lnTo>
                    <a:lnTo>
                      <a:pt x="58" y="12"/>
                    </a:lnTo>
                    <a:lnTo>
                      <a:pt x="58" y="12"/>
                    </a:lnTo>
                    <a:lnTo>
                      <a:pt x="56" y="8"/>
                    </a:lnTo>
                    <a:lnTo>
                      <a:pt x="54" y="6"/>
                    </a:lnTo>
                    <a:lnTo>
                      <a:pt x="52" y="4"/>
                    </a:lnTo>
                    <a:lnTo>
                      <a:pt x="52" y="4"/>
                    </a:lnTo>
                    <a:lnTo>
                      <a:pt x="48" y="2"/>
                    </a:lnTo>
                    <a:lnTo>
                      <a:pt x="46" y="0"/>
                    </a:lnTo>
                    <a:lnTo>
                      <a:pt x="46" y="0"/>
                    </a:lnTo>
                    <a:lnTo>
                      <a:pt x="40" y="2"/>
                    </a:lnTo>
                    <a:lnTo>
                      <a:pt x="34" y="2"/>
                    </a:lnTo>
                    <a:lnTo>
                      <a:pt x="34" y="2"/>
                    </a:lnTo>
                    <a:lnTo>
                      <a:pt x="20" y="10"/>
                    </a:lnTo>
                    <a:lnTo>
                      <a:pt x="20" y="10"/>
                    </a:lnTo>
                    <a:lnTo>
                      <a:pt x="20" y="16"/>
                    </a:lnTo>
                    <a:lnTo>
                      <a:pt x="20" y="16"/>
                    </a:lnTo>
                    <a:lnTo>
                      <a:pt x="18" y="22"/>
                    </a:lnTo>
                    <a:lnTo>
                      <a:pt x="14" y="24"/>
                    </a:lnTo>
                    <a:lnTo>
                      <a:pt x="10" y="36"/>
                    </a:lnTo>
                    <a:lnTo>
                      <a:pt x="10" y="36"/>
                    </a:lnTo>
                    <a:lnTo>
                      <a:pt x="10" y="38"/>
                    </a:lnTo>
                    <a:lnTo>
                      <a:pt x="10" y="42"/>
                    </a:lnTo>
                    <a:lnTo>
                      <a:pt x="10" y="44"/>
                    </a:lnTo>
                    <a:lnTo>
                      <a:pt x="10" y="44"/>
                    </a:lnTo>
                    <a:lnTo>
                      <a:pt x="8" y="46"/>
                    </a:lnTo>
                    <a:lnTo>
                      <a:pt x="12" y="48"/>
                    </a:lnTo>
                    <a:lnTo>
                      <a:pt x="12" y="48"/>
                    </a:lnTo>
                    <a:lnTo>
                      <a:pt x="14" y="52"/>
                    </a:lnTo>
                    <a:lnTo>
                      <a:pt x="12" y="56"/>
                    </a:lnTo>
                    <a:lnTo>
                      <a:pt x="12" y="56"/>
                    </a:lnTo>
                    <a:lnTo>
                      <a:pt x="12" y="60"/>
                    </a:lnTo>
                    <a:lnTo>
                      <a:pt x="12" y="62"/>
                    </a:lnTo>
                    <a:lnTo>
                      <a:pt x="14" y="64"/>
                    </a:lnTo>
                    <a:lnTo>
                      <a:pt x="12" y="64"/>
                    </a:lnTo>
                    <a:lnTo>
                      <a:pt x="12" y="64"/>
                    </a:lnTo>
                    <a:lnTo>
                      <a:pt x="10" y="66"/>
                    </a:lnTo>
                    <a:lnTo>
                      <a:pt x="10" y="70"/>
                    </a:lnTo>
                    <a:lnTo>
                      <a:pt x="10" y="70"/>
                    </a:lnTo>
                    <a:lnTo>
                      <a:pt x="10" y="74"/>
                    </a:lnTo>
                    <a:lnTo>
                      <a:pt x="8" y="78"/>
                    </a:lnTo>
                    <a:lnTo>
                      <a:pt x="8" y="78"/>
                    </a:lnTo>
                    <a:lnTo>
                      <a:pt x="6" y="80"/>
                    </a:lnTo>
                    <a:lnTo>
                      <a:pt x="6" y="84"/>
                    </a:lnTo>
                    <a:lnTo>
                      <a:pt x="6" y="84"/>
                    </a:lnTo>
                    <a:lnTo>
                      <a:pt x="6" y="88"/>
                    </a:lnTo>
                    <a:lnTo>
                      <a:pt x="6" y="88"/>
                    </a:lnTo>
                    <a:lnTo>
                      <a:pt x="4" y="88"/>
                    </a:lnTo>
                    <a:lnTo>
                      <a:pt x="4" y="88"/>
                    </a:lnTo>
                    <a:lnTo>
                      <a:pt x="2" y="88"/>
                    </a:lnTo>
                    <a:lnTo>
                      <a:pt x="2" y="90"/>
                    </a:lnTo>
                    <a:lnTo>
                      <a:pt x="2" y="94"/>
                    </a:lnTo>
                    <a:lnTo>
                      <a:pt x="2" y="94"/>
                    </a:lnTo>
                    <a:lnTo>
                      <a:pt x="2" y="98"/>
                    </a:lnTo>
                    <a:lnTo>
                      <a:pt x="2" y="102"/>
                    </a:lnTo>
                    <a:lnTo>
                      <a:pt x="0" y="108"/>
                    </a:lnTo>
                    <a:lnTo>
                      <a:pt x="2" y="112"/>
                    </a:lnTo>
                    <a:lnTo>
                      <a:pt x="2" y="112"/>
                    </a:lnTo>
                    <a:lnTo>
                      <a:pt x="4" y="116"/>
                    </a:lnTo>
                    <a:lnTo>
                      <a:pt x="4" y="122"/>
                    </a:lnTo>
                    <a:lnTo>
                      <a:pt x="4" y="122"/>
                    </a:lnTo>
                    <a:lnTo>
                      <a:pt x="2" y="132"/>
                    </a:lnTo>
                    <a:lnTo>
                      <a:pt x="2" y="132"/>
                    </a:lnTo>
                    <a:lnTo>
                      <a:pt x="12" y="130"/>
                    </a:lnTo>
                    <a:lnTo>
                      <a:pt x="12" y="130"/>
                    </a:lnTo>
                    <a:lnTo>
                      <a:pt x="10" y="132"/>
                    </a:lnTo>
                    <a:lnTo>
                      <a:pt x="10" y="132"/>
                    </a:lnTo>
                    <a:lnTo>
                      <a:pt x="18" y="132"/>
                    </a:lnTo>
                    <a:lnTo>
                      <a:pt x="26" y="132"/>
                    </a:lnTo>
                    <a:lnTo>
                      <a:pt x="26" y="132"/>
                    </a:lnTo>
                    <a:lnTo>
                      <a:pt x="30" y="136"/>
                    </a:lnTo>
                    <a:lnTo>
                      <a:pt x="34" y="142"/>
                    </a:lnTo>
                    <a:lnTo>
                      <a:pt x="34" y="142"/>
                    </a:lnTo>
                    <a:lnTo>
                      <a:pt x="38" y="142"/>
                    </a:lnTo>
                    <a:lnTo>
                      <a:pt x="38" y="142"/>
                    </a:lnTo>
                    <a:lnTo>
                      <a:pt x="38" y="146"/>
                    </a:lnTo>
                    <a:lnTo>
                      <a:pt x="40" y="146"/>
                    </a:lnTo>
                    <a:lnTo>
                      <a:pt x="40" y="146"/>
                    </a:lnTo>
                    <a:lnTo>
                      <a:pt x="42" y="152"/>
                    </a:lnTo>
                    <a:lnTo>
                      <a:pt x="42" y="152"/>
                    </a:lnTo>
                    <a:lnTo>
                      <a:pt x="42" y="152"/>
                    </a:lnTo>
                    <a:lnTo>
                      <a:pt x="42" y="152"/>
                    </a:lnTo>
                    <a:lnTo>
                      <a:pt x="38" y="154"/>
                    </a:lnTo>
                    <a:lnTo>
                      <a:pt x="38" y="154"/>
                    </a:lnTo>
                    <a:lnTo>
                      <a:pt x="46" y="168"/>
                    </a:lnTo>
                    <a:lnTo>
                      <a:pt x="46" y="168"/>
                    </a:lnTo>
                    <a:lnTo>
                      <a:pt x="58" y="168"/>
                    </a:lnTo>
                    <a:lnTo>
                      <a:pt x="58" y="166"/>
                    </a:lnTo>
                    <a:lnTo>
                      <a:pt x="58" y="166"/>
                    </a:lnTo>
                    <a:lnTo>
                      <a:pt x="60" y="166"/>
                    </a:lnTo>
                    <a:lnTo>
                      <a:pt x="62" y="166"/>
                    </a:lnTo>
                    <a:lnTo>
                      <a:pt x="64" y="164"/>
                    </a:lnTo>
                    <a:lnTo>
                      <a:pt x="64" y="164"/>
                    </a:lnTo>
                    <a:lnTo>
                      <a:pt x="64" y="166"/>
                    </a:lnTo>
                    <a:lnTo>
                      <a:pt x="66" y="166"/>
                    </a:lnTo>
                    <a:lnTo>
                      <a:pt x="66" y="166"/>
                    </a:lnTo>
                    <a:lnTo>
                      <a:pt x="68" y="164"/>
                    </a:lnTo>
                    <a:lnTo>
                      <a:pt x="70" y="160"/>
                    </a:lnTo>
                    <a:lnTo>
                      <a:pt x="70" y="160"/>
                    </a:lnTo>
                    <a:lnTo>
                      <a:pt x="74" y="160"/>
                    </a:lnTo>
                    <a:lnTo>
                      <a:pt x="74" y="160"/>
                    </a:lnTo>
                    <a:lnTo>
                      <a:pt x="76" y="164"/>
                    </a:lnTo>
                    <a:lnTo>
                      <a:pt x="76" y="164"/>
                    </a:lnTo>
                    <a:lnTo>
                      <a:pt x="76" y="162"/>
                    </a:lnTo>
                    <a:lnTo>
                      <a:pt x="76" y="160"/>
                    </a:lnTo>
                    <a:lnTo>
                      <a:pt x="78" y="160"/>
                    </a:lnTo>
                    <a:lnTo>
                      <a:pt x="78" y="1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7" name="Freeform 123"/>
              <p:cNvSpPr>
                <a:spLocks noChangeAspect="1"/>
              </p:cNvSpPr>
              <p:nvPr/>
            </p:nvSpPr>
            <p:spPr bwMode="gray">
              <a:xfrm>
                <a:off x="4280607" y="3772912"/>
                <a:ext cx="365525" cy="319124"/>
              </a:xfrm>
              <a:custGeom>
                <a:avLst/>
                <a:gdLst/>
                <a:ahLst/>
                <a:cxnLst>
                  <a:cxn ang="0">
                    <a:pos x="191" y="16"/>
                  </a:cxn>
                  <a:cxn ang="0">
                    <a:pos x="159" y="0"/>
                  </a:cxn>
                  <a:cxn ang="0">
                    <a:pos x="78" y="68"/>
                  </a:cxn>
                  <a:cxn ang="0">
                    <a:pos x="60" y="110"/>
                  </a:cxn>
                  <a:cxn ang="0">
                    <a:pos x="56" y="114"/>
                  </a:cxn>
                  <a:cxn ang="0">
                    <a:pos x="56" y="120"/>
                  </a:cxn>
                  <a:cxn ang="0">
                    <a:pos x="46" y="124"/>
                  </a:cxn>
                  <a:cxn ang="0">
                    <a:pos x="40" y="128"/>
                  </a:cxn>
                  <a:cxn ang="0">
                    <a:pos x="28" y="130"/>
                  </a:cxn>
                  <a:cxn ang="0">
                    <a:pos x="14" y="134"/>
                  </a:cxn>
                  <a:cxn ang="0">
                    <a:pos x="10" y="134"/>
                  </a:cxn>
                  <a:cxn ang="0">
                    <a:pos x="4" y="138"/>
                  </a:cxn>
                  <a:cxn ang="0">
                    <a:pos x="0" y="142"/>
                  </a:cxn>
                  <a:cxn ang="0">
                    <a:pos x="14" y="154"/>
                  </a:cxn>
                  <a:cxn ang="0">
                    <a:pos x="20" y="172"/>
                  </a:cxn>
                  <a:cxn ang="0">
                    <a:pos x="22" y="170"/>
                  </a:cxn>
                  <a:cxn ang="0">
                    <a:pos x="24" y="172"/>
                  </a:cxn>
                  <a:cxn ang="0">
                    <a:pos x="24" y="176"/>
                  </a:cxn>
                  <a:cxn ang="0">
                    <a:pos x="26" y="192"/>
                  </a:cxn>
                  <a:cxn ang="0">
                    <a:pos x="32" y="184"/>
                  </a:cxn>
                  <a:cxn ang="0">
                    <a:pos x="38" y="186"/>
                  </a:cxn>
                  <a:cxn ang="0">
                    <a:pos x="40" y="188"/>
                  </a:cxn>
                  <a:cxn ang="0">
                    <a:pos x="48" y="194"/>
                  </a:cxn>
                  <a:cxn ang="0">
                    <a:pos x="52" y="182"/>
                  </a:cxn>
                  <a:cxn ang="0">
                    <a:pos x="58" y="174"/>
                  </a:cxn>
                  <a:cxn ang="0">
                    <a:pos x="58" y="168"/>
                  </a:cxn>
                  <a:cxn ang="0">
                    <a:pos x="72" y="160"/>
                  </a:cxn>
                  <a:cxn ang="0">
                    <a:pos x="78" y="160"/>
                  </a:cxn>
                  <a:cxn ang="0">
                    <a:pos x="84" y="158"/>
                  </a:cxn>
                  <a:cxn ang="0">
                    <a:pos x="90" y="162"/>
                  </a:cxn>
                  <a:cxn ang="0">
                    <a:pos x="92" y="164"/>
                  </a:cxn>
                  <a:cxn ang="0">
                    <a:pos x="96" y="170"/>
                  </a:cxn>
                  <a:cxn ang="0">
                    <a:pos x="100" y="170"/>
                  </a:cxn>
                  <a:cxn ang="0">
                    <a:pos x="106" y="170"/>
                  </a:cxn>
                  <a:cxn ang="0">
                    <a:pos x="114" y="166"/>
                  </a:cxn>
                  <a:cxn ang="0">
                    <a:pos x="116" y="168"/>
                  </a:cxn>
                  <a:cxn ang="0">
                    <a:pos x="122" y="172"/>
                  </a:cxn>
                  <a:cxn ang="0">
                    <a:pos x="132" y="172"/>
                  </a:cxn>
                  <a:cxn ang="0">
                    <a:pos x="136" y="172"/>
                  </a:cxn>
                  <a:cxn ang="0">
                    <a:pos x="138" y="168"/>
                  </a:cxn>
                  <a:cxn ang="0">
                    <a:pos x="144" y="166"/>
                  </a:cxn>
                  <a:cxn ang="0">
                    <a:pos x="159" y="168"/>
                  </a:cxn>
                  <a:cxn ang="0">
                    <a:pos x="167" y="168"/>
                  </a:cxn>
                  <a:cxn ang="0">
                    <a:pos x="175" y="168"/>
                  </a:cxn>
                  <a:cxn ang="0">
                    <a:pos x="179" y="164"/>
                  </a:cxn>
                  <a:cxn ang="0">
                    <a:pos x="189" y="158"/>
                  </a:cxn>
                  <a:cxn ang="0">
                    <a:pos x="211" y="126"/>
                  </a:cxn>
                  <a:cxn ang="0">
                    <a:pos x="209" y="100"/>
                  </a:cxn>
                  <a:cxn ang="0">
                    <a:pos x="211" y="70"/>
                  </a:cxn>
                  <a:cxn ang="0">
                    <a:pos x="215" y="56"/>
                  </a:cxn>
                  <a:cxn ang="0">
                    <a:pos x="215" y="52"/>
                  </a:cxn>
                  <a:cxn ang="0">
                    <a:pos x="209" y="42"/>
                  </a:cxn>
                </a:cxnLst>
                <a:rect l="0" t="0" r="r" b="b"/>
                <a:pathLst>
                  <a:path w="215" h="194">
                    <a:moveTo>
                      <a:pt x="201" y="8"/>
                    </a:moveTo>
                    <a:lnTo>
                      <a:pt x="191" y="16"/>
                    </a:lnTo>
                    <a:lnTo>
                      <a:pt x="191" y="18"/>
                    </a:lnTo>
                    <a:lnTo>
                      <a:pt x="159" y="0"/>
                    </a:lnTo>
                    <a:lnTo>
                      <a:pt x="86" y="54"/>
                    </a:lnTo>
                    <a:lnTo>
                      <a:pt x="78" y="68"/>
                    </a:lnTo>
                    <a:lnTo>
                      <a:pt x="58" y="72"/>
                    </a:lnTo>
                    <a:lnTo>
                      <a:pt x="60" y="110"/>
                    </a:lnTo>
                    <a:lnTo>
                      <a:pt x="56" y="114"/>
                    </a:lnTo>
                    <a:lnTo>
                      <a:pt x="56" y="114"/>
                    </a:lnTo>
                    <a:lnTo>
                      <a:pt x="56" y="120"/>
                    </a:lnTo>
                    <a:lnTo>
                      <a:pt x="56" y="120"/>
                    </a:lnTo>
                    <a:lnTo>
                      <a:pt x="54" y="124"/>
                    </a:lnTo>
                    <a:lnTo>
                      <a:pt x="46" y="124"/>
                    </a:lnTo>
                    <a:lnTo>
                      <a:pt x="46" y="124"/>
                    </a:lnTo>
                    <a:lnTo>
                      <a:pt x="40" y="128"/>
                    </a:lnTo>
                    <a:lnTo>
                      <a:pt x="28" y="130"/>
                    </a:lnTo>
                    <a:lnTo>
                      <a:pt x="28" y="130"/>
                    </a:lnTo>
                    <a:lnTo>
                      <a:pt x="22" y="132"/>
                    </a:lnTo>
                    <a:lnTo>
                      <a:pt x="14" y="134"/>
                    </a:lnTo>
                    <a:lnTo>
                      <a:pt x="14" y="134"/>
                    </a:lnTo>
                    <a:lnTo>
                      <a:pt x="10" y="134"/>
                    </a:lnTo>
                    <a:lnTo>
                      <a:pt x="6" y="134"/>
                    </a:lnTo>
                    <a:lnTo>
                      <a:pt x="4" y="138"/>
                    </a:lnTo>
                    <a:lnTo>
                      <a:pt x="2" y="136"/>
                    </a:lnTo>
                    <a:lnTo>
                      <a:pt x="0" y="142"/>
                    </a:lnTo>
                    <a:lnTo>
                      <a:pt x="4" y="148"/>
                    </a:lnTo>
                    <a:lnTo>
                      <a:pt x="14" y="154"/>
                    </a:lnTo>
                    <a:lnTo>
                      <a:pt x="14" y="158"/>
                    </a:lnTo>
                    <a:lnTo>
                      <a:pt x="20" y="172"/>
                    </a:lnTo>
                    <a:lnTo>
                      <a:pt x="20" y="172"/>
                    </a:lnTo>
                    <a:lnTo>
                      <a:pt x="22" y="170"/>
                    </a:lnTo>
                    <a:lnTo>
                      <a:pt x="24" y="172"/>
                    </a:lnTo>
                    <a:lnTo>
                      <a:pt x="24" y="172"/>
                    </a:lnTo>
                    <a:lnTo>
                      <a:pt x="24" y="172"/>
                    </a:lnTo>
                    <a:lnTo>
                      <a:pt x="24" y="176"/>
                    </a:lnTo>
                    <a:lnTo>
                      <a:pt x="22" y="178"/>
                    </a:lnTo>
                    <a:lnTo>
                      <a:pt x="26" y="192"/>
                    </a:lnTo>
                    <a:lnTo>
                      <a:pt x="32" y="184"/>
                    </a:lnTo>
                    <a:lnTo>
                      <a:pt x="32" y="184"/>
                    </a:lnTo>
                    <a:lnTo>
                      <a:pt x="34" y="184"/>
                    </a:lnTo>
                    <a:lnTo>
                      <a:pt x="38" y="186"/>
                    </a:lnTo>
                    <a:lnTo>
                      <a:pt x="38" y="186"/>
                    </a:lnTo>
                    <a:lnTo>
                      <a:pt x="40" y="188"/>
                    </a:lnTo>
                    <a:lnTo>
                      <a:pt x="40" y="190"/>
                    </a:lnTo>
                    <a:lnTo>
                      <a:pt x="48" y="194"/>
                    </a:lnTo>
                    <a:lnTo>
                      <a:pt x="52" y="182"/>
                    </a:lnTo>
                    <a:lnTo>
                      <a:pt x="52" y="182"/>
                    </a:lnTo>
                    <a:lnTo>
                      <a:pt x="56" y="180"/>
                    </a:lnTo>
                    <a:lnTo>
                      <a:pt x="58" y="174"/>
                    </a:lnTo>
                    <a:lnTo>
                      <a:pt x="58" y="174"/>
                    </a:lnTo>
                    <a:lnTo>
                      <a:pt x="58" y="168"/>
                    </a:lnTo>
                    <a:lnTo>
                      <a:pt x="58" y="168"/>
                    </a:lnTo>
                    <a:lnTo>
                      <a:pt x="72" y="160"/>
                    </a:lnTo>
                    <a:lnTo>
                      <a:pt x="72" y="160"/>
                    </a:lnTo>
                    <a:lnTo>
                      <a:pt x="78" y="160"/>
                    </a:lnTo>
                    <a:lnTo>
                      <a:pt x="84" y="158"/>
                    </a:lnTo>
                    <a:lnTo>
                      <a:pt x="84" y="158"/>
                    </a:lnTo>
                    <a:lnTo>
                      <a:pt x="86" y="160"/>
                    </a:lnTo>
                    <a:lnTo>
                      <a:pt x="90" y="162"/>
                    </a:lnTo>
                    <a:lnTo>
                      <a:pt x="90" y="162"/>
                    </a:lnTo>
                    <a:lnTo>
                      <a:pt x="92" y="164"/>
                    </a:lnTo>
                    <a:lnTo>
                      <a:pt x="94" y="166"/>
                    </a:lnTo>
                    <a:lnTo>
                      <a:pt x="96" y="170"/>
                    </a:lnTo>
                    <a:lnTo>
                      <a:pt x="96" y="170"/>
                    </a:lnTo>
                    <a:lnTo>
                      <a:pt x="100" y="170"/>
                    </a:lnTo>
                    <a:lnTo>
                      <a:pt x="106" y="170"/>
                    </a:lnTo>
                    <a:lnTo>
                      <a:pt x="106" y="170"/>
                    </a:lnTo>
                    <a:lnTo>
                      <a:pt x="110" y="166"/>
                    </a:lnTo>
                    <a:lnTo>
                      <a:pt x="114" y="166"/>
                    </a:lnTo>
                    <a:lnTo>
                      <a:pt x="116" y="168"/>
                    </a:lnTo>
                    <a:lnTo>
                      <a:pt x="116" y="168"/>
                    </a:lnTo>
                    <a:lnTo>
                      <a:pt x="116" y="170"/>
                    </a:lnTo>
                    <a:lnTo>
                      <a:pt x="122" y="172"/>
                    </a:lnTo>
                    <a:lnTo>
                      <a:pt x="122" y="172"/>
                    </a:lnTo>
                    <a:lnTo>
                      <a:pt x="132" y="172"/>
                    </a:lnTo>
                    <a:lnTo>
                      <a:pt x="134" y="172"/>
                    </a:lnTo>
                    <a:lnTo>
                      <a:pt x="136" y="172"/>
                    </a:lnTo>
                    <a:lnTo>
                      <a:pt x="136" y="172"/>
                    </a:lnTo>
                    <a:lnTo>
                      <a:pt x="138" y="168"/>
                    </a:lnTo>
                    <a:lnTo>
                      <a:pt x="144" y="166"/>
                    </a:lnTo>
                    <a:lnTo>
                      <a:pt x="144" y="166"/>
                    </a:lnTo>
                    <a:lnTo>
                      <a:pt x="151" y="166"/>
                    </a:lnTo>
                    <a:lnTo>
                      <a:pt x="159" y="168"/>
                    </a:lnTo>
                    <a:lnTo>
                      <a:pt x="159" y="168"/>
                    </a:lnTo>
                    <a:lnTo>
                      <a:pt x="167" y="168"/>
                    </a:lnTo>
                    <a:lnTo>
                      <a:pt x="175" y="168"/>
                    </a:lnTo>
                    <a:lnTo>
                      <a:pt x="175" y="168"/>
                    </a:lnTo>
                    <a:lnTo>
                      <a:pt x="177" y="166"/>
                    </a:lnTo>
                    <a:lnTo>
                      <a:pt x="179" y="164"/>
                    </a:lnTo>
                    <a:lnTo>
                      <a:pt x="181" y="162"/>
                    </a:lnTo>
                    <a:lnTo>
                      <a:pt x="189" y="158"/>
                    </a:lnTo>
                    <a:lnTo>
                      <a:pt x="189" y="144"/>
                    </a:lnTo>
                    <a:lnTo>
                      <a:pt x="211" y="126"/>
                    </a:lnTo>
                    <a:lnTo>
                      <a:pt x="211" y="126"/>
                    </a:lnTo>
                    <a:lnTo>
                      <a:pt x="209" y="100"/>
                    </a:lnTo>
                    <a:lnTo>
                      <a:pt x="211" y="70"/>
                    </a:lnTo>
                    <a:lnTo>
                      <a:pt x="211" y="70"/>
                    </a:lnTo>
                    <a:lnTo>
                      <a:pt x="211" y="62"/>
                    </a:lnTo>
                    <a:lnTo>
                      <a:pt x="215" y="56"/>
                    </a:lnTo>
                    <a:lnTo>
                      <a:pt x="215" y="56"/>
                    </a:lnTo>
                    <a:lnTo>
                      <a:pt x="215" y="52"/>
                    </a:lnTo>
                    <a:lnTo>
                      <a:pt x="213" y="48"/>
                    </a:lnTo>
                    <a:lnTo>
                      <a:pt x="209" y="42"/>
                    </a:lnTo>
                    <a:lnTo>
                      <a:pt x="201" y="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8" name="Freeform 129"/>
              <p:cNvSpPr>
                <a:spLocks noChangeAspect="1"/>
              </p:cNvSpPr>
              <p:nvPr/>
            </p:nvSpPr>
            <p:spPr bwMode="gray">
              <a:xfrm>
                <a:off x="4557726" y="4891491"/>
                <a:ext cx="302620" cy="335574"/>
              </a:xfrm>
              <a:custGeom>
                <a:avLst/>
                <a:gdLst/>
                <a:ahLst/>
                <a:cxnLst>
                  <a:cxn ang="0">
                    <a:pos x="2" y="8"/>
                  </a:cxn>
                  <a:cxn ang="0">
                    <a:pos x="0" y="20"/>
                  </a:cxn>
                  <a:cxn ang="0">
                    <a:pos x="6" y="26"/>
                  </a:cxn>
                  <a:cxn ang="0">
                    <a:pos x="12" y="36"/>
                  </a:cxn>
                  <a:cxn ang="0">
                    <a:pos x="16" y="44"/>
                  </a:cxn>
                  <a:cxn ang="0">
                    <a:pos x="18" y="54"/>
                  </a:cxn>
                  <a:cxn ang="0">
                    <a:pos x="22" y="70"/>
                  </a:cxn>
                  <a:cxn ang="0">
                    <a:pos x="26" y="70"/>
                  </a:cxn>
                  <a:cxn ang="0">
                    <a:pos x="28" y="82"/>
                  </a:cxn>
                  <a:cxn ang="0">
                    <a:pos x="32" y="86"/>
                  </a:cxn>
                  <a:cxn ang="0">
                    <a:pos x="36" y="90"/>
                  </a:cxn>
                  <a:cxn ang="0">
                    <a:pos x="36" y="92"/>
                  </a:cxn>
                  <a:cxn ang="0">
                    <a:pos x="38" y="96"/>
                  </a:cxn>
                  <a:cxn ang="0">
                    <a:pos x="36" y="102"/>
                  </a:cxn>
                  <a:cxn ang="0">
                    <a:pos x="36" y="110"/>
                  </a:cxn>
                  <a:cxn ang="0">
                    <a:pos x="36" y="112"/>
                  </a:cxn>
                  <a:cxn ang="0">
                    <a:pos x="38" y="122"/>
                  </a:cxn>
                  <a:cxn ang="0">
                    <a:pos x="36" y="126"/>
                  </a:cxn>
                  <a:cxn ang="0">
                    <a:pos x="42" y="138"/>
                  </a:cxn>
                  <a:cxn ang="0">
                    <a:pos x="40" y="150"/>
                  </a:cxn>
                  <a:cxn ang="0">
                    <a:pos x="42" y="156"/>
                  </a:cxn>
                  <a:cxn ang="0">
                    <a:pos x="42" y="170"/>
                  </a:cxn>
                  <a:cxn ang="0">
                    <a:pos x="44" y="170"/>
                  </a:cxn>
                  <a:cxn ang="0">
                    <a:pos x="48" y="186"/>
                  </a:cxn>
                  <a:cxn ang="0">
                    <a:pos x="58" y="192"/>
                  </a:cxn>
                  <a:cxn ang="0">
                    <a:pos x="60" y="200"/>
                  </a:cxn>
                  <a:cxn ang="0">
                    <a:pos x="62" y="202"/>
                  </a:cxn>
                  <a:cxn ang="0">
                    <a:pos x="68" y="196"/>
                  </a:cxn>
                  <a:cxn ang="0">
                    <a:pos x="74" y="194"/>
                  </a:cxn>
                  <a:cxn ang="0">
                    <a:pos x="74" y="198"/>
                  </a:cxn>
                  <a:cxn ang="0">
                    <a:pos x="76" y="204"/>
                  </a:cxn>
                  <a:cxn ang="0">
                    <a:pos x="86" y="204"/>
                  </a:cxn>
                  <a:cxn ang="0">
                    <a:pos x="92" y="202"/>
                  </a:cxn>
                  <a:cxn ang="0">
                    <a:pos x="96" y="196"/>
                  </a:cxn>
                  <a:cxn ang="0">
                    <a:pos x="104" y="144"/>
                  </a:cxn>
                  <a:cxn ang="0">
                    <a:pos x="120" y="26"/>
                  </a:cxn>
                  <a:cxn ang="0">
                    <a:pos x="160" y="24"/>
                  </a:cxn>
                  <a:cxn ang="0">
                    <a:pos x="164" y="22"/>
                  </a:cxn>
                  <a:cxn ang="0">
                    <a:pos x="168" y="22"/>
                  </a:cxn>
                  <a:cxn ang="0">
                    <a:pos x="172" y="20"/>
                  </a:cxn>
                  <a:cxn ang="0">
                    <a:pos x="178" y="18"/>
                  </a:cxn>
                  <a:cxn ang="0">
                    <a:pos x="174" y="14"/>
                  </a:cxn>
                  <a:cxn ang="0">
                    <a:pos x="168" y="12"/>
                  </a:cxn>
                  <a:cxn ang="0">
                    <a:pos x="122" y="20"/>
                  </a:cxn>
                  <a:cxn ang="0">
                    <a:pos x="112" y="16"/>
                  </a:cxn>
                  <a:cxn ang="0">
                    <a:pos x="106" y="16"/>
                  </a:cxn>
                  <a:cxn ang="0">
                    <a:pos x="102" y="16"/>
                  </a:cxn>
                  <a:cxn ang="0">
                    <a:pos x="96" y="14"/>
                  </a:cxn>
                  <a:cxn ang="0">
                    <a:pos x="92" y="12"/>
                  </a:cxn>
                  <a:cxn ang="0">
                    <a:pos x="88" y="10"/>
                  </a:cxn>
                  <a:cxn ang="0">
                    <a:pos x="26" y="4"/>
                  </a:cxn>
                  <a:cxn ang="0">
                    <a:pos x="18" y="0"/>
                  </a:cxn>
                  <a:cxn ang="0">
                    <a:pos x="14" y="2"/>
                  </a:cxn>
                  <a:cxn ang="0">
                    <a:pos x="10" y="4"/>
                  </a:cxn>
                  <a:cxn ang="0">
                    <a:pos x="0" y="4"/>
                  </a:cxn>
                </a:cxnLst>
                <a:rect l="0" t="0" r="r" b="b"/>
                <a:pathLst>
                  <a:path w="178" h="204">
                    <a:moveTo>
                      <a:pt x="0" y="4"/>
                    </a:moveTo>
                    <a:lnTo>
                      <a:pt x="0" y="4"/>
                    </a:lnTo>
                    <a:lnTo>
                      <a:pt x="2" y="8"/>
                    </a:lnTo>
                    <a:lnTo>
                      <a:pt x="2" y="8"/>
                    </a:lnTo>
                    <a:lnTo>
                      <a:pt x="0" y="12"/>
                    </a:lnTo>
                    <a:lnTo>
                      <a:pt x="0" y="20"/>
                    </a:lnTo>
                    <a:lnTo>
                      <a:pt x="0" y="24"/>
                    </a:lnTo>
                    <a:lnTo>
                      <a:pt x="0" y="24"/>
                    </a:lnTo>
                    <a:lnTo>
                      <a:pt x="6" y="26"/>
                    </a:lnTo>
                    <a:lnTo>
                      <a:pt x="6" y="26"/>
                    </a:lnTo>
                    <a:lnTo>
                      <a:pt x="12" y="36"/>
                    </a:lnTo>
                    <a:lnTo>
                      <a:pt x="12" y="36"/>
                    </a:lnTo>
                    <a:lnTo>
                      <a:pt x="16" y="38"/>
                    </a:lnTo>
                    <a:lnTo>
                      <a:pt x="16" y="38"/>
                    </a:lnTo>
                    <a:lnTo>
                      <a:pt x="16" y="44"/>
                    </a:lnTo>
                    <a:lnTo>
                      <a:pt x="14" y="46"/>
                    </a:lnTo>
                    <a:lnTo>
                      <a:pt x="14" y="46"/>
                    </a:lnTo>
                    <a:lnTo>
                      <a:pt x="18" y="54"/>
                    </a:lnTo>
                    <a:lnTo>
                      <a:pt x="18" y="54"/>
                    </a:lnTo>
                    <a:lnTo>
                      <a:pt x="18" y="60"/>
                    </a:lnTo>
                    <a:lnTo>
                      <a:pt x="22" y="70"/>
                    </a:lnTo>
                    <a:lnTo>
                      <a:pt x="22" y="70"/>
                    </a:lnTo>
                    <a:lnTo>
                      <a:pt x="26" y="70"/>
                    </a:lnTo>
                    <a:lnTo>
                      <a:pt x="26" y="70"/>
                    </a:lnTo>
                    <a:lnTo>
                      <a:pt x="28" y="74"/>
                    </a:lnTo>
                    <a:lnTo>
                      <a:pt x="28" y="76"/>
                    </a:lnTo>
                    <a:lnTo>
                      <a:pt x="28" y="82"/>
                    </a:lnTo>
                    <a:lnTo>
                      <a:pt x="30" y="82"/>
                    </a:lnTo>
                    <a:lnTo>
                      <a:pt x="30" y="82"/>
                    </a:lnTo>
                    <a:lnTo>
                      <a:pt x="32" y="86"/>
                    </a:lnTo>
                    <a:lnTo>
                      <a:pt x="32" y="86"/>
                    </a:lnTo>
                    <a:lnTo>
                      <a:pt x="36" y="90"/>
                    </a:lnTo>
                    <a:lnTo>
                      <a:pt x="36" y="90"/>
                    </a:lnTo>
                    <a:lnTo>
                      <a:pt x="36" y="92"/>
                    </a:lnTo>
                    <a:lnTo>
                      <a:pt x="36" y="92"/>
                    </a:lnTo>
                    <a:lnTo>
                      <a:pt x="36" y="92"/>
                    </a:lnTo>
                    <a:lnTo>
                      <a:pt x="36" y="94"/>
                    </a:lnTo>
                    <a:lnTo>
                      <a:pt x="38" y="96"/>
                    </a:lnTo>
                    <a:lnTo>
                      <a:pt x="38" y="96"/>
                    </a:lnTo>
                    <a:lnTo>
                      <a:pt x="34" y="100"/>
                    </a:lnTo>
                    <a:lnTo>
                      <a:pt x="34" y="100"/>
                    </a:lnTo>
                    <a:lnTo>
                      <a:pt x="36" y="102"/>
                    </a:lnTo>
                    <a:lnTo>
                      <a:pt x="36" y="102"/>
                    </a:lnTo>
                    <a:lnTo>
                      <a:pt x="36" y="104"/>
                    </a:lnTo>
                    <a:lnTo>
                      <a:pt x="36" y="110"/>
                    </a:lnTo>
                    <a:lnTo>
                      <a:pt x="36" y="110"/>
                    </a:lnTo>
                    <a:lnTo>
                      <a:pt x="38" y="112"/>
                    </a:lnTo>
                    <a:lnTo>
                      <a:pt x="36" y="112"/>
                    </a:lnTo>
                    <a:lnTo>
                      <a:pt x="36" y="112"/>
                    </a:lnTo>
                    <a:lnTo>
                      <a:pt x="38" y="122"/>
                    </a:lnTo>
                    <a:lnTo>
                      <a:pt x="38" y="122"/>
                    </a:lnTo>
                    <a:lnTo>
                      <a:pt x="36" y="124"/>
                    </a:lnTo>
                    <a:lnTo>
                      <a:pt x="36" y="126"/>
                    </a:lnTo>
                    <a:lnTo>
                      <a:pt x="36" y="126"/>
                    </a:lnTo>
                    <a:lnTo>
                      <a:pt x="38" y="132"/>
                    </a:lnTo>
                    <a:lnTo>
                      <a:pt x="42" y="138"/>
                    </a:lnTo>
                    <a:lnTo>
                      <a:pt x="42" y="138"/>
                    </a:lnTo>
                    <a:lnTo>
                      <a:pt x="42" y="148"/>
                    </a:lnTo>
                    <a:lnTo>
                      <a:pt x="42" y="148"/>
                    </a:lnTo>
                    <a:lnTo>
                      <a:pt x="40" y="150"/>
                    </a:lnTo>
                    <a:lnTo>
                      <a:pt x="40" y="150"/>
                    </a:lnTo>
                    <a:lnTo>
                      <a:pt x="40" y="152"/>
                    </a:lnTo>
                    <a:lnTo>
                      <a:pt x="42" y="156"/>
                    </a:lnTo>
                    <a:lnTo>
                      <a:pt x="42" y="156"/>
                    </a:lnTo>
                    <a:lnTo>
                      <a:pt x="42" y="162"/>
                    </a:lnTo>
                    <a:lnTo>
                      <a:pt x="42" y="170"/>
                    </a:lnTo>
                    <a:lnTo>
                      <a:pt x="42" y="170"/>
                    </a:lnTo>
                    <a:lnTo>
                      <a:pt x="44" y="170"/>
                    </a:lnTo>
                    <a:lnTo>
                      <a:pt x="44" y="170"/>
                    </a:lnTo>
                    <a:lnTo>
                      <a:pt x="46" y="180"/>
                    </a:lnTo>
                    <a:lnTo>
                      <a:pt x="46" y="180"/>
                    </a:lnTo>
                    <a:lnTo>
                      <a:pt x="48" y="186"/>
                    </a:lnTo>
                    <a:lnTo>
                      <a:pt x="54" y="192"/>
                    </a:lnTo>
                    <a:lnTo>
                      <a:pt x="54" y="192"/>
                    </a:lnTo>
                    <a:lnTo>
                      <a:pt x="58" y="192"/>
                    </a:lnTo>
                    <a:lnTo>
                      <a:pt x="58" y="192"/>
                    </a:lnTo>
                    <a:lnTo>
                      <a:pt x="60" y="196"/>
                    </a:lnTo>
                    <a:lnTo>
                      <a:pt x="60" y="200"/>
                    </a:lnTo>
                    <a:lnTo>
                      <a:pt x="60" y="200"/>
                    </a:lnTo>
                    <a:lnTo>
                      <a:pt x="62" y="202"/>
                    </a:lnTo>
                    <a:lnTo>
                      <a:pt x="62" y="202"/>
                    </a:lnTo>
                    <a:lnTo>
                      <a:pt x="64" y="200"/>
                    </a:lnTo>
                    <a:lnTo>
                      <a:pt x="68" y="196"/>
                    </a:lnTo>
                    <a:lnTo>
                      <a:pt x="68" y="196"/>
                    </a:lnTo>
                    <a:lnTo>
                      <a:pt x="70" y="194"/>
                    </a:lnTo>
                    <a:lnTo>
                      <a:pt x="74" y="194"/>
                    </a:lnTo>
                    <a:lnTo>
                      <a:pt x="74" y="194"/>
                    </a:lnTo>
                    <a:lnTo>
                      <a:pt x="74" y="196"/>
                    </a:lnTo>
                    <a:lnTo>
                      <a:pt x="74" y="196"/>
                    </a:lnTo>
                    <a:lnTo>
                      <a:pt x="74" y="198"/>
                    </a:lnTo>
                    <a:lnTo>
                      <a:pt x="74" y="200"/>
                    </a:lnTo>
                    <a:lnTo>
                      <a:pt x="74" y="200"/>
                    </a:lnTo>
                    <a:lnTo>
                      <a:pt x="76" y="204"/>
                    </a:lnTo>
                    <a:lnTo>
                      <a:pt x="82" y="204"/>
                    </a:lnTo>
                    <a:lnTo>
                      <a:pt x="82" y="204"/>
                    </a:lnTo>
                    <a:lnTo>
                      <a:pt x="86" y="204"/>
                    </a:lnTo>
                    <a:lnTo>
                      <a:pt x="88" y="204"/>
                    </a:lnTo>
                    <a:lnTo>
                      <a:pt x="88" y="204"/>
                    </a:lnTo>
                    <a:lnTo>
                      <a:pt x="92" y="202"/>
                    </a:lnTo>
                    <a:lnTo>
                      <a:pt x="94" y="198"/>
                    </a:lnTo>
                    <a:lnTo>
                      <a:pt x="94" y="198"/>
                    </a:lnTo>
                    <a:lnTo>
                      <a:pt x="96" y="196"/>
                    </a:lnTo>
                    <a:lnTo>
                      <a:pt x="100" y="196"/>
                    </a:lnTo>
                    <a:lnTo>
                      <a:pt x="102" y="196"/>
                    </a:lnTo>
                    <a:lnTo>
                      <a:pt x="104" y="144"/>
                    </a:lnTo>
                    <a:lnTo>
                      <a:pt x="104" y="84"/>
                    </a:lnTo>
                    <a:lnTo>
                      <a:pt x="120" y="84"/>
                    </a:lnTo>
                    <a:lnTo>
                      <a:pt x="120" y="26"/>
                    </a:lnTo>
                    <a:lnTo>
                      <a:pt x="130" y="26"/>
                    </a:lnTo>
                    <a:lnTo>
                      <a:pt x="160" y="24"/>
                    </a:lnTo>
                    <a:lnTo>
                      <a:pt x="160" y="24"/>
                    </a:lnTo>
                    <a:lnTo>
                      <a:pt x="162" y="24"/>
                    </a:lnTo>
                    <a:lnTo>
                      <a:pt x="164" y="24"/>
                    </a:lnTo>
                    <a:lnTo>
                      <a:pt x="164" y="22"/>
                    </a:lnTo>
                    <a:lnTo>
                      <a:pt x="164" y="22"/>
                    </a:lnTo>
                    <a:lnTo>
                      <a:pt x="166" y="20"/>
                    </a:lnTo>
                    <a:lnTo>
                      <a:pt x="168" y="22"/>
                    </a:lnTo>
                    <a:lnTo>
                      <a:pt x="170" y="22"/>
                    </a:lnTo>
                    <a:lnTo>
                      <a:pt x="172" y="20"/>
                    </a:lnTo>
                    <a:lnTo>
                      <a:pt x="172" y="20"/>
                    </a:lnTo>
                    <a:lnTo>
                      <a:pt x="174" y="18"/>
                    </a:lnTo>
                    <a:lnTo>
                      <a:pt x="176" y="18"/>
                    </a:lnTo>
                    <a:lnTo>
                      <a:pt x="178" y="18"/>
                    </a:lnTo>
                    <a:lnTo>
                      <a:pt x="178" y="18"/>
                    </a:lnTo>
                    <a:lnTo>
                      <a:pt x="176" y="16"/>
                    </a:lnTo>
                    <a:lnTo>
                      <a:pt x="174" y="14"/>
                    </a:lnTo>
                    <a:lnTo>
                      <a:pt x="174" y="14"/>
                    </a:lnTo>
                    <a:lnTo>
                      <a:pt x="172" y="12"/>
                    </a:lnTo>
                    <a:lnTo>
                      <a:pt x="168" y="12"/>
                    </a:lnTo>
                    <a:lnTo>
                      <a:pt x="152" y="14"/>
                    </a:lnTo>
                    <a:lnTo>
                      <a:pt x="122" y="20"/>
                    </a:lnTo>
                    <a:lnTo>
                      <a:pt x="122" y="20"/>
                    </a:lnTo>
                    <a:lnTo>
                      <a:pt x="118" y="18"/>
                    </a:lnTo>
                    <a:lnTo>
                      <a:pt x="112" y="16"/>
                    </a:lnTo>
                    <a:lnTo>
                      <a:pt x="112" y="16"/>
                    </a:lnTo>
                    <a:lnTo>
                      <a:pt x="110" y="16"/>
                    </a:lnTo>
                    <a:lnTo>
                      <a:pt x="110" y="16"/>
                    </a:lnTo>
                    <a:lnTo>
                      <a:pt x="106" y="16"/>
                    </a:lnTo>
                    <a:lnTo>
                      <a:pt x="106" y="16"/>
                    </a:lnTo>
                    <a:lnTo>
                      <a:pt x="104" y="16"/>
                    </a:lnTo>
                    <a:lnTo>
                      <a:pt x="102" y="16"/>
                    </a:lnTo>
                    <a:lnTo>
                      <a:pt x="100" y="14"/>
                    </a:lnTo>
                    <a:lnTo>
                      <a:pt x="96" y="14"/>
                    </a:lnTo>
                    <a:lnTo>
                      <a:pt x="96" y="14"/>
                    </a:lnTo>
                    <a:lnTo>
                      <a:pt x="94" y="14"/>
                    </a:lnTo>
                    <a:lnTo>
                      <a:pt x="92" y="14"/>
                    </a:lnTo>
                    <a:lnTo>
                      <a:pt x="92" y="12"/>
                    </a:lnTo>
                    <a:lnTo>
                      <a:pt x="90" y="12"/>
                    </a:lnTo>
                    <a:lnTo>
                      <a:pt x="90" y="12"/>
                    </a:lnTo>
                    <a:lnTo>
                      <a:pt x="88" y="10"/>
                    </a:lnTo>
                    <a:lnTo>
                      <a:pt x="86" y="8"/>
                    </a:lnTo>
                    <a:lnTo>
                      <a:pt x="84" y="6"/>
                    </a:lnTo>
                    <a:lnTo>
                      <a:pt x="26" y="4"/>
                    </a:lnTo>
                    <a:lnTo>
                      <a:pt x="26" y="4"/>
                    </a:lnTo>
                    <a:lnTo>
                      <a:pt x="22" y="2"/>
                    </a:lnTo>
                    <a:lnTo>
                      <a:pt x="18" y="0"/>
                    </a:lnTo>
                    <a:lnTo>
                      <a:pt x="18" y="0"/>
                    </a:lnTo>
                    <a:lnTo>
                      <a:pt x="16" y="2"/>
                    </a:lnTo>
                    <a:lnTo>
                      <a:pt x="14" y="2"/>
                    </a:lnTo>
                    <a:lnTo>
                      <a:pt x="12" y="4"/>
                    </a:lnTo>
                    <a:lnTo>
                      <a:pt x="10" y="4"/>
                    </a:lnTo>
                    <a:lnTo>
                      <a:pt x="10" y="4"/>
                    </a:lnTo>
                    <a:lnTo>
                      <a:pt x="4" y="4"/>
                    </a:lnTo>
                    <a:lnTo>
                      <a:pt x="0" y="4"/>
                    </a:lnTo>
                    <a:lnTo>
                      <a:pt x="0" y="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29" name="Freeform 131"/>
              <p:cNvSpPr>
                <a:spLocks noChangeAspect="1"/>
              </p:cNvSpPr>
              <p:nvPr/>
            </p:nvSpPr>
            <p:spPr bwMode="gray">
              <a:xfrm>
                <a:off x="4975955" y="4726995"/>
                <a:ext cx="241416" cy="437562"/>
              </a:xfrm>
              <a:custGeom>
                <a:avLst/>
                <a:gdLst/>
                <a:ahLst/>
                <a:cxnLst>
                  <a:cxn ang="0">
                    <a:pos x="66" y="50"/>
                  </a:cxn>
                  <a:cxn ang="0">
                    <a:pos x="72" y="62"/>
                  </a:cxn>
                  <a:cxn ang="0">
                    <a:pos x="72" y="76"/>
                  </a:cxn>
                  <a:cxn ang="0">
                    <a:pos x="66" y="82"/>
                  </a:cxn>
                  <a:cxn ang="0">
                    <a:pos x="66" y="96"/>
                  </a:cxn>
                  <a:cxn ang="0">
                    <a:pos x="60" y="102"/>
                  </a:cxn>
                  <a:cxn ang="0">
                    <a:pos x="56" y="94"/>
                  </a:cxn>
                  <a:cxn ang="0">
                    <a:pos x="48" y="80"/>
                  </a:cxn>
                  <a:cxn ang="0">
                    <a:pos x="48" y="64"/>
                  </a:cxn>
                  <a:cxn ang="0">
                    <a:pos x="36" y="66"/>
                  </a:cxn>
                  <a:cxn ang="0">
                    <a:pos x="0" y="66"/>
                  </a:cxn>
                  <a:cxn ang="0">
                    <a:pos x="4" y="74"/>
                  </a:cxn>
                  <a:cxn ang="0">
                    <a:pos x="16" y="88"/>
                  </a:cxn>
                  <a:cxn ang="0">
                    <a:pos x="32" y="98"/>
                  </a:cxn>
                  <a:cxn ang="0">
                    <a:pos x="32" y="106"/>
                  </a:cxn>
                  <a:cxn ang="0">
                    <a:pos x="32" y="122"/>
                  </a:cxn>
                  <a:cxn ang="0">
                    <a:pos x="30" y="136"/>
                  </a:cxn>
                  <a:cxn ang="0">
                    <a:pos x="32" y="144"/>
                  </a:cxn>
                  <a:cxn ang="0">
                    <a:pos x="30" y="154"/>
                  </a:cxn>
                  <a:cxn ang="0">
                    <a:pos x="30" y="168"/>
                  </a:cxn>
                  <a:cxn ang="0">
                    <a:pos x="34" y="170"/>
                  </a:cxn>
                  <a:cxn ang="0">
                    <a:pos x="18" y="194"/>
                  </a:cxn>
                  <a:cxn ang="0">
                    <a:pos x="16" y="214"/>
                  </a:cxn>
                  <a:cxn ang="0">
                    <a:pos x="16" y="236"/>
                  </a:cxn>
                  <a:cxn ang="0">
                    <a:pos x="18" y="250"/>
                  </a:cxn>
                  <a:cxn ang="0">
                    <a:pos x="24" y="256"/>
                  </a:cxn>
                  <a:cxn ang="0">
                    <a:pos x="34" y="258"/>
                  </a:cxn>
                  <a:cxn ang="0">
                    <a:pos x="28" y="252"/>
                  </a:cxn>
                  <a:cxn ang="0">
                    <a:pos x="64" y="234"/>
                  </a:cxn>
                  <a:cxn ang="0">
                    <a:pos x="68" y="224"/>
                  </a:cxn>
                  <a:cxn ang="0">
                    <a:pos x="68" y="194"/>
                  </a:cxn>
                  <a:cxn ang="0">
                    <a:pos x="62" y="168"/>
                  </a:cxn>
                  <a:cxn ang="0">
                    <a:pos x="58" y="148"/>
                  </a:cxn>
                  <a:cxn ang="0">
                    <a:pos x="68" y="138"/>
                  </a:cxn>
                  <a:cxn ang="0">
                    <a:pos x="76" y="128"/>
                  </a:cxn>
                  <a:cxn ang="0">
                    <a:pos x="88" y="118"/>
                  </a:cxn>
                  <a:cxn ang="0">
                    <a:pos x="102" y="114"/>
                  </a:cxn>
                  <a:cxn ang="0">
                    <a:pos x="116" y="108"/>
                  </a:cxn>
                  <a:cxn ang="0">
                    <a:pos x="126" y="98"/>
                  </a:cxn>
                  <a:cxn ang="0">
                    <a:pos x="130" y="90"/>
                  </a:cxn>
                  <a:cxn ang="0">
                    <a:pos x="136" y="78"/>
                  </a:cxn>
                  <a:cxn ang="0">
                    <a:pos x="138" y="72"/>
                  </a:cxn>
                  <a:cxn ang="0">
                    <a:pos x="138" y="62"/>
                  </a:cxn>
                  <a:cxn ang="0">
                    <a:pos x="142" y="46"/>
                  </a:cxn>
                  <a:cxn ang="0">
                    <a:pos x="140" y="38"/>
                  </a:cxn>
                  <a:cxn ang="0">
                    <a:pos x="136" y="6"/>
                  </a:cxn>
                  <a:cxn ang="0">
                    <a:pos x="124" y="6"/>
                  </a:cxn>
                  <a:cxn ang="0">
                    <a:pos x="108" y="12"/>
                  </a:cxn>
                  <a:cxn ang="0">
                    <a:pos x="100" y="12"/>
                  </a:cxn>
                  <a:cxn ang="0">
                    <a:pos x="86" y="18"/>
                  </a:cxn>
                  <a:cxn ang="0">
                    <a:pos x="72" y="16"/>
                  </a:cxn>
                  <a:cxn ang="0">
                    <a:pos x="66" y="16"/>
                  </a:cxn>
                  <a:cxn ang="0">
                    <a:pos x="58" y="26"/>
                  </a:cxn>
                  <a:cxn ang="0">
                    <a:pos x="60" y="38"/>
                  </a:cxn>
                </a:cxnLst>
                <a:rect l="0" t="0" r="r" b="b"/>
                <a:pathLst>
                  <a:path w="142" h="266">
                    <a:moveTo>
                      <a:pt x="62" y="44"/>
                    </a:moveTo>
                    <a:lnTo>
                      <a:pt x="62" y="44"/>
                    </a:lnTo>
                    <a:lnTo>
                      <a:pt x="64" y="46"/>
                    </a:lnTo>
                    <a:lnTo>
                      <a:pt x="64" y="46"/>
                    </a:lnTo>
                    <a:lnTo>
                      <a:pt x="66" y="50"/>
                    </a:lnTo>
                    <a:lnTo>
                      <a:pt x="68" y="56"/>
                    </a:lnTo>
                    <a:lnTo>
                      <a:pt x="68" y="56"/>
                    </a:lnTo>
                    <a:lnTo>
                      <a:pt x="70" y="60"/>
                    </a:lnTo>
                    <a:lnTo>
                      <a:pt x="72" y="62"/>
                    </a:lnTo>
                    <a:lnTo>
                      <a:pt x="72" y="62"/>
                    </a:lnTo>
                    <a:lnTo>
                      <a:pt x="74" y="62"/>
                    </a:lnTo>
                    <a:lnTo>
                      <a:pt x="74" y="66"/>
                    </a:lnTo>
                    <a:lnTo>
                      <a:pt x="72" y="72"/>
                    </a:lnTo>
                    <a:lnTo>
                      <a:pt x="72" y="72"/>
                    </a:lnTo>
                    <a:lnTo>
                      <a:pt x="72" y="76"/>
                    </a:lnTo>
                    <a:lnTo>
                      <a:pt x="74" y="80"/>
                    </a:lnTo>
                    <a:lnTo>
                      <a:pt x="74" y="80"/>
                    </a:lnTo>
                    <a:lnTo>
                      <a:pt x="72" y="82"/>
                    </a:lnTo>
                    <a:lnTo>
                      <a:pt x="70" y="84"/>
                    </a:lnTo>
                    <a:lnTo>
                      <a:pt x="66" y="82"/>
                    </a:lnTo>
                    <a:lnTo>
                      <a:pt x="66" y="82"/>
                    </a:lnTo>
                    <a:lnTo>
                      <a:pt x="64" y="84"/>
                    </a:lnTo>
                    <a:lnTo>
                      <a:pt x="64" y="88"/>
                    </a:lnTo>
                    <a:lnTo>
                      <a:pt x="66" y="96"/>
                    </a:lnTo>
                    <a:lnTo>
                      <a:pt x="66" y="96"/>
                    </a:lnTo>
                    <a:lnTo>
                      <a:pt x="66" y="98"/>
                    </a:lnTo>
                    <a:lnTo>
                      <a:pt x="66" y="100"/>
                    </a:lnTo>
                    <a:lnTo>
                      <a:pt x="62" y="102"/>
                    </a:lnTo>
                    <a:lnTo>
                      <a:pt x="62" y="102"/>
                    </a:lnTo>
                    <a:lnTo>
                      <a:pt x="60" y="102"/>
                    </a:lnTo>
                    <a:lnTo>
                      <a:pt x="60" y="100"/>
                    </a:lnTo>
                    <a:lnTo>
                      <a:pt x="60" y="96"/>
                    </a:lnTo>
                    <a:lnTo>
                      <a:pt x="60" y="96"/>
                    </a:lnTo>
                    <a:lnTo>
                      <a:pt x="56" y="94"/>
                    </a:lnTo>
                    <a:lnTo>
                      <a:pt x="56" y="94"/>
                    </a:lnTo>
                    <a:lnTo>
                      <a:pt x="48" y="86"/>
                    </a:lnTo>
                    <a:lnTo>
                      <a:pt x="48" y="86"/>
                    </a:lnTo>
                    <a:lnTo>
                      <a:pt x="46" y="84"/>
                    </a:lnTo>
                    <a:lnTo>
                      <a:pt x="48" y="80"/>
                    </a:lnTo>
                    <a:lnTo>
                      <a:pt x="48" y="80"/>
                    </a:lnTo>
                    <a:lnTo>
                      <a:pt x="50" y="74"/>
                    </a:lnTo>
                    <a:lnTo>
                      <a:pt x="50" y="70"/>
                    </a:lnTo>
                    <a:lnTo>
                      <a:pt x="50" y="70"/>
                    </a:lnTo>
                    <a:lnTo>
                      <a:pt x="48" y="66"/>
                    </a:lnTo>
                    <a:lnTo>
                      <a:pt x="48" y="64"/>
                    </a:lnTo>
                    <a:lnTo>
                      <a:pt x="48" y="64"/>
                    </a:lnTo>
                    <a:lnTo>
                      <a:pt x="38" y="66"/>
                    </a:lnTo>
                    <a:lnTo>
                      <a:pt x="38" y="66"/>
                    </a:lnTo>
                    <a:lnTo>
                      <a:pt x="38" y="66"/>
                    </a:lnTo>
                    <a:lnTo>
                      <a:pt x="36" y="66"/>
                    </a:lnTo>
                    <a:lnTo>
                      <a:pt x="36" y="62"/>
                    </a:lnTo>
                    <a:lnTo>
                      <a:pt x="36" y="62"/>
                    </a:lnTo>
                    <a:lnTo>
                      <a:pt x="32" y="58"/>
                    </a:lnTo>
                    <a:lnTo>
                      <a:pt x="30" y="56"/>
                    </a:lnTo>
                    <a:lnTo>
                      <a:pt x="0" y="66"/>
                    </a:lnTo>
                    <a:lnTo>
                      <a:pt x="0" y="66"/>
                    </a:lnTo>
                    <a:lnTo>
                      <a:pt x="2" y="70"/>
                    </a:lnTo>
                    <a:lnTo>
                      <a:pt x="4" y="72"/>
                    </a:lnTo>
                    <a:lnTo>
                      <a:pt x="4" y="74"/>
                    </a:lnTo>
                    <a:lnTo>
                      <a:pt x="4" y="74"/>
                    </a:lnTo>
                    <a:lnTo>
                      <a:pt x="2" y="84"/>
                    </a:lnTo>
                    <a:lnTo>
                      <a:pt x="2" y="84"/>
                    </a:lnTo>
                    <a:lnTo>
                      <a:pt x="8" y="84"/>
                    </a:lnTo>
                    <a:lnTo>
                      <a:pt x="8" y="84"/>
                    </a:lnTo>
                    <a:lnTo>
                      <a:pt x="16" y="88"/>
                    </a:lnTo>
                    <a:lnTo>
                      <a:pt x="16" y="88"/>
                    </a:lnTo>
                    <a:lnTo>
                      <a:pt x="24" y="92"/>
                    </a:lnTo>
                    <a:lnTo>
                      <a:pt x="24" y="92"/>
                    </a:lnTo>
                    <a:lnTo>
                      <a:pt x="28" y="94"/>
                    </a:lnTo>
                    <a:lnTo>
                      <a:pt x="32" y="98"/>
                    </a:lnTo>
                    <a:lnTo>
                      <a:pt x="32" y="98"/>
                    </a:lnTo>
                    <a:lnTo>
                      <a:pt x="34" y="102"/>
                    </a:lnTo>
                    <a:lnTo>
                      <a:pt x="34" y="104"/>
                    </a:lnTo>
                    <a:lnTo>
                      <a:pt x="34" y="104"/>
                    </a:lnTo>
                    <a:lnTo>
                      <a:pt x="32" y="106"/>
                    </a:lnTo>
                    <a:lnTo>
                      <a:pt x="30" y="110"/>
                    </a:lnTo>
                    <a:lnTo>
                      <a:pt x="30" y="110"/>
                    </a:lnTo>
                    <a:lnTo>
                      <a:pt x="30" y="116"/>
                    </a:lnTo>
                    <a:lnTo>
                      <a:pt x="32" y="122"/>
                    </a:lnTo>
                    <a:lnTo>
                      <a:pt x="32" y="122"/>
                    </a:lnTo>
                    <a:lnTo>
                      <a:pt x="36" y="128"/>
                    </a:lnTo>
                    <a:lnTo>
                      <a:pt x="36" y="128"/>
                    </a:lnTo>
                    <a:lnTo>
                      <a:pt x="32" y="134"/>
                    </a:lnTo>
                    <a:lnTo>
                      <a:pt x="32" y="134"/>
                    </a:lnTo>
                    <a:lnTo>
                      <a:pt x="30" y="136"/>
                    </a:lnTo>
                    <a:lnTo>
                      <a:pt x="30" y="138"/>
                    </a:lnTo>
                    <a:lnTo>
                      <a:pt x="30" y="140"/>
                    </a:lnTo>
                    <a:lnTo>
                      <a:pt x="30" y="140"/>
                    </a:lnTo>
                    <a:lnTo>
                      <a:pt x="32" y="142"/>
                    </a:lnTo>
                    <a:lnTo>
                      <a:pt x="32" y="144"/>
                    </a:lnTo>
                    <a:lnTo>
                      <a:pt x="32" y="144"/>
                    </a:lnTo>
                    <a:lnTo>
                      <a:pt x="30" y="148"/>
                    </a:lnTo>
                    <a:lnTo>
                      <a:pt x="30" y="148"/>
                    </a:lnTo>
                    <a:lnTo>
                      <a:pt x="30" y="154"/>
                    </a:lnTo>
                    <a:lnTo>
                      <a:pt x="30" y="154"/>
                    </a:lnTo>
                    <a:lnTo>
                      <a:pt x="30" y="156"/>
                    </a:lnTo>
                    <a:lnTo>
                      <a:pt x="30" y="160"/>
                    </a:lnTo>
                    <a:lnTo>
                      <a:pt x="32" y="164"/>
                    </a:lnTo>
                    <a:lnTo>
                      <a:pt x="32" y="164"/>
                    </a:lnTo>
                    <a:lnTo>
                      <a:pt x="30" y="168"/>
                    </a:lnTo>
                    <a:lnTo>
                      <a:pt x="30" y="168"/>
                    </a:lnTo>
                    <a:lnTo>
                      <a:pt x="30" y="168"/>
                    </a:lnTo>
                    <a:lnTo>
                      <a:pt x="32" y="170"/>
                    </a:lnTo>
                    <a:lnTo>
                      <a:pt x="32" y="170"/>
                    </a:lnTo>
                    <a:lnTo>
                      <a:pt x="34" y="170"/>
                    </a:lnTo>
                    <a:lnTo>
                      <a:pt x="34" y="172"/>
                    </a:lnTo>
                    <a:lnTo>
                      <a:pt x="34" y="172"/>
                    </a:lnTo>
                    <a:lnTo>
                      <a:pt x="28" y="182"/>
                    </a:lnTo>
                    <a:lnTo>
                      <a:pt x="18" y="194"/>
                    </a:lnTo>
                    <a:lnTo>
                      <a:pt x="18" y="194"/>
                    </a:lnTo>
                    <a:lnTo>
                      <a:pt x="18" y="200"/>
                    </a:lnTo>
                    <a:lnTo>
                      <a:pt x="18" y="204"/>
                    </a:lnTo>
                    <a:lnTo>
                      <a:pt x="16" y="208"/>
                    </a:lnTo>
                    <a:lnTo>
                      <a:pt x="16" y="208"/>
                    </a:lnTo>
                    <a:lnTo>
                      <a:pt x="16" y="214"/>
                    </a:lnTo>
                    <a:lnTo>
                      <a:pt x="18" y="222"/>
                    </a:lnTo>
                    <a:lnTo>
                      <a:pt x="18" y="222"/>
                    </a:lnTo>
                    <a:lnTo>
                      <a:pt x="18" y="230"/>
                    </a:lnTo>
                    <a:lnTo>
                      <a:pt x="16" y="236"/>
                    </a:lnTo>
                    <a:lnTo>
                      <a:pt x="16" y="236"/>
                    </a:lnTo>
                    <a:lnTo>
                      <a:pt x="16" y="240"/>
                    </a:lnTo>
                    <a:lnTo>
                      <a:pt x="16" y="244"/>
                    </a:lnTo>
                    <a:lnTo>
                      <a:pt x="16" y="244"/>
                    </a:lnTo>
                    <a:lnTo>
                      <a:pt x="18" y="248"/>
                    </a:lnTo>
                    <a:lnTo>
                      <a:pt x="18" y="250"/>
                    </a:lnTo>
                    <a:lnTo>
                      <a:pt x="18" y="250"/>
                    </a:lnTo>
                    <a:lnTo>
                      <a:pt x="22" y="252"/>
                    </a:lnTo>
                    <a:lnTo>
                      <a:pt x="24" y="254"/>
                    </a:lnTo>
                    <a:lnTo>
                      <a:pt x="24" y="256"/>
                    </a:lnTo>
                    <a:lnTo>
                      <a:pt x="24" y="256"/>
                    </a:lnTo>
                    <a:lnTo>
                      <a:pt x="22" y="264"/>
                    </a:lnTo>
                    <a:lnTo>
                      <a:pt x="32" y="266"/>
                    </a:lnTo>
                    <a:lnTo>
                      <a:pt x="32" y="266"/>
                    </a:lnTo>
                    <a:lnTo>
                      <a:pt x="34" y="258"/>
                    </a:lnTo>
                    <a:lnTo>
                      <a:pt x="34" y="258"/>
                    </a:lnTo>
                    <a:lnTo>
                      <a:pt x="30" y="258"/>
                    </a:lnTo>
                    <a:lnTo>
                      <a:pt x="28" y="256"/>
                    </a:lnTo>
                    <a:lnTo>
                      <a:pt x="28" y="256"/>
                    </a:lnTo>
                    <a:lnTo>
                      <a:pt x="28" y="252"/>
                    </a:lnTo>
                    <a:lnTo>
                      <a:pt x="28" y="252"/>
                    </a:lnTo>
                    <a:lnTo>
                      <a:pt x="32" y="248"/>
                    </a:lnTo>
                    <a:lnTo>
                      <a:pt x="38" y="246"/>
                    </a:lnTo>
                    <a:lnTo>
                      <a:pt x="48" y="242"/>
                    </a:lnTo>
                    <a:lnTo>
                      <a:pt x="58" y="236"/>
                    </a:lnTo>
                    <a:lnTo>
                      <a:pt x="64" y="234"/>
                    </a:lnTo>
                    <a:lnTo>
                      <a:pt x="68" y="230"/>
                    </a:lnTo>
                    <a:lnTo>
                      <a:pt x="68" y="230"/>
                    </a:lnTo>
                    <a:lnTo>
                      <a:pt x="70" y="228"/>
                    </a:lnTo>
                    <a:lnTo>
                      <a:pt x="70" y="228"/>
                    </a:lnTo>
                    <a:lnTo>
                      <a:pt x="68" y="224"/>
                    </a:lnTo>
                    <a:lnTo>
                      <a:pt x="68" y="220"/>
                    </a:lnTo>
                    <a:lnTo>
                      <a:pt x="68" y="220"/>
                    </a:lnTo>
                    <a:lnTo>
                      <a:pt x="68" y="208"/>
                    </a:lnTo>
                    <a:lnTo>
                      <a:pt x="68" y="194"/>
                    </a:lnTo>
                    <a:lnTo>
                      <a:pt x="68" y="194"/>
                    </a:lnTo>
                    <a:lnTo>
                      <a:pt x="62" y="182"/>
                    </a:lnTo>
                    <a:lnTo>
                      <a:pt x="62" y="182"/>
                    </a:lnTo>
                    <a:lnTo>
                      <a:pt x="62" y="174"/>
                    </a:lnTo>
                    <a:lnTo>
                      <a:pt x="62" y="168"/>
                    </a:lnTo>
                    <a:lnTo>
                      <a:pt x="62" y="168"/>
                    </a:lnTo>
                    <a:lnTo>
                      <a:pt x="58" y="166"/>
                    </a:lnTo>
                    <a:lnTo>
                      <a:pt x="58" y="166"/>
                    </a:lnTo>
                    <a:lnTo>
                      <a:pt x="56" y="158"/>
                    </a:lnTo>
                    <a:lnTo>
                      <a:pt x="58" y="148"/>
                    </a:lnTo>
                    <a:lnTo>
                      <a:pt x="58" y="148"/>
                    </a:lnTo>
                    <a:lnTo>
                      <a:pt x="64" y="146"/>
                    </a:lnTo>
                    <a:lnTo>
                      <a:pt x="64" y="146"/>
                    </a:lnTo>
                    <a:lnTo>
                      <a:pt x="66" y="142"/>
                    </a:lnTo>
                    <a:lnTo>
                      <a:pt x="68" y="138"/>
                    </a:lnTo>
                    <a:lnTo>
                      <a:pt x="68" y="138"/>
                    </a:lnTo>
                    <a:lnTo>
                      <a:pt x="70" y="136"/>
                    </a:lnTo>
                    <a:lnTo>
                      <a:pt x="74" y="136"/>
                    </a:lnTo>
                    <a:lnTo>
                      <a:pt x="74" y="136"/>
                    </a:lnTo>
                    <a:lnTo>
                      <a:pt x="76" y="132"/>
                    </a:lnTo>
                    <a:lnTo>
                      <a:pt x="76" y="128"/>
                    </a:lnTo>
                    <a:lnTo>
                      <a:pt x="76" y="120"/>
                    </a:lnTo>
                    <a:lnTo>
                      <a:pt x="76" y="120"/>
                    </a:lnTo>
                    <a:lnTo>
                      <a:pt x="88" y="120"/>
                    </a:lnTo>
                    <a:lnTo>
                      <a:pt x="88" y="120"/>
                    </a:lnTo>
                    <a:lnTo>
                      <a:pt x="88" y="118"/>
                    </a:lnTo>
                    <a:lnTo>
                      <a:pt x="88" y="118"/>
                    </a:lnTo>
                    <a:lnTo>
                      <a:pt x="96" y="118"/>
                    </a:lnTo>
                    <a:lnTo>
                      <a:pt x="96" y="116"/>
                    </a:lnTo>
                    <a:lnTo>
                      <a:pt x="96" y="116"/>
                    </a:lnTo>
                    <a:lnTo>
                      <a:pt x="102" y="114"/>
                    </a:lnTo>
                    <a:lnTo>
                      <a:pt x="102" y="114"/>
                    </a:lnTo>
                    <a:lnTo>
                      <a:pt x="104" y="110"/>
                    </a:lnTo>
                    <a:lnTo>
                      <a:pt x="104" y="110"/>
                    </a:lnTo>
                    <a:lnTo>
                      <a:pt x="110" y="110"/>
                    </a:lnTo>
                    <a:lnTo>
                      <a:pt x="116" y="108"/>
                    </a:lnTo>
                    <a:lnTo>
                      <a:pt x="116" y="108"/>
                    </a:lnTo>
                    <a:lnTo>
                      <a:pt x="120" y="104"/>
                    </a:lnTo>
                    <a:lnTo>
                      <a:pt x="122" y="100"/>
                    </a:lnTo>
                    <a:lnTo>
                      <a:pt x="122" y="100"/>
                    </a:lnTo>
                    <a:lnTo>
                      <a:pt x="126" y="98"/>
                    </a:lnTo>
                    <a:lnTo>
                      <a:pt x="130" y="96"/>
                    </a:lnTo>
                    <a:lnTo>
                      <a:pt x="130" y="96"/>
                    </a:lnTo>
                    <a:lnTo>
                      <a:pt x="130" y="92"/>
                    </a:lnTo>
                    <a:lnTo>
                      <a:pt x="130" y="90"/>
                    </a:lnTo>
                    <a:lnTo>
                      <a:pt x="130" y="90"/>
                    </a:lnTo>
                    <a:lnTo>
                      <a:pt x="136" y="86"/>
                    </a:lnTo>
                    <a:lnTo>
                      <a:pt x="136" y="86"/>
                    </a:lnTo>
                    <a:lnTo>
                      <a:pt x="136" y="84"/>
                    </a:lnTo>
                    <a:lnTo>
                      <a:pt x="136" y="82"/>
                    </a:lnTo>
                    <a:lnTo>
                      <a:pt x="136" y="78"/>
                    </a:lnTo>
                    <a:lnTo>
                      <a:pt x="136" y="78"/>
                    </a:lnTo>
                    <a:lnTo>
                      <a:pt x="140" y="76"/>
                    </a:lnTo>
                    <a:lnTo>
                      <a:pt x="140" y="76"/>
                    </a:lnTo>
                    <a:lnTo>
                      <a:pt x="140" y="72"/>
                    </a:lnTo>
                    <a:lnTo>
                      <a:pt x="138" y="72"/>
                    </a:lnTo>
                    <a:lnTo>
                      <a:pt x="138" y="72"/>
                    </a:lnTo>
                    <a:lnTo>
                      <a:pt x="136" y="68"/>
                    </a:lnTo>
                    <a:lnTo>
                      <a:pt x="136" y="66"/>
                    </a:lnTo>
                    <a:lnTo>
                      <a:pt x="136" y="66"/>
                    </a:lnTo>
                    <a:lnTo>
                      <a:pt x="138" y="62"/>
                    </a:lnTo>
                    <a:lnTo>
                      <a:pt x="138" y="56"/>
                    </a:lnTo>
                    <a:lnTo>
                      <a:pt x="140" y="50"/>
                    </a:lnTo>
                    <a:lnTo>
                      <a:pt x="140" y="46"/>
                    </a:lnTo>
                    <a:lnTo>
                      <a:pt x="140" y="46"/>
                    </a:lnTo>
                    <a:lnTo>
                      <a:pt x="142" y="46"/>
                    </a:lnTo>
                    <a:lnTo>
                      <a:pt x="142" y="44"/>
                    </a:lnTo>
                    <a:lnTo>
                      <a:pt x="142" y="44"/>
                    </a:lnTo>
                    <a:lnTo>
                      <a:pt x="142" y="44"/>
                    </a:lnTo>
                    <a:lnTo>
                      <a:pt x="140" y="42"/>
                    </a:lnTo>
                    <a:lnTo>
                      <a:pt x="140" y="38"/>
                    </a:lnTo>
                    <a:lnTo>
                      <a:pt x="140" y="32"/>
                    </a:lnTo>
                    <a:lnTo>
                      <a:pt x="140" y="32"/>
                    </a:lnTo>
                    <a:lnTo>
                      <a:pt x="138" y="18"/>
                    </a:lnTo>
                    <a:lnTo>
                      <a:pt x="138" y="10"/>
                    </a:lnTo>
                    <a:lnTo>
                      <a:pt x="136" y="6"/>
                    </a:lnTo>
                    <a:lnTo>
                      <a:pt x="136" y="6"/>
                    </a:lnTo>
                    <a:lnTo>
                      <a:pt x="138" y="0"/>
                    </a:lnTo>
                    <a:lnTo>
                      <a:pt x="138" y="0"/>
                    </a:lnTo>
                    <a:lnTo>
                      <a:pt x="124" y="6"/>
                    </a:lnTo>
                    <a:lnTo>
                      <a:pt x="124" y="6"/>
                    </a:lnTo>
                    <a:lnTo>
                      <a:pt x="120" y="8"/>
                    </a:lnTo>
                    <a:lnTo>
                      <a:pt x="114" y="8"/>
                    </a:lnTo>
                    <a:lnTo>
                      <a:pt x="114" y="8"/>
                    </a:lnTo>
                    <a:lnTo>
                      <a:pt x="110" y="10"/>
                    </a:lnTo>
                    <a:lnTo>
                      <a:pt x="108" y="12"/>
                    </a:lnTo>
                    <a:lnTo>
                      <a:pt x="108" y="12"/>
                    </a:lnTo>
                    <a:lnTo>
                      <a:pt x="104" y="14"/>
                    </a:lnTo>
                    <a:lnTo>
                      <a:pt x="102" y="12"/>
                    </a:lnTo>
                    <a:lnTo>
                      <a:pt x="102" y="12"/>
                    </a:lnTo>
                    <a:lnTo>
                      <a:pt x="100" y="12"/>
                    </a:lnTo>
                    <a:lnTo>
                      <a:pt x="100" y="14"/>
                    </a:lnTo>
                    <a:lnTo>
                      <a:pt x="96" y="16"/>
                    </a:lnTo>
                    <a:lnTo>
                      <a:pt x="96" y="16"/>
                    </a:lnTo>
                    <a:lnTo>
                      <a:pt x="86" y="18"/>
                    </a:lnTo>
                    <a:lnTo>
                      <a:pt x="86" y="18"/>
                    </a:lnTo>
                    <a:lnTo>
                      <a:pt x="78" y="20"/>
                    </a:lnTo>
                    <a:lnTo>
                      <a:pt x="78" y="20"/>
                    </a:lnTo>
                    <a:lnTo>
                      <a:pt x="74" y="20"/>
                    </a:lnTo>
                    <a:lnTo>
                      <a:pt x="74" y="18"/>
                    </a:lnTo>
                    <a:lnTo>
                      <a:pt x="72" y="16"/>
                    </a:lnTo>
                    <a:lnTo>
                      <a:pt x="70" y="14"/>
                    </a:lnTo>
                    <a:lnTo>
                      <a:pt x="70" y="14"/>
                    </a:lnTo>
                    <a:lnTo>
                      <a:pt x="68" y="14"/>
                    </a:lnTo>
                    <a:lnTo>
                      <a:pt x="66" y="16"/>
                    </a:lnTo>
                    <a:lnTo>
                      <a:pt x="66" y="16"/>
                    </a:lnTo>
                    <a:lnTo>
                      <a:pt x="60" y="18"/>
                    </a:lnTo>
                    <a:lnTo>
                      <a:pt x="60" y="18"/>
                    </a:lnTo>
                    <a:lnTo>
                      <a:pt x="58" y="22"/>
                    </a:lnTo>
                    <a:lnTo>
                      <a:pt x="58" y="26"/>
                    </a:lnTo>
                    <a:lnTo>
                      <a:pt x="58" y="26"/>
                    </a:lnTo>
                    <a:lnTo>
                      <a:pt x="62" y="30"/>
                    </a:lnTo>
                    <a:lnTo>
                      <a:pt x="62" y="30"/>
                    </a:lnTo>
                    <a:lnTo>
                      <a:pt x="60" y="34"/>
                    </a:lnTo>
                    <a:lnTo>
                      <a:pt x="60" y="38"/>
                    </a:lnTo>
                    <a:lnTo>
                      <a:pt x="60" y="38"/>
                    </a:lnTo>
                    <a:lnTo>
                      <a:pt x="62" y="44"/>
                    </a:lnTo>
                    <a:lnTo>
                      <a:pt x="62" y="4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0" name="Freeform 132"/>
              <p:cNvSpPr>
                <a:spLocks noChangeAspect="1"/>
              </p:cNvSpPr>
              <p:nvPr/>
            </p:nvSpPr>
            <p:spPr bwMode="gray">
              <a:xfrm>
                <a:off x="4005189" y="3414309"/>
                <a:ext cx="255017" cy="246746"/>
              </a:xfrm>
              <a:custGeom>
                <a:avLst/>
                <a:gdLst/>
                <a:ahLst/>
                <a:cxnLst>
                  <a:cxn ang="0">
                    <a:pos x="136" y="14"/>
                  </a:cxn>
                  <a:cxn ang="0">
                    <a:pos x="130" y="8"/>
                  </a:cxn>
                  <a:cxn ang="0">
                    <a:pos x="126" y="10"/>
                  </a:cxn>
                  <a:cxn ang="0">
                    <a:pos x="118" y="12"/>
                  </a:cxn>
                  <a:cxn ang="0">
                    <a:pos x="108" y="12"/>
                  </a:cxn>
                  <a:cxn ang="0">
                    <a:pos x="100" y="12"/>
                  </a:cxn>
                  <a:cxn ang="0">
                    <a:pos x="96" y="0"/>
                  </a:cxn>
                  <a:cxn ang="0">
                    <a:pos x="86" y="6"/>
                  </a:cxn>
                  <a:cxn ang="0">
                    <a:pos x="84" y="14"/>
                  </a:cxn>
                  <a:cxn ang="0">
                    <a:pos x="82" y="22"/>
                  </a:cxn>
                  <a:cxn ang="0">
                    <a:pos x="76" y="30"/>
                  </a:cxn>
                  <a:cxn ang="0">
                    <a:pos x="74" y="36"/>
                  </a:cxn>
                  <a:cxn ang="0">
                    <a:pos x="58" y="48"/>
                  </a:cxn>
                  <a:cxn ang="0">
                    <a:pos x="46" y="54"/>
                  </a:cxn>
                  <a:cxn ang="0">
                    <a:pos x="40" y="68"/>
                  </a:cxn>
                  <a:cxn ang="0">
                    <a:pos x="34" y="76"/>
                  </a:cxn>
                  <a:cxn ang="0">
                    <a:pos x="34" y="86"/>
                  </a:cxn>
                  <a:cxn ang="0">
                    <a:pos x="36" y="110"/>
                  </a:cxn>
                  <a:cxn ang="0">
                    <a:pos x="32" y="118"/>
                  </a:cxn>
                  <a:cxn ang="0">
                    <a:pos x="22" y="134"/>
                  </a:cxn>
                  <a:cxn ang="0">
                    <a:pos x="18" y="134"/>
                  </a:cxn>
                  <a:cxn ang="0">
                    <a:pos x="10" y="144"/>
                  </a:cxn>
                  <a:cxn ang="0">
                    <a:pos x="0" y="150"/>
                  </a:cxn>
                  <a:cxn ang="0">
                    <a:pos x="58" y="134"/>
                  </a:cxn>
                  <a:cxn ang="0">
                    <a:pos x="62" y="130"/>
                  </a:cxn>
                  <a:cxn ang="0">
                    <a:pos x="72" y="120"/>
                  </a:cxn>
                  <a:cxn ang="0">
                    <a:pos x="86" y="116"/>
                  </a:cxn>
                  <a:cxn ang="0">
                    <a:pos x="92" y="112"/>
                  </a:cxn>
                  <a:cxn ang="0">
                    <a:pos x="100" y="108"/>
                  </a:cxn>
                  <a:cxn ang="0">
                    <a:pos x="110" y="104"/>
                  </a:cxn>
                  <a:cxn ang="0">
                    <a:pos x="120" y="88"/>
                  </a:cxn>
                  <a:cxn ang="0">
                    <a:pos x="128" y="84"/>
                  </a:cxn>
                  <a:cxn ang="0">
                    <a:pos x="132" y="76"/>
                  </a:cxn>
                  <a:cxn ang="0">
                    <a:pos x="134" y="72"/>
                  </a:cxn>
                  <a:cxn ang="0">
                    <a:pos x="138" y="68"/>
                  </a:cxn>
                  <a:cxn ang="0">
                    <a:pos x="148" y="60"/>
                  </a:cxn>
                  <a:cxn ang="0">
                    <a:pos x="148" y="56"/>
                  </a:cxn>
                  <a:cxn ang="0">
                    <a:pos x="144" y="48"/>
                  </a:cxn>
                  <a:cxn ang="0">
                    <a:pos x="142" y="40"/>
                  </a:cxn>
                  <a:cxn ang="0">
                    <a:pos x="138" y="34"/>
                  </a:cxn>
                  <a:cxn ang="0">
                    <a:pos x="140" y="24"/>
                  </a:cxn>
                  <a:cxn ang="0">
                    <a:pos x="138" y="16"/>
                  </a:cxn>
                </a:cxnLst>
                <a:rect l="0" t="0" r="r" b="b"/>
                <a:pathLst>
                  <a:path w="150" h="150">
                    <a:moveTo>
                      <a:pt x="136" y="14"/>
                    </a:moveTo>
                    <a:lnTo>
                      <a:pt x="136" y="14"/>
                    </a:lnTo>
                    <a:lnTo>
                      <a:pt x="136" y="14"/>
                    </a:lnTo>
                    <a:lnTo>
                      <a:pt x="130" y="12"/>
                    </a:lnTo>
                    <a:lnTo>
                      <a:pt x="130" y="12"/>
                    </a:lnTo>
                    <a:lnTo>
                      <a:pt x="130" y="8"/>
                    </a:lnTo>
                    <a:lnTo>
                      <a:pt x="128" y="8"/>
                    </a:lnTo>
                    <a:lnTo>
                      <a:pt x="128" y="8"/>
                    </a:lnTo>
                    <a:lnTo>
                      <a:pt x="126" y="10"/>
                    </a:lnTo>
                    <a:lnTo>
                      <a:pt x="124" y="12"/>
                    </a:lnTo>
                    <a:lnTo>
                      <a:pt x="124" y="12"/>
                    </a:lnTo>
                    <a:lnTo>
                      <a:pt x="118" y="12"/>
                    </a:lnTo>
                    <a:lnTo>
                      <a:pt x="112" y="12"/>
                    </a:lnTo>
                    <a:lnTo>
                      <a:pt x="112" y="12"/>
                    </a:lnTo>
                    <a:lnTo>
                      <a:pt x="108" y="12"/>
                    </a:lnTo>
                    <a:lnTo>
                      <a:pt x="104" y="14"/>
                    </a:lnTo>
                    <a:lnTo>
                      <a:pt x="104" y="14"/>
                    </a:lnTo>
                    <a:lnTo>
                      <a:pt x="100" y="12"/>
                    </a:lnTo>
                    <a:lnTo>
                      <a:pt x="98" y="8"/>
                    </a:lnTo>
                    <a:lnTo>
                      <a:pt x="96" y="0"/>
                    </a:lnTo>
                    <a:lnTo>
                      <a:pt x="96" y="0"/>
                    </a:lnTo>
                    <a:lnTo>
                      <a:pt x="92" y="0"/>
                    </a:lnTo>
                    <a:lnTo>
                      <a:pt x="92" y="0"/>
                    </a:lnTo>
                    <a:lnTo>
                      <a:pt x="86" y="6"/>
                    </a:lnTo>
                    <a:lnTo>
                      <a:pt x="86" y="6"/>
                    </a:lnTo>
                    <a:lnTo>
                      <a:pt x="86" y="10"/>
                    </a:lnTo>
                    <a:lnTo>
                      <a:pt x="84" y="14"/>
                    </a:lnTo>
                    <a:lnTo>
                      <a:pt x="82" y="16"/>
                    </a:lnTo>
                    <a:lnTo>
                      <a:pt x="82" y="16"/>
                    </a:lnTo>
                    <a:lnTo>
                      <a:pt x="82" y="22"/>
                    </a:lnTo>
                    <a:lnTo>
                      <a:pt x="82" y="22"/>
                    </a:lnTo>
                    <a:lnTo>
                      <a:pt x="80" y="26"/>
                    </a:lnTo>
                    <a:lnTo>
                      <a:pt x="76" y="30"/>
                    </a:lnTo>
                    <a:lnTo>
                      <a:pt x="76" y="30"/>
                    </a:lnTo>
                    <a:lnTo>
                      <a:pt x="74" y="36"/>
                    </a:lnTo>
                    <a:lnTo>
                      <a:pt x="74" y="36"/>
                    </a:lnTo>
                    <a:lnTo>
                      <a:pt x="68" y="42"/>
                    </a:lnTo>
                    <a:lnTo>
                      <a:pt x="58" y="48"/>
                    </a:lnTo>
                    <a:lnTo>
                      <a:pt x="58" y="48"/>
                    </a:lnTo>
                    <a:lnTo>
                      <a:pt x="54" y="48"/>
                    </a:lnTo>
                    <a:lnTo>
                      <a:pt x="54" y="48"/>
                    </a:lnTo>
                    <a:lnTo>
                      <a:pt x="46" y="54"/>
                    </a:lnTo>
                    <a:lnTo>
                      <a:pt x="40" y="60"/>
                    </a:lnTo>
                    <a:lnTo>
                      <a:pt x="40" y="60"/>
                    </a:lnTo>
                    <a:lnTo>
                      <a:pt x="40" y="68"/>
                    </a:lnTo>
                    <a:lnTo>
                      <a:pt x="40" y="68"/>
                    </a:lnTo>
                    <a:lnTo>
                      <a:pt x="38" y="72"/>
                    </a:lnTo>
                    <a:lnTo>
                      <a:pt x="34" y="76"/>
                    </a:lnTo>
                    <a:lnTo>
                      <a:pt x="34" y="76"/>
                    </a:lnTo>
                    <a:lnTo>
                      <a:pt x="34" y="80"/>
                    </a:lnTo>
                    <a:lnTo>
                      <a:pt x="34" y="86"/>
                    </a:lnTo>
                    <a:lnTo>
                      <a:pt x="36" y="96"/>
                    </a:lnTo>
                    <a:lnTo>
                      <a:pt x="36" y="106"/>
                    </a:lnTo>
                    <a:lnTo>
                      <a:pt x="36" y="110"/>
                    </a:lnTo>
                    <a:lnTo>
                      <a:pt x="34" y="116"/>
                    </a:lnTo>
                    <a:lnTo>
                      <a:pt x="34" y="116"/>
                    </a:lnTo>
                    <a:lnTo>
                      <a:pt x="32" y="118"/>
                    </a:lnTo>
                    <a:lnTo>
                      <a:pt x="32" y="118"/>
                    </a:lnTo>
                    <a:lnTo>
                      <a:pt x="26" y="126"/>
                    </a:lnTo>
                    <a:lnTo>
                      <a:pt x="22" y="134"/>
                    </a:lnTo>
                    <a:lnTo>
                      <a:pt x="22" y="134"/>
                    </a:lnTo>
                    <a:lnTo>
                      <a:pt x="18" y="134"/>
                    </a:lnTo>
                    <a:lnTo>
                      <a:pt x="18" y="134"/>
                    </a:lnTo>
                    <a:lnTo>
                      <a:pt x="14" y="140"/>
                    </a:lnTo>
                    <a:lnTo>
                      <a:pt x="10" y="144"/>
                    </a:lnTo>
                    <a:lnTo>
                      <a:pt x="10" y="144"/>
                    </a:lnTo>
                    <a:lnTo>
                      <a:pt x="4" y="146"/>
                    </a:lnTo>
                    <a:lnTo>
                      <a:pt x="4" y="146"/>
                    </a:lnTo>
                    <a:lnTo>
                      <a:pt x="0" y="150"/>
                    </a:lnTo>
                    <a:lnTo>
                      <a:pt x="58" y="148"/>
                    </a:lnTo>
                    <a:lnTo>
                      <a:pt x="58" y="134"/>
                    </a:lnTo>
                    <a:lnTo>
                      <a:pt x="58" y="134"/>
                    </a:lnTo>
                    <a:lnTo>
                      <a:pt x="58" y="134"/>
                    </a:lnTo>
                    <a:lnTo>
                      <a:pt x="62" y="130"/>
                    </a:lnTo>
                    <a:lnTo>
                      <a:pt x="62" y="130"/>
                    </a:lnTo>
                    <a:lnTo>
                      <a:pt x="68" y="122"/>
                    </a:lnTo>
                    <a:lnTo>
                      <a:pt x="68" y="122"/>
                    </a:lnTo>
                    <a:lnTo>
                      <a:pt x="72" y="120"/>
                    </a:lnTo>
                    <a:lnTo>
                      <a:pt x="78" y="118"/>
                    </a:lnTo>
                    <a:lnTo>
                      <a:pt x="78" y="118"/>
                    </a:lnTo>
                    <a:lnTo>
                      <a:pt x="86" y="116"/>
                    </a:lnTo>
                    <a:lnTo>
                      <a:pt x="90" y="114"/>
                    </a:lnTo>
                    <a:lnTo>
                      <a:pt x="92" y="112"/>
                    </a:lnTo>
                    <a:lnTo>
                      <a:pt x="92" y="112"/>
                    </a:lnTo>
                    <a:lnTo>
                      <a:pt x="96" y="108"/>
                    </a:lnTo>
                    <a:lnTo>
                      <a:pt x="100" y="108"/>
                    </a:lnTo>
                    <a:lnTo>
                      <a:pt x="100" y="108"/>
                    </a:lnTo>
                    <a:lnTo>
                      <a:pt x="106" y="106"/>
                    </a:lnTo>
                    <a:lnTo>
                      <a:pt x="110" y="104"/>
                    </a:lnTo>
                    <a:lnTo>
                      <a:pt x="110" y="104"/>
                    </a:lnTo>
                    <a:lnTo>
                      <a:pt x="114" y="100"/>
                    </a:lnTo>
                    <a:lnTo>
                      <a:pt x="116" y="94"/>
                    </a:lnTo>
                    <a:lnTo>
                      <a:pt x="120" y="88"/>
                    </a:lnTo>
                    <a:lnTo>
                      <a:pt x="120" y="88"/>
                    </a:lnTo>
                    <a:lnTo>
                      <a:pt x="122" y="88"/>
                    </a:lnTo>
                    <a:lnTo>
                      <a:pt x="128" y="84"/>
                    </a:lnTo>
                    <a:lnTo>
                      <a:pt x="128" y="84"/>
                    </a:lnTo>
                    <a:lnTo>
                      <a:pt x="132" y="80"/>
                    </a:lnTo>
                    <a:lnTo>
                      <a:pt x="132" y="76"/>
                    </a:lnTo>
                    <a:lnTo>
                      <a:pt x="132" y="76"/>
                    </a:lnTo>
                    <a:lnTo>
                      <a:pt x="132" y="74"/>
                    </a:lnTo>
                    <a:lnTo>
                      <a:pt x="134" y="72"/>
                    </a:lnTo>
                    <a:lnTo>
                      <a:pt x="136" y="70"/>
                    </a:lnTo>
                    <a:lnTo>
                      <a:pt x="138" y="68"/>
                    </a:lnTo>
                    <a:lnTo>
                      <a:pt x="138" y="68"/>
                    </a:lnTo>
                    <a:lnTo>
                      <a:pt x="140" y="66"/>
                    </a:lnTo>
                    <a:lnTo>
                      <a:pt x="142" y="64"/>
                    </a:lnTo>
                    <a:lnTo>
                      <a:pt x="148" y="60"/>
                    </a:lnTo>
                    <a:lnTo>
                      <a:pt x="148" y="60"/>
                    </a:lnTo>
                    <a:lnTo>
                      <a:pt x="150" y="58"/>
                    </a:lnTo>
                    <a:lnTo>
                      <a:pt x="148" y="56"/>
                    </a:lnTo>
                    <a:lnTo>
                      <a:pt x="146" y="52"/>
                    </a:lnTo>
                    <a:lnTo>
                      <a:pt x="146" y="52"/>
                    </a:lnTo>
                    <a:lnTo>
                      <a:pt x="144" y="48"/>
                    </a:lnTo>
                    <a:lnTo>
                      <a:pt x="144" y="42"/>
                    </a:lnTo>
                    <a:lnTo>
                      <a:pt x="144" y="42"/>
                    </a:lnTo>
                    <a:lnTo>
                      <a:pt x="142" y="40"/>
                    </a:lnTo>
                    <a:lnTo>
                      <a:pt x="140" y="38"/>
                    </a:lnTo>
                    <a:lnTo>
                      <a:pt x="140" y="38"/>
                    </a:lnTo>
                    <a:lnTo>
                      <a:pt x="138" y="34"/>
                    </a:lnTo>
                    <a:lnTo>
                      <a:pt x="138" y="34"/>
                    </a:lnTo>
                    <a:lnTo>
                      <a:pt x="140" y="28"/>
                    </a:lnTo>
                    <a:lnTo>
                      <a:pt x="140" y="24"/>
                    </a:lnTo>
                    <a:lnTo>
                      <a:pt x="140" y="24"/>
                    </a:lnTo>
                    <a:lnTo>
                      <a:pt x="140" y="20"/>
                    </a:lnTo>
                    <a:lnTo>
                      <a:pt x="138" y="16"/>
                    </a:lnTo>
                    <a:lnTo>
                      <a:pt x="136" y="14"/>
                    </a:lnTo>
                    <a:lnTo>
                      <a:pt x="136" y="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1" name="Freeform 137"/>
              <p:cNvSpPr>
                <a:spLocks noChangeAspect="1"/>
              </p:cNvSpPr>
              <p:nvPr/>
            </p:nvSpPr>
            <p:spPr bwMode="gray">
              <a:xfrm>
                <a:off x="3899782" y="3677505"/>
                <a:ext cx="282219" cy="335574"/>
              </a:xfrm>
              <a:custGeom>
                <a:avLst/>
                <a:gdLst/>
                <a:ahLst/>
                <a:cxnLst>
                  <a:cxn ang="0">
                    <a:pos x="12" y="176"/>
                  </a:cxn>
                  <a:cxn ang="0">
                    <a:pos x="14" y="174"/>
                  </a:cxn>
                  <a:cxn ang="0">
                    <a:pos x="18" y="172"/>
                  </a:cxn>
                  <a:cxn ang="0">
                    <a:pos x="18" y="170"/>
                  </a:cxn>
                  <a:cxn ang="0">
                    <a:pos x="24" y="172"/>
                  </a:cxn>
                  <a:cxn ang="0">
                    <a:pos x="34" y="172"/>
                  </a:cxn>
                  <a:cxn ang="0">
                    <a:pos x="38" y="172"/>
                  </a:cxn>
                  <a:cxn ang="0">
                    <a:pos x="42" y="176"/>
                  </a:cxn>
                  <a:cxn ang="0">
                    <a:pos x="44" y="178"/>
                  </a:cxn>
                  <a:cxn ang="0">
                    <a:pos x="46" y="184"/>
                  </a:cxn>
                  <a:cxn ang="0">
                    <a:pos x="48" y="186"/>
                  </a:cxn>
                  <a:cxn ang="0">
                    <a:pos x="52" y="186"/>
                  </a:cxn>
                  <a:cxn ang="0">
                    <a:pos x="54" y="190"/>
                  </a:cxn>
                  <a:cxn ang="0">
                    <a:pos x="54" y="196"/>
                  </a:cxn>
                  <a:cxn ang="0">
                    <a:pos x="58" y="198"/>
                  </a:cxn>
                  <a:cxn ang="0">
                    <a:pos x="62" y="198"/>
                  </a:cxn>
                  <a:cxn ang="0">
                    <a:pos x="66" y="204"/>
                  </a:cxn>
                  <a:cxn ang="0">
                    <a:pos x="68" y="204"/>
                  </a:cxn>
                  <a:cxn ang="0">
                    <a:pos x="70" y="202"/>
                  </a:cxn>
                  <a:cxn ang="0">
                    <a:pos x="72" y="198"/>
                  </a:cxn>
                  <a:cxn ang="0">
                    <a:pos x="72" y="194"/>
                  </a:cxn>
                  <a:cxn ang="0">
                    <a:pos x="74" y="188"/>
                  </a:cxn>
                  <a:cxn ang="0">
                    <a:pos x="84" y="190"/>
                  </a:cxn>
                  <a:cxn ang="0">
                    <a:pos x="90" y="190"/>
                  </a:cxn>
                  <a:cxn ang="0">
                    <a:pos x="92" y="190"/>
                  </a:cxn>
                  <a:cxn ang="0">
                    <a:pos x="96" y="190"/>
                  </a:cxn>
                  <a:cxn ang="0">
                    <a:pos x="96" y="188"/>
                  </a:cxn>
                  <a:cxn ang="0">
                    <a:pos x="96" y="182"/>
                  </a:cxn>
                  <a:cxn ang="0">
                    <a:pos x="100" y="182"/>
                  </a:cxn>
                  <a:cxn ang="0">
                    <a:pos x="150" y="184"/>
                  </a:cxn>
                  <a:cxn ang="0">
                    <a:pos x="154" y="176"/>
                  </a:cxn>
                  <a:cxn ang="0">
                    <a:pos x="154" y="172"/>
                  </a:cxn>
                  <a:cxn ang="0">
                    <a:pos x="150" y="170"/>
                  </a:cxn>
                  <a:cxn ang="0">
                    <a:pos x="166" y="34"/>
                  </a:cxn>
                  <a:cxn ang="0">
                    <a:pos x="120" y="24"/>
                  </a:cxn>
                  <a:cxn ang="0">
                    <a:pos x="70" y="60"/>
                  </a:cxn>
                  <a:cxn ang="0">
                    <a:pos x="62" y="62"/>
                  </a:cxn>
                  <a:cxn ang="0">
                    <a:pos x="54" y="66"/>
                  </a:cxn>
                  <a:cxn ang="0">
                    <a:pos x="54" y="70"/>
                  </a:cxn>
                  <a:cxn ang="0">
                    <a:pos x="4" y="98"/>
                  </a:cxn>
                  <a:cxn ang="0">
                    <a:pos x="4" y="98"/>
                  </a:cxn>
                  <a:cxn ang="0">
                    <a:pos x="0" y="102"/>
                  </a:cxn>
                  <a:cxn ang="0">
                    <a:pos x="4" y="108"/>
                  </a:cxn>
                  <a:cxn ang="0">
                    <a:pos x="8" y="114"/>
                  </a:cxn>
                  <a:cxn ang="0">
                    <a:pos x="8" y="116"/>
                  </a:cxn>
                  <a:cxn ang="0">
                    <a:pos x="6" y="120"/>
                  </a:cxn>
                  <a:cxn ang="0">
                    <a:pos x="8" y="122"/>
                  </a:cxn>
                  <a:cxn ang="0">
                    <a:pos x="8" y="128"/>
                  </a:cxn>
                  <a:cxn ang="0">
                    <a:pos x="8" y="128"/>
                  </a:cxn>
                  <a:cxn ang="0">
                    <a:pos x="6" y="136"/>
                  </a:cxn>
                  <a:cxn ang="0">
                    <a:pos x="8" y="140"/>
                  </a:cxn>
                  <a:cxn ang="0">
                    <a:pos x="10" y="142"/>
                  </a:cxn>
                  <a:cxn ang="0">
                    <a:pos x="10" y="154"/>
                  </a:cxn>
                  <a:cxn ang="0">
                    <a:pos x="12" y="156"/>
                  </a:cxn>
                  <a:cxn ang="0">
                    <a:pos x="12" y="158"/>
                  </a:cxn>
                  <a:cxn ang="0">
                    <a:pos x="10" y="162"/>
                  </a:cxn>
                  <a:cxn ang="0">
                    <a:pos x="10" y="170"/>
                  </a:cxn>
                  <a:cxn ang="0">
                    <a:pos x="8" y="178"/>
                  </a:cxn>
                </a:cxnLst>
                <a:rect l="0" t="0" r="r" b="b"/>
                <a:pathLst>
                  <a:path w="166" h="204">
                    <a:moveTo>
                      <a:pt x="8" y="178"/>
                    </a:moveTo>
                    <a:lnTo>
                      <a:pt x="12" y="176"/>
                    </a:lnTo>
                    <a:lnTo>
                      <a:pt x="12" y="176"/>
                    </a:lnTo>
                    <a:lnTo>
                      <a:pt x="14" y="174"/>
                    </a:lnTo>
                    <a:lnTo>
                      <a:pt x="16" y="174"/>
                    </a:lnTo>
                    <a:lnTo>
                      <a:pt x="18" y="172"/>
                    </a:lnTo>
                    <a:lnTo>
                      <a:pt x="18" y="172"/>
                    </a:lnTo>
                    <a:lnTo>
                      <a:pt x="18" y="170"/>
                    </a:lnTo>
                    <a:lnTo>
                      <a:pt x="20" y="170"/>
                    </a:lnTo>
                    <a:lnTo>
                      <a:pt x="24" y="172"/>
                    </a:lnTo>
                    <a:lnTo>
                      <a:pt x="24" y="172"/>
                    </a:lnTo>
                    <a:lnTo>
                      <a:pt x="34" y="172"/>
                    </a:lnTo>
                    <a:lnTo>
                      <a:pt x="34" y="172"/>
                    </a:lnTo>
                    <a:lnTo>
                      <a:pt x="38" y="172"/>
                    </a:lnTo>
                    <a:lnTo>
                      <a:pt x="38" y="172"/>
                    </a:lnTo>
                    <a:lnTo>
                      <a:pt x="42" y="176"/>
                    </a:lnTo>
                    <a:lnTo>
                      <a:pt x="42" y="176"/>
                    </a:lnTo>
                    <a:lnTo>
                      <a:pt x="44" y="178"/>
                    </a:lnTo>
                    <a:lnTo>
                      <a:pt x="46" y="184"/>
                    </a:lnTo>
                    <a:lnTo>
                      <a:pt x="46" y="184"/>
                    </a:lnTo>
                    <a:lnTo>
                      <a:pt x="46" y="186"/>
                    </a:lnTo>
                    <a:lnTo>
                      <a:pt x="48" y="186"/>
                    </a:lnTo>
                    <a:lnTo>
                      <a:pt x="52" y="186"/>
                    </a:lnTo>
                    <a:lnTo>
                      <a:pt x="52" y="186"/>
                    </a:lnTo>
                    <a:lnTo>
                      <a:pt x="54" y="188"/>
                    </a:lnTo>
                    <a:lnTo>
                      <a:pt x="54" y="190"/>
                    </a:lnTo>
                    <a:lnTo>
                      <a:pt x="54" y="196"/>
                    </a:lnTo>
                    <a:lnTo>
                      <a:pt x="54" y="196"/>
                    </a:lnTo>
                    <a:lnTo>
                      <a:pt x="56" y="198"/>
                    </a:lnTo>
                    <a:lnTo>
                      <a:pt x="58" y="198"/>
                    </a:lnTo>
                    <a:lnTo>
                      <a:pt x="62" y="198"/>
                    </a:lnTo>
                    <a:lnTo>
                      <a:pt x="62" y="198"/>
                    </a:lnTo>
                    <a:lnTo>
                      <a:pt x="62" y="198"/>
                    </a:lnTo>
                    <a:lnTo>
                      <a:pt x="66" y="204"/>
                    </a:lnTo>
                    <a:lnTo>
                      <a:pt x="66" y="204"/>
                    </a:lnTo>
                    <a:lnTo>
                      <a:pt x="68" y="204"/>
                    </a:lnTo>
                    <a:lnTo>
                      <a:pt x="70" y="202"/>
                    </a:lnTo>
                    <a:lnTo>
                      <a:pt x="70" y="202"/>
                    </a:lnTo>
                    <a:lnTo>
                      <a:pt x="72" y="200"/>
                    </a:lnTo>
                    <a:lnTo>
                      <a:pt x="72" y="198"/>
                    </a:lnTo>
                    <a:lnTo>
                      <a:pt x="72" y="194"/>
                    </a:lnTo>
                    <a:lnTo>
                      <a:pt x="72" y="194"/>
                    </a:lnTo>
                    <a:lnTo>
                      <a:pt x="74" y="190"/>
                    </a:lnTo>
                    <a:lnTo>
                      <a:pt x="74" y="188"/>
                    </a:lnTo>
                    <a:lnTo>
                      <a:pt x="74" y="188"/>
                    </a:lnTo>
                    <a:lnTo>
                      <a:pt x="84" y="190"/>
                    </a:lnTo>
                    <a:lnTo>
                      <a:pt x="84" y="190"/>
                    </a:lnTo>
                    <a:lnTo>
                      <a:pt x="90" y="190"/>
                    </a:lnTo>
                    <a:lnTo>
                      <a:pt x="92" y="190"/>
                    </a:lnTo>
                    <a:lnTo>
                      <a:pt x="92" y="190"/>
                    </a:lnTo>
                    <a:lnTo>
                      <a:pt x="94" y="190"/>
                    </a:lnTo>
                    <a:lnTo>
                      <a:pt x="96" y="190"/>
                    </a:lnTo>
                    <a:lnTo>
                      <a:pt x="96" y="188"/>
                    </a:lnTo>
                    <a:lnTo>
                      <a:pt x="96" y="188"/>
                    </a:lnTo>
                    <a:lnTo>
                      <a:pt x="94" y="184"/>
                    </a:lnTo>
                    <a:lnTo>
                      <a:pt x="96" y="182"/>
                    </a:lnTo>
                    <a:lnTo>
                      <a:pt x="96" y="182"/>
                    </a:lnTo>
                    <a:lnTo>
                      <a:pt x="100" y="182"/>
                    </a:lnTo>
                    <a:lnTo>
                      <a:pt x="102" y="184"/>
                    </a:lnTo>
                    <a:lnTo>
                      <a:pt x="150" y="184"/>
                    </a:lnTo>
                    <a:lnTo>
                      <a:pt x="150" y="184"/>
                    </a:lnTo>
                    <a:lnTo>
                      <a:pt x="154" y="176"/>
                    </a:lnTo>
                    <a:lnTo>
                      <a:pt x="154" y="176"/>
                    </a:lnTo>
                    <a:lnTo>
                      <a:pt x="154" y="172"/>
                    </a:lnTo>
                    <a:lnTo>
                      <a:pt x="152" y="172"/>
                    </a:lnTo>
                    <a:lnTo>
                      <a:pt x="150" y="170"/>
                    </a:lnTo>
                    <a:lnTo>
                      <a:pt x="142" y="34"/>
                    </a:lnTo>
                    <a:lnTo>
                      <a:pt x="166" y="34"/>
                    </a:lnTo>
                    <a:lnTo>
                      <a:pt x="120" y="0"/>
                    </a:lnTo>
                    <a:lnTo>
                      <a:pt x="120" y="24"/>
                    </a:lnTo>
                    <a:lnTo>
                      <a:pt x="70" y="24"/>
                    </a:lnTo>
                    <a:lnTo>
                      <a:pt x="70" y="60"/>
                    </a:lnTo>
                    <a:lnTo>
                      <a:pt x="70" y="60"/>
                    </a:lnTo>
                    <a:lnTo>
                      <a:pt x="62" y="62"/>
                    </a:lnTo>
                    <a:lnTo>
                      <a:pt x="56" y="64"/>
                    </a:lnTo>
                    <a:lnTo>
                      <a:pt x="54" y="66"/>
                    </a:lnTo>
                    <a:lnTo>
                      <a:pt x="54" y="70"/>
                    </a:lnTo>
                    <a:lnTo>
                      <a:pt x="54" y="70"/>
                    </a:lnTo>
                    <a:lnTo>
                      <a:pt x="54" y="96"/>
                    </a:lnTo>
                    <a:lnTo>
                      <a:pt x="4" y="98"/>
                    </a:lnTo>
                    <a:lnTo>
                      <a:pt x="4" y="98"/>
                    </a:lnTo>
                    <a:lnTo>
                      <a:pt x="4" y="98"/>
                    </a:lnTo>
                    <a:lnTo>
                      <a:pt x="0" y="102"/>
                    </a:lnTo>
                    <a:lnTo>
                      <a:pt x="0" y="102"/>
                    </a:lnTo>
                    <a:lnTo>
                      <a:pt x="4" y="108"/>
                    </a:lnTo>
                    <a:lnTo>
                      <a:pt x="4" y="108"/>
                    </a:lnTo>
                    <a:lnTo>
                      <a:pt x="6" y="112"/>
                    </a:lnTo>
                    <a:lnTo>
                      <a:pt x="8" y="114"/>
                    </a:lnTo>
                    <a:lnTo>
                      <a:pt x="8" y="116"/>
                    </a:lnTo>
                    <a:lnTo>
                      <a:pt x="8" y="116"/>
                    </a:lnTo>
                    <a:lnTo>
                      <a:pt x="8" y="118"/>
                    </a:lnTo>
                    <a:lnTo>
                      <a:pt x="6" y="120"/>
                    </a:lnTo>
                    <a:lnTo>
                      <a:pt x="6" y="120"/>
                    </a:lnTo>
                    <a:lnTo>
                      <a:pt x="8" y="122"/>
                    </a:lnTo>
                    <a:lnTo>
                      <a:pt x="8" y="128"/>
                    </a:lnTo>
                    <a:lnTo>
                      <a:pt x="8" y="128"/>
                    </a:lnTo>
                    <a:lnTo>
                      <a:pt x="8" y="128"/>
                    </a:lnTo>
                    <a:lnTo>
                      <a:pt x="8" y="128"/>
                    </a:lnTo>
                    <a:lnTo>
                      <a:pt x="6" y="130"/>
                    </a:lnTo>
                    <a:lnTo>
                      <a:pt x="6" y="136"/>
                    </a:lnTo>
                    <a:lnTo>
                      <a:pt x="6" y="136"/>
                    </a:lnTo>
                    <a:lnTo>
                      <a:pt x="8" y="140"/>
                    </a:lnTo>
                    <a:lnTo>
                      <a:pt x="10" y="142"/>
                    </a:lnTo>
                    <a:lnTo>
                      <a:pt x="10" y="142"/>
                    </a:lnTo>
                    <a:lnTo>
                      <a:pt x="10" y="148"/>
                    </a:lnTo>
                    <a:lnTo>
                      <a:pt x="10" y="154"/>
                    </a:lnTo>
                    <a:lnTo>
                      <a:pt x="10" y="154"/>
                    </a:lnTo>
                    <a:lnTo>
                      <a:pt x="12" y="156"/>
                    </a:lnTo>
                    <a:lnTo>
                      <a:pt x="12" y="158"/>
                    </a:lnTo>
                    <a:lnTo>
                      <a:pt x="12" y="158"/>
                    </a:lnTo>
                    <a:lnTo>
                      <a:pt x="10" y="158"/>
                    </a:lnTo>
                    <a:lnTo>
                      <a:pt x="10" y="162"/>
                    </a:lnTo>
                    <a:lnTo>
                      <a:pt x="10" y="162"/>
                    </a:lnTo>
                    <a:lnTo>
                      <a:pt x="10" y="170"/>
                    </a:lnTo>
                    <a:lnTo>
                      <a:pt x="10" y="170"/>
                    </a:lnTo>
                    <a:lnTo>
                      <a:pt x="8" y="178"/>
                    </a:lnTo>
                    <a:lnTo>
                      <a:pt x="8" y="17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2" name="Freeform 138"/>
              <p:cNvSpPr>
                <a:spLocks noChangeAspect="1"/>
              </p:cNvSpPr>
              <p:nvPr/>
            </p:nvSpPr>
            <p:spPr bwMode="gray">
              <a:xfrm>
                <a:off x="4008589" y="3733433"/>
                <a:ext cx="374025" cy="427692"/>
              </a:xfrm>
              <a:custGeom>
                <a:avLst/>
                <a:gdLst/>
                <a:ahLst/>
                <a:cxnLst>
                  <a:cxn ang="0">
                    <a:pos x="88" y="232"/>
                  </a:cxn>
                  <a:cxn ang="0">
                    <a:pos x="92" y="226"/>
                  </a:cxn>
                  <a:cxn ang="0">
                    <a:pos x="92" y="216"/>
                  </a:cxn>
                  <a:cxn ang="0">
                    <a:pos x="98" y="210"/>
                  </a:cxn>
                  <a:cxn ang="0">
                    <a:pos x="104" y="202"/>
                  </a:cxn>
                  <a:cxn ang="0">
                    <a:pos x="108" y="194"/>
                  </a:cxn>
                  <a:cxn ang="0">
                    <a:pos x="122" y="188"/>
                  </a:cxn>
                  <a:cxn ang="0">
                    <a:pos x="130" y="176"/>
                  </a:cxn>
                  <a:cxn ang="0">
                    <a:pos x="136" y="172"/>
                  </a:cxn>
                  <a:cxn ang="0">
                    <a:pos x="142" y="162"/>
                  </a:cxn>
                  <a:cxn ang="0">
                    <a:pos x="148" y="158"/>
                  </a:cxn>
                  <a:cxn ang="0">
                    <a:pos x="154" y="156"/>
                  </a:cxn>
                  <a:cxn ang="0">
                    <a:pos x="158" y="156"/>
                  </a:cxn>
                  <a:cxn ang="0">
                    <a:pos x="166" y="158"/>
                  </a:cxn>
                  <a:cxn ang="0">
                    <a:pos x="174" y="158"/>
                  </a:cxn>
                  <a:cxn ang="0">
                    <a:pos x="200" y="152"/>
                  </a:cxn>
                  <a:cxn ang="0">
                    <a:pos x="216" y="144"/>
                  </a:cxn>
                  <a:cxn ang="0">
                    <a:pos x="218" y="96"/>
                  </a:cxn>
                  <a:cxn ang="0">
                    <a:pos x="206" y="98"/>
                  </a:cxn>
                  <a:cxn ang="0">
                    <a:pos x="204" y="90"/>
                  </a:cxn>
                  <a:cxn ang="0">
                    <a:pos x="204" y="80"/>
                  </a:cxn>
                  <a:cxn ang="0">
                    <a:pos x="196" y="74"/>
                  </a:cxn>
                  <a:cxn ang="0">
                    <a:pos x="186" y="64"/>
                  </a:cxn>
                  <a:cxn ang="0">
                    <a:pos x="86" y="136"/>
                  </a:cxn>
                  <a:cxn ang="0">
                    <a:pos x="90" y="142"/>
                  </a:cxn>
                  <a:cxn ang="0">
                    <a:pos x="36" y="148"/>
                  </a:cxn>
                  <a:cxn ang="0">
                    <a:pos x="32" y="154"/>
                  </a:cxn>
                  <a:cxn ang="0">
                    <a:pos x="28" y="156"/>
                  </a:cxn>
                  <a:cxn ang="0">
                    <a:pos x="20" y="156"/>
                  </a:cxn>
                  <a:cxn ang="0">
                    <a:pos x="8" y="160"/>
                  </a:cxn>
                  <a:cxn ang="0">
                    <a:pos x="6" y="168"/>
                  </a:cxn>
                  <a:cxn ang="0">
                    <a:pos x="2" y="170"/>
                  </a:cxn>
                  <a:cxn ang="0">
                    <a:pos x="2" y="178"/>
                  </a:cxn>
                  <a:cxn ang="0">
                    <a:pos x="0" y="190"/>
                  </a:cxn>
                  <a:cxn ang="0">
                    <a:pos x="6" y="198"/>
                  </a:cxn>
                  <a:cxn ang="0">
                    <a:pos x="8" y="216"/>
                  </a:cxn>
                  <a:cxn ang="0">
                    <a:pos x="16" y="214"/>
                  </a:cxn>
                  <a:cxn ang="0">
                    <a:pos x="22" y="216"/>
                  </a:cxn>
                  <a:cxn ang="0">
                    <a:pos x="28" y="214"/>
                  </a:cxn>
                  <a:cxn ang="0">
                    <a:pos x="38" y="214"/>
                  </a:cxn>
                  <a:cxn ang="0">
                    <a:pos x="40" y="222"/>
                  </a:cxn>
                  <a:cxn ang="0">
                    <a:pos x="38" y="232"/>
                  </a:cxn>
                  <a:cxn ang="0">
                    <a:pos x="42" y="238"/>
                  </a:cxn>
                  <a:cxn ang="0">
                    <a:pos x="36" y="246"/>
                  </a:cxn>
                  <a:cxn ang="0">
                    <a:pos x="40" y="248"/>
                  </a:cxn>
                  <a:cxn ang="0">
                    <a:pos x="44" y="248"/>
                  </a:cxn>
                  <a:cxn ang="0">
                    <a:pos x="52" y="252"/>
                  </a:cxn>
                  <a:cxn ang="0">
                    <a:pos x="58" y="258"/>
                  </a:cxn>
                  <a:cxn ang="0">
                    <a:pos x="64" y="258"/>
                  </a:cxn>
                  <a:cxn ang="0">
                    <a:pos x="72" y="256"/>
                  </a:cxn>
                  <a:cxn ang="0">
                    <a:pos x="76" y="248"/>
                  </a:cxn>
                  <a:cxn ang="0">
                    <a:pos x="82" y="252"/>
                  </a:cxn>
                  <a:cxn ang="0">
                    <a:pos x="88" y="242"/>
                  </a:cxn>
                </a:cxnLst>
                <a:rect l="0" t="0" r="r" b="b"/>
                <a:pathLst>
                  <a:path w="220" h="260">
                    <a:moveTo>
                      <a:pt x="88" y="242"/>
                    </a:moveTo>
                    <a:lnTo>
                      <a:pt x="88" y="242"/>
                    </a:lnTo>
                    <a:lnTo>
                      <a:pt x="88" y="236"/>
                    </a:lnTo>
                    <a:lnTo>
                      <a:pt x="88" y="232"/>
                    </a:lnTo>
                    <a:lnTo>
                      <a:pt x="90" y="230"/>
                    </a:lnTo>
                    <a:lnTo>
                      <a:pt x="90" y="230"/>
                    </a:lnTo>
                    <a:lnTo>
                      <a:pt x="92" y="228"/>
                    </a:lnTo>
                    <a:lnTo>
                      <a:pt x="92" y="226"/>
                    </a:lnTo>
                    <a:lnTo>
                      <a:pt x="92" y="222"/>
                    </a:lnTo>
                    <a:lnTo>
                      <a:pt x="92" y="222"/>
                    </a:lnTo>
                    <a:lnTo>
                      <a:pt x="92" y="218"/>
                    </a:lnTo>
                    <a:lnTo>
                      <a:pt x="92" y="216"/>
                    </a:lnTo>
                    <a:lnTo>
                      <a:pt x="92" y="216"/>
                    </a:lnTo>
                    <a:lnTo>
                      <a:pt x="94" y="214"/>
                    </a:lnTo>
                    <a:lnTo>
                      <a:pt x="98" y="210"/>
                    </a:lnTo>
                    <a:lnTo>
                      <a:pt x="98" y="210"/>
                    </a:lnTo>
                    <a:lnTo>
                      <a:pt x="100" y="212"/>
                    </a:lnTo>
                    <a:lnTo>
                      <a:pt x="100" y="212"/>
                    </a:lnTo>
                    <a:lnTo>
                      <a:pt x="100" y="212"/>
                    </a:lnTo>
                    <a:lnTo>
                      <a:pt x="104" y="202"/>
                    </a:lnTo>
                    <a:lnTo>
                      <a:pt x="104" y="202"/>
                    </a:lnTo>
                    <a:lnTo>
                      <a:pt x="106" y="196"/>
                    </a:lnTo>
                    <a:lnTo>
                      <a:pt x="108" y="194"/>
                    </a:lnTo>
                    <a:lnTo>
                      <a:pt x="108" y="194"/>
                    </a:lnTo>
                    <a:lnTo>
                      <a:pt x="114" y="192"/>
                    </a:lnTo>
                    <a:lnTo>
                      <a:pt x="120" y="190"/>
                    </a:lnTo>
                    <a:lnTo>
                      <a:pt x="120" y="190"/>
                    </a:lnTo>
                    <a:lnTo>
                      <a:pt x="122" y="188"/>
                    </a:lnTo>
                    <a:lnTo>
                      <a:pt x="124" y="184"/>
                    </a:lnTo>
                    <a:lnTo>
                      <a:pt x="124" y="184"/>
                    </a:lnTo>
                    <a:lnTo>
                      <a:pt x="126" y="180"/>
                    </a:lnTo>
                    <a:lnTo>
                      <a:pt x="130" y="176"/>
                    </a:lnTo>
                    <a:lnTo>
                      <a:pt x="130" y="176"/>
                    </a:lnTo>
                    <a:lnTo>
                      <a:pt x="134" y="174"/>
                    </a:lnTo>
                    <a:lnTo>
                      <a:pt x="136" y="172"/>
                    </a:lnTo>
                    <a:lnTo>
                      <a:pt x="136" y="172"/>
                    </a:lnTo>
                    <a:lnTo>
                      <a:pt x="136" y="172"/>
                    </a:lnTo>
                    <a:lnTo>
                      <a:pt x="138" y="166"/>
                    </a:lnTo>
                    <a:lnTo>
                      <a:pt x="138" y="164"/>
                    </a:lnTo>
                    <a:lnTo>
                      <a:pt x="142" y="162"/>
                    </a:lnTo>
                    <a:lnTo>
                      <a:pt x="142" y="162"/>
                    </a:lnTo>
                    <a:lnTo>
                      <a:pt x="146" y="162"/>
                    </a:lnTo>
                    <a:lnTo>
                      <a:pt x="148" y="158"/>
                    </a:lnTo>
                    <a:lnTo>
                      <a:pt x="148" y="158"/>
                    </a:lnTo>
                    <a:lnTo>
                      <a:pt x="150" y="154"/>
                    </a:lnTo>
                    <a:lnTo>
                      <a:pt x="152" y="154"/>
                    </a:lnTo>
                    <a:lnTo>
                      <a:pt x="154" y="156"/>
                    </a:lnTo>
                    <a:lnTo>
                      <a:pt x="154" y="156"/>
                    </a:lnTo>
                    <a:lnTo>
                      <a:pt x="154" y="156"/>
                    </a:lnTo>
                    <a:lnTo>
                      <a:pt x="156" y="156"/>
                    </a:lnTo>
                    <a:lnTo>
                      <a:pt x="158" y="154"/>
                    </a:lnTo>
                    <a:lnTo>
                      <a:pt x="158" y="156"/>
                    </a:lnTo>
                    <a:lnTo>
                      <a:pt x="158" y="156"/>
                    </a:lnTo>
                    <a:lnTo>
                      <a:pt x="162" y="160"/>
                    </a:lnTo>
                    <a:lnTo>
                      <a:pt x="164" y="162"/>
                    </a:lnTo>
                    <a:lnTo>
                      <a:pt x="166" y="158"/>
                    </a:lnTo>
                    <a:lnTo>
                      <a:pt x="166" y="158"/>
                    </a:lnTo>
                    <a:lnTo>
                      <a:pt x="170" y="158"/>
                    </a:lnTo>
                    <a:lnTo>
                      <a:pt x="174" y="158"/>
                    </a:lnTo>
                    <a:lnTo>
                      <a:pt x="174" y="158"/>
                    </a:lnTo>
                    <a:lnTo>
                      <a:pt x="182" y="156"/>
                    </a:lnTo>
                    <a:lnTo>
                      <a:pt x="188" y="154"/>
                    </a:lnTo>
                    <a:lnTo>
                      <a:pt x="188" y="154"/>
                    </a:lnTo>
                    <a:lnTo>
                      <a:pt x="200" y="152"/>
                    </a:lnTo>
                    <a:lnTo>
                      <a:pt x="206" y="148"/>
                    </a:lnTo>
                    <a:lnTo>
                      <a:pt x="214" y="148"/>
                    </a:lnTo>
                    <a:lnTo>
                      <a:pt x="214" y="148"/>
                    </a:lnTo>
                    <a:lnTo>
                      <a:pt x="216" y="144"/>
                    </a:lnTo>
                    <a:lnTo>
                      <a:pt x="216" y="144"/>
                    </a:lnTo>
                    <a:lnTo>
                      <a:pt x="216" y="138"/>
                    </a:lnTo>
                    <a:lnTo>
                      <a:pt x="220" y="134"/>
                    </a:lnTo>
                    <a:lnTo>
                      <a:pt x="218" y="96"/>
                    </a:lnTo>
                    <a:lnTo>
                      <a:pt x="218" y="96"/>
                    </a:lnTo>
                    <a:lnTo>
                      <a:pt x="212" y="98"/>
                    </a:lnTo>
                    <a:lnTo>
                      <a:pt x="206" y="98"/>
                    </a:lnTo>
                    <a:lnTo>
                      <a:pt x="206" y="98"/>
                    </a:lnTo>
                    <a:lnTo>
                      <a:pt x="206" y="98"/>
                    </a:lnTo>
                    <a:lnTo>
                      <a:pt x="206" y="96"/>
                    </a:lnTo>
                    <a:lnTo>
                      <a:pt x="204" y="90"/>
                    </a:lnTo>
                    <a:lnTo>
                      <a:pt x="204" y="90"/>
                    </a:lnTo>
                    <a:lnTo>
                      <a:pt x="204" y="88"/>
                    </a:lnTo>
                    <a:lnTo>
                      <a:pt x="204" y="84"/>
                    </a:lnTo>
                    <a:lnTo>
                      <a:pt x="204" y="84"/>
                    </a:lnTo>
                    <a:lnTo>
                      <a:pt x="204" y="80"/>
                    </a:lnTo>
                    <a:lnTo>
                      <a:pt x="204" y="78"/>
                    </a:lnTo>
                    <a:lnTo>
                      <a:pt x="200" y="76"/>
                    </a:lnTo>
                    <a:lnTo>
                      <a:pt x="200" y="76"/>
                    </a:lnTo>
                    <a:lnTo>
                      <a:pt x="196" y="74"/>
                    </a:lnTo>
                    <a:lnTo>
                      <a:pt x="190" y="70"/>
                    </a:lnTo>
                    <a:lnTo>
                      <a:pt x="190" y="70"/>
                    </a:lnTo>
                    <a:lnTo>
                      <a:pt x="186" y="66"/>
                    </a:lnTo>
                    <a:lnTo>
                      <a:pt x="186" y="64"/>
                    </a:lnTo>
                    <a:lnTo>
                      <a:pt x="102" y="0"/>
                    </a:lnTo>
                    <a:lnTo>
                      <a:pt x="78" y="0"/>
                    </a:lnTo>
                    <a:lnTo>
                      <a:pt x="86" y="136"/>
                    </a:lnTo>
                    <a:lnTo>
                      <a:pt x="86" y="136"/>
                    </a:lnTo>
                    <a:lnTo>
                      <a:pt x="88" y="138"/>
                    </a:lnTo>
                    <a:lnTo>
                      <a:pt x="90" y="138"/>
                    </a:lnTo>
                    <a:lnTo>
                      <a:pt x="90" y="142"/>
                    </a:lnTo>
                    <a:lnTo>
                      <a:pt x="90" y="142"/>
                    </a:lnTo>
                    <a:lnTo>
                      <a:pt x="86" y="150"/>
                    </a:lnTo>
                    <a:lnTo>
                      <a:pt x="38" y="150"/>
                    </a:lnTo>
                    <a:lnTo>
                      <a:pt x="38" y="150"/>
                    </a:lnTo>
                    <a:lnTo>
                      <a:pt x="36" y="148"/>
                    </a:lnTo>
                    <a:lnTo>
                      <a:pt x="32" y="148"/>
                    </a:lnTo>
                    <a:lnTo>
                      <a:pt x="32" y="148"/>
                    </a:lnTo>
                    <a:lnTo>
                      <a:pt x="30" y="150"/>
                    </a:lnTo>
                    <a:lnTo>
                      <a:pt x="32" y="154"/>
                    </a:lnTo>
                    <a:lnTo>
                      <a:pt x="32" y="154"/>
                    </a:lnTo>
                    <a:lnTo>
                      <a:pt x="32" y="156"/>
                    </a:lnTo>
                    <a:lnTo>
                      <a:pt x="30" y="156"/>
                    </a:lnTo>
                    <a:lnTo>
                      <a:pt x="28" y="156"/>
                    </a:lnTo>
                    <a:lnTo>
                      <a:pt x="28" y="156"/>
                    </a:lnTo>
                    <a:lnTo>
                      <a:pt x="26" y="156"/>
                    </a:lnTo>
                    <a:lnTo>
                      <a:pt x="20" y="156"/>
                    </a:lnTo>
                    <a:lnTo>
                      <a:pt x="20" y="156"/>
                    </a:lnTo>
                    <a:lnTo>
                      <a:pt x="10" y="154"/>
                    </a:lnTo>
                    <a:lnTo>
                      <a:pt x="10" y="154"/>
                    </a:lnTo>
                    <a:lnTo>
                      <a:pt x="10" y="156"/>
                    </a:lnTo>
                    <a:lnTo>
                      <a:pt x="8" y="160"/>
                    </a:lnTo>
                    <a:lnTo>
                      <a:pt x="8" y="160"/>
                    </a:lnTo>
                    <a:lnTo>
                      <a:pt x="8" y="164"/>
                    </a:lnTo>
                    <a:lnTo>
                      <a:pt x="8" y="166"/>
                    </a:lnTo>
                    <a:lnTo>
                      <a:pt x="6" y="168"/>
                    </a:lnTo>
                    <a:lnTo>
                      <a:pt x="6" y="168"/>
                    </a:lnTo>
                    <a:lnTo>
                      <a:pt x="4" y="170"/>
                    </a:lnTo>
                    <a:lnTo>
                      <a:pt x="2" y="170"/>
                    </a:lnTo>
                    <a:lnTo>
                      <a:pt x="2" y="170"/>
                    </a:lnTo>
                    <a:lnTo>
                      <a:pt x="0" y="174"/>
                    </a:lnTo>
                    <a:lnTo>
                      <a:pt x="2" y="176"/>
                    </a:lnTo>
                    <a:lnTo>
                      <a:pt x="2" y="178"/>
                    </a:lnTo>
                    <a:lnTo>
                      <a:pt x="2" y="178"/>
                    </a:lnTo>
                    <a:lnTo>
                      <a:pt x="2" y="180"/>
                    </a:lnTo>
                    <a:lnTo>
                      <a:pt x="2" y="184"/>
                    </a:lnTo>
                    <a:lnTo>
                      <a:pt x="0" y="190"/>
                    </a:lnTo>
                    <a:lnTo>
                      <a:pt x="0" y="190"/>
                    </a:lnTo>
                    <a:lnTo>
                      <a:pt x="0" y="192"/>
                    </a:lnTo>
                    <a:lnTo>
                      <a:pt x="2" y="194"/>
                    </a:lnTo>
                    <a:lnTo>
                      <a:pt x="2" y="194"/>
                    </a:lnTo>
                    <a:lnTo>
                      <a:pt x="6" y="198"/>
                    </a:lnTo>
                    <a:lnTo>
                      <a:pt x="6" y="200"/>
                    </a:lnTo>
                    <a:lnTo>
                      <a:pt x="6" y="200"/>
                    </a:lnTo>
                    <a:lnTo>
                      <a:pt x="8" y="210"/>
                    </a:lnTo>
                    <a:lnTo>
                      <a:pt x="8" y="216"/>
                    </a:lnTo>
                    <a:lnTo>
                      <a:pt x="12" y="216"/>
                    </a:lnTo>
                    <a:lnTo>
                      <a:pt x="12" y="216"/>
                    </a:lnTo>
                    <a:lnTo>
                      <a:pt x="12" y="214"/>
                    </a:lnTo>
                    <a:lnTo>
                      <a:pt x="16" y="214"/>
                    </a:lnTo>
                    <a:lnTo>
                      <a:pt x="16" y="214"/>
                    </a:lnTo>
                    <a:lnTo>
                      <a:pt x="20" y="216"/>
                    </a:lnTo>
                    <a:lnTo>
                      <a:pt x="22" y="216"/>
                    </a:lnTo>
                    <a:lnTo>
                      <a:pt x="22" y="216"/>
                    </a:lnTo>
                    <a:lnTo>
                      <a:pt x="24" y="214"/>
                    </a:lnTo>
                    <a:lnTo>
                      <a:pt x="26" y="212"/>
                    </a:lnTo>
                    <a:lnTo>
                      <a:pt x="26" y="212"/>
                    </a:lnTo>
                    <a:lnTo>
                      <a:pt x="28" y="214"/>
                    </a:lnTo>
                    <a:lnTo>
                      <a:pt x="30" y="214"/>
                    </a:lnTo>
                    <a:lnTo>
                      <a:pt x="32" y="214"/>
                    </a:lnTo>
                    <a:lnTo>
                      <a:pt x="32" y="214"/>
                    </a:lnTo>
                    <a:lnTo>
                      <a:pt x="38" y="214"/>
                    </a:lnTo>
                    <a:lnTo>
                      <a:pt x="38" y="216"/>
                    </a:lnTo>
                    <a:lnTo>
                      <a:pt x="38" y="216"/>
                    </a:lnTo>
                    <a:lnTo>
                      <a:pt x="40" y="222"/>
                    </a:lnTo>
                    <a:lnTo>
                      <a:pt x="40" y="222"/>
                    </a:lnTo>
                    <a:lnTo>
                      <a:pt x="40" y="226"/>
                    </a:lnTo>
                    <a:lnTo>
                      <a:pt x="38" y="228"/>
                    </a:lnTo>
                    <a:lnTo>
                      <a:pt x="38" y="230"/>
                    </a:lnTo>
                    <a:lnTo>
                      <a:pt x="38" y="232"/>
                    </a:lnTo>
                    <a:lnTo>
                      <a:pt x="38" y="232"/>
                    </a:lnTo>
                    <a:lnTo>
                      <a:pt x="40" y="234"/>
                    </a:lnTo>
                    <a:lnTo>
                      <a:pt x="42" y="238"/>
                    </a:lnTo>
                    <a:lnTo>
                      <a:pt x="42" y="238"/>
                    </a:lnTo>
                    <a:lnTo>
                      <a:pt x="42" y="240"/>
                    </a:lnTo>
                    <a:lnTo>
                      <a:pt x="44" y="240"/>
                    </a:lnTo>
                    <a:lnTo>
                      <a:pt x="48" y="240"/>
                    </a:lnTo>
                    <a:lnTo>
                      <a:pt x="36" y="246"/>
                    </a:lnTo>
                    <a:lnTo>
                      <a:pt x="36" y="246"/>
                    </a:lnTo>
                    <a:lnTo>
                      <a:pt x="38" y="246"/>
                    </a:lnTo>
                    <a:lnTo>
                      <a:pt x="40" y="248"/>
                    </a:lnTo>
                    <a:lnTo>
                      <a:pt x="40" y="248"/>
                    </a:lnTo>
                    <a:lnTo>
                      <a:pt x="42" y="246"/>
                    </a:lnTo>
                    <a:lnTo>
                      <a:pt x="44" y="246"/>
                    </a:lnTo>
                    <a:lnTo>
                      <a:pt x="44" y="248"/>
                    </a:lnTo>
                    <a:lnTo>
                      <a:pt x="44" y="248"/>
                    </a:lnTo>
                    <a:lnTo>
                      <a:pt x="46" y="250"/>
                    </a:lnTo>
                    <a:lnTo>
                      <a:pt x="48" y="250"/>
                    </a:lnTo>
                    <a:lnTo>
                      <a:pt x="50" y="250"/>
                    </a:lnTo>
                    <a:lnTo>
                      <a:pt x="52" y="252"/>
                    </a:lnTo>
                    <a:lnTo>
                      <a:pt x="52" y="252"/>
                    </a:lnTo>
                    <a:lnTo>
                      <a:pt x="54" y="256"/>
                    </a:lnTo>
                    <a:lnTo>
                      <a:pt x="58" y="258"/>
                    </a:lnTo>
                    <a:lnTo>
                      <a:pt x="58" y="258"/>
                    </a:lnTo>
                    <a:lnTo>
                      <a:pt x="62" y="260"/>
                    </a:lnTo>
                    <a:lnTo>
                      <a:pt x="62" y="260"/>
                    </a:lnTo>
                    <a:lnTo>
                      <a:pt x="62" y="260"/>
                    </a:lnTo>
                    <a:lnTo>
                      <a:pt x="64" y="258"/>
                    </a:lnTo>
                    <a:lnTo>
                      <a:pt x="68" y="256"/>
                    </a:lnTo>
                    <a:lnTo>
                      <a:pt x="68" y="256"/>
                    </a:lnTo>
                    <a:lnTo>
                      <a:pt x="70" y="254"/>
                    </a:lnTo>
                    <a:lnTo>
                      <a:pt x="72" y="256"/>
                    </a:lnTo>
                    <a:lnTo>
                      <a:pt x="72" y="258"/>
                    </a:lnTo>
                    <a:lnTo>
                      <a:pt x="74" y="250"/>
                    </a:lnTo>
                    <a:lnTo>
                      <a:pt x="76" y="248"/>
                    </a:lnTo>
                    <a:lnTo>
                      <a:pt x="76" y="248"/>
                    </a:lnTo>
                    <a:lnTo>
                      <a:pt x="78" y="250"/>
                    </a:lnTo>
                    <a:lnTo>
                      <a:pt x="80" y="252"/>
                    </a:lnTo>
                    <a:lnTo>
                      <a:pt x="82" y="252"/>
                    </a:lnTo>
                    <a:lnTo>
                      <a:pt x="82" y="252"/>
                    </a:lnTo>
                    <a:lnTo>
                      <a:pt x="84" y="250"/>
                    </a:lnTo>
                    <a:lnTo>
                      <a:pt x="86" y="248"/>
                    </a:lnTo>
                    <a:lnTo>
                      <a:pt x="86" y="246"/>
                    </a:lnTo>
                    <a:lnTo>
                      <a:pt x="88" y="24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3" name="Freeform 140"/>
              <p:cNvSpPr>
                <a:spLocks noChangeAspect="1"/>
              </p:cNvSpPr>
              <p:nvPr/>
            </p:nvSpPr>
            <p:spPr bwMode="gray">
              <a:xfrm>
                <a:off x="5023557" y="4687515"/>
                <a:ext cx="78205" cy="207267"/>
              </a:xfrm>
              <a:custGeom>
                <a:avLst/>
                <a:gdLst/>
                <a:ahLst/>
                <a:cxnLst>
                  <a:cxn ang="0">
                    <a:pos x="8" y="0"/>
                  </a:cxn>
                  <a:cxn ang="0">
                    <a:pos x="12" y="6"/>
                  </a:cxn>
                  <a:cxn ang="0">
                    <a:pos x="14" y="12"/>
                  </a:cxn>
                  <a:cxn ang="0">
                    <a:pos x="14" y="16"/>
                  </a:cxn>
                  <a:cxn ang="0">
                    <a:pos x="12" y="24"/>
                  </a:cxn>
                  <a:cxn ang="0">
                    <a:pos x="8" y="28"/>
                  </a:cxn>
                  <a:cxn ang="0">
                    <a:pos x="8" y="34"/>
                  </a:cxn>
                  <a:cxn ang="0">
                    <a:pos x="8" y="42"/>
                  </a:cxn>
                  <a:cxn ang="0">
                    <a:pos x="12" y="44"/>
                  </a:cxn>
                  <a:cxn ang="0">
                    <a:pos x="10" y="48"/>
                  </a:cxn>
                  <a:cxn ang="0">
                    <a:pos x="2" y="54"/>
                  </a:cxn>
                  <a:cxn ang="0">
                    <a:pos x="2" y="64"/>
                  </a:cxn>
                  <a:cxn ang="0">
                    <a:pos x="0" y="72"/>
                  </a:cxn>
                  <a:cxn ang="0">
                    <a:pos x="2" y="80"/>
                  </a:cxn>
                  <a:cxn ang="0">
                    <a:pos x="8" y="86"/>
                  </a:cxn>
                  <a:cxn ang="0">
                    <a:pos x="10" y="90"/>
                  </a:cxn>
                  <a:cxn ang="0">
                    <a:pos x="20" y="88"/>
                  </a:cxn>
                  <a:cxn ang="0">
                    <a:pos x="22" y="94"/>
                  </a:cxn>
                  <a:cxn ang="0">
                    <a:pos x="20" y="104"/>
                  </a:cxn>
                  <a:cxn ang="0">
                    <a:pos x="20" y="110"/>
                  </a:cxn>
                  <a:cxn ang="0">
                    <a:pos x="32" y="120"/>
                  </a:cxn>
                  <a:cxn ang="0">
                    <a:pos x="32" y="126"/>
                  </a:cxn>
                  <a:cxn ang="0">
                    <a:pos x="38" y="124"/>
                  </a:cxn>
                  <a:cxn ang="0">
                    <a:pos x="38" y="120"/>
                  </a:cxn>
                  <a:cxn ang="0">
                    <a:pos x="38" y="106"/>
                  </a:cxn>
                  <a:cxn ang="0">
                    <a:pos x="44" y="106"/>
                  </a:cxn>
                  <a:cxn ang="0">
                    <a:pos x="44" y="100"/>
                  </a:cxn>
                  <a:cxn ang="0">
                    <a:pos x="46" y="90"/>
                  </a:cxn>
                  <a:cxn ang="0">
                    <a:pos x="44" y="86"/>
                  </a:cxn>
                  <a:cxn ang="0">
                    <a:pos x="40" y="80"/>
                  </a:cxn>
                  <a:cxn ang="0">
                    <a:pos x="36" y="70"/>
                  </a:cxn>
                  <a:cxn ang="0">
                    <a:pos x="34" y="70"/>
                  </a:cxn>
                  <a:cxn ang="0">
                    <a:pos x="36" y="72"/>
                  </a:cxn>
                  <a:cxn ang="0">
                    <a:pos x="32" y="74"/>
                  </a:cxn>
                  <a:cxn ang="0">
                    <a:pos x="30" y="74"/>
                  </a:cxn>
                  <a:cxn ang="0">
                    <a:pos x="30" y="66"/>
                  </a:cxn>
                  <a:cxn ang="0">
                    <a:pos x="26" y="64"/>
                  </a:cxn>
                  <a:cxn ang="0">
                    <a:pos x="26" y="58"/>
                  </a:cxn>
                  <a:cxn ang="0">
                    <a:pos x="26" y="54"/>
                  </a:cxn>
                  <a:cxn ang="0">
                    <a:pos x="24" y="48"/>
                  </a:cxn>
                  <a:cxn ang="0">
                    <a:pos x="22" y="42"/>
                  </a:cxn>
                  <a:cxn ang="0">
                    <a:pos x="26" y="32"/>
                  </a:cxn>
                  <a:cxn ang="0">
                    <a:pos x="24" y="10"/>
                  </a:cxn>
                  <a:cxn ang="0">
                    <a:pos x="22" y="2"/>
                  </a:cxn>
                </a:cxnLst>
                <a:rect l="0" t="0" r="r" b="b"/>
                <a:pathLst>
                  <a:path w="46" h="126">
                    <a:moveTo>
                      <a:pt x="24" y="2"/>
                    </a:moveTo>
                    <a:lnTo>
                      <a:pt x="22" y="2"/>
                    </a:lnTo>
                    <a:lnTo>
                      <a:pt x="8" y="0"/>
                    </a:lnTo>
                    <a:lnTo>
                      <a:pt x="8" y="0"/>
                    </a:lnTo>
                    <a:lnTo>
                      <a:pt x="10" y="2"/>
                    </a:lnTo>
                    <a:lnTo>
                      <a:pt x="12" y="6"/>
                    </a:lnTo>
                    <a:lnTo>
                      <a:pt x="12" y="6"/>
                    </a:lnTo>
                    <a:lnTo>
                      <a:pt x="14" y="8"/>
                    </a:lnTo>
                    <a:lnTo>
                      <a:pt x="14" y="12"/>
                    </a:lnTo>
                    <a:lnTo>
                      <a:pt x="14" y="14"/>
                    </a:lnTo>
                    <a:lnTo>
                      <a:pt x="14" y="16"/>
                    </a:lnTo>
                    <a:lnTo>
                      <a:pt x="14" y="16"/>
                    </a:lnTo>
                    <a:lnTo>
                      <a:pt x="16" y="18"/>
                    </a:lnTo>
                    <a:lnTo>
                      <a:pt x="14" y="20"/>
                    </a:lnTo>
                    <a:lnTo>
                      <a:pt x="12" y="24"/>
                    </a:lnTo>
                    <a:lnTo>
                      <a:pt x="12" y="24"/>
                    </a:lnTo>
                    <a:lnTo>
                      <a:pt x="8" y="26"/>
                    </a:lnTo>
                    <a:lnTo>
                      <a:pt x="8" y="28"/>
                    </a:lnTo>
                    <a:lnTo>
                      <a:pt x="8" y="30"/>
                    </a:lnTo>
                    <a:lnTo>
                      <a:pt x="8" y="30"/>
                    </a:lnTo>
                    <a:lnTo>
                      <a:pt x="8" y="34"/>
                    </a:lnTo>
                    <a:lnTo>
                      <a:pt x="8" y="40"/>
                    </a:lnTo>
                    <a:lnTo>
                      <a:pt x="8" y="40"/>
                    </a:lnTo>
                    <a:lnTo>
                      <a:pt x="8" y="42"/>
                    </a:lnTo>
                    <a:lnTo>
                      <a:pt x="10" y="42"/>
                    </a:lnTo>
                    <a:lnTo>
                      <a:pt x="10" y="42"/>
                    </a:lnTo>
                    <a:lnTo>
                      <a:pt x="12" y="44"/>
                    </a:lnTo>
                    <a:lnTo>
                      <a:pt x="12" y="44"/>
                    </a:lnTo>
                    <a:lnTo>
                      <a:pt x="12" y="46"/>
                    </a:lnTo>
                    <a:lnTo>
                      <a:pt x="10" y="48"/>
                    </a:lnTo>
                    <a:lnTo>
                      <a:pt x="4" y="52"/>
                    </a:lnTo>
                    <a:lnTo>
                      <a:pt x="4" y="52"/>
                    </a:lnTo>
                    <a:lnTo>
                      <a:pt x="2" y="54"/>
                    </a:lnTo>
                    <a:lnTo>
                      <a:pt x="2" y="58"/>
                    </a:lnTo>
                    <a:lnTo>
                      <a:pt x="2" y="64"/>
                    </a:lnTo>
                    <a:lnTo>
                      <a:pt x="2" y="64"/>
                    </a:lnTo>
                    <a:lnTo>
                      <a:pt x="2" y="66"/>
                    </a:lnTo>
                    <a:lnTo>
                      <a:pt x="2" y="68"/>
                    </a:lnTo>
                    <a:lnTo>
                      <a:pt x="0" y="72"/>
                    </a:lnTo>
                    <a:lnTo>
                      <a:pt x="0" y="72"/>
                    </a:lnTo>
                    <a:lnTo>
                      <a:pt x="2" y="80"/>
                    </a:lnTo>
                    <a:lnTo>
                      <a:pt x="2" y="80"/>
                    </a:lnTo>
                    <a:lnTo>
                      <a:pt x="4" y="82"/>
                    </a:lnTo>
                    <a:lnTo>
                      <a:pt x="8" y="86"/>
                    </a:lnTo>
                    <a:lnTo>
                      <a:pt x="8" y="86"/>
                    </a:lnTo>
                    <a:lnTo>
                      <a:pt x="8" y="90"/>
                    </a:lnTo>
                    <a:lnTo>
                      <a:pt x="10" y="90"/>
                    </a:lnTo>
                    <a:lnTo>
                      <a:pt x="10" y="90"/>
                    </a:lnTo>
                    <a:lnTo>
                      <a:pt x="10" y="90"/>
                    </a:lnTo>
                    <a:lnTo>
                      <a:pt x="20" y="88"/>
                    </a:lnTo>
                    <a:lnTo>
                      <a:pt x="20" y="88"/>
                    </a:lnTo>
                    <a:lnTo>
                      <a:pt x="20" y="90"/>
                    </a:lnTo>
                    <a:lnTo>
                      <a:pt x="22" y="94"/>
                    </a:lnTo>
                    <a:lnTo>
                      <a:pt x="22" y="94"/>
                    </a:lnTo>
                    <a:lnTo>
                      <a:pt x="22" y="98"/>
                    </a:lnTo>
                    <a:lnTo>
                      <a:pt x="20" y="104"/>
                    </a:lnTo>
                    <a:lnTo>
                      <a:pt x="20" y="104"/>
                    </a:lnTo>
                    <a:lnTo>
                      <a:pt x="18" y="108"/>
                    </a:lnTo>
                    <a:lnTo>
                      <a:pt x="20" y="110"/>
                    </a:lnTo>
                    <a:lnTo>
                      <a:pt x="20" y="110"/>
                    </a:lnTo>
                    <a:lnTo>
                      <a:pt x="28" y="118"/>
                    </a:lnTo>
                    <a:lnTo>
                      <a:pt x="28" y="118"/>
                    </a:lnTo>
                    <a:lnTo>
                      <a:pt x="32" y="120"/>
                    </a:lnTo>
                    <a:lnTo>
                      <a:pt x="32" y="120"/>
                    </a:lnTo>
                    <a:lnTo>
                      <a:pt x="32" y="124"/>
                    </a:lnTo>
                    <a:lnTo>
                      <a:pt x="32" y="126"/>
                    </a:lnTo>
                    <a:lnTo>
                      <a:pt x="34" y="126"/>
                    </a:lnTo>
                    <a:lnTo>
                      <a:pt x="34" y="126"/>
                    </a:lnTo>
                    <a:lnTo>
                      <a:pt x="38" y="124"/>
                    </a:lnTo>
                    <a:lnTo>
                      <a:pt x="38" y="122"/>
                    </a:lnTo>
                    <a:lnTo>
                      <a:pt x="38" y="120"/>
                    </a:lnTo>
                    <a:lnTo>
                      <a:pt x="38" y="120"/>
                    </a:lnTo>
                    <a:lnTo>
                      <a:pt x="36" y="112"/>
                    </a:lnTo>
                    <a:lnTo>
                      <a:pt x="36" y="108"/>
                    </a:lnTo>
                    <a:lnTo>
                      <a:pt x="38" y="106"/>
                    </a:lnTo>
                    <a:lnTo>
                      <a:pt x="38" y="106"/>
                    </a:lnTo>
                    <a:lnTo>
                      <a:pt x="42" y="108"/>
                    </a:lnTo>
                    <a:lnTo>
                      <a:pt x="44" y="106"/>
                    </a:lnTo>
                    <a:lnTo>
                      <a:pt x="46" y="104"/>
                    </a:lnTo>
                    <a:lnTo>
                      <a:pt x="46" y="104"/>
                    </a:lnTo>
                    <a:lnTo>
                      <a:pt x="44" y="100"/>
                    </a:lnTo>
                    <a:lnTo>
                      <a:pt x="44" y="96"/>
                    </a:lnTo>
                    <a:lnTo>
                      <a:pt x="44" y="96"/>
                    </a:lnTo>
                    <a:lnTo>
                      <a:pt x="46" y="90"/>
                    </a:lnTo>
                    <a:lnTo>
                      <a:pt x="46" y="86"/>
                    </a:lnTo>
                    <a:lnTo>
                      <a:pt x="44" y="86"/>
                    </a:lnTo>
                    <a:lnTo>
                      <a:pt x="44" y="86"/>
                    </a:lnTo>
                    <a:lnTo>
                      <a:pt x="42" y="84"/>
                    </a:lnTo>
                    <a:lnTo>
                      <a:pt x="40" y="80"/>
                    </a:lnTo>
                    <a:lnTo>
                      <a:pt x="40" y="80"/>
                    </a:lnTo>
                    <a:lnTo>
                      <a:pt x="38" y="74"/>
                    </a:lnTo>
                    <a:lnTo>
                      <a:pt x="36" y="70"/>
                    </a:lnTo>
                    <a:lnTo>
                      <a:pt x="36" y="70"/>
                    </a:lnTo>
                    <a:lnTo>
                      <a:pt x="34" y="68"/>
                    </a:lnTo>
                    <a:lnTo>
                      <a:pt x="34" y="68"/>
                    </a:lnTo>
                    <a:lnTo>
                      <a:pt x="34" y="70"/>
                    </a:lnTo>
                    <a:lnTo>
                      <a:pt x="34" y="70"/>
                    </a:lnTo>
                    <a:lnTo>
                      <a:pt x="36" y="72"/>
                    </a:lnTo>
                    <a:lnTo>
                      <a:pt x="36" y="72"/>
                    </a:lnTo>
                    <a:lnTo>
                      <a:pt x="36" y="76"/>
                    </a:lnTo>
                    <a:lnTo>
                      <a:pt x="36" y="76"/>
                    </a:lnTo>
                    <a:lnTo>
                      <a:pt x="32" y="74"/>
                    </a:lnTo>
                    <a:lnTo>
                      <a:pt x="32" y="74"/>
                    </a:lnTo>
                    <a:lnTo>
                      <a:pt x="30" y="74"/>
                    </a:lnTo>
                    <a:lnTo>
                      <a:pt x="30" y="74"/>
                    </a:lnTo>
                    <a:lnTo>
                      <a:pt x="30" y="74"/>
                    </a:lnTo>
                    <a:lnTo>
                      <a:pt x="30" y="70"/>
                    </a:lnTo>
                    <a:lnTo>
                      <a:pt x="30" y="66"/>
                    </a:lnTo>
                    <a:lnTo>
                      <a:pt x="30" y="66"/>
                    </a:lnTo>
                    <a:lnTo>
                      <a:pt x="26" y="64"/>
                    </a:lnTo>
                    <a:lnTo>
                      <a:pt x="26" y="64"/>
                    </a:lnTo>
                    <a:lnTo>
                      <a:pt x="26" y="60"/>
                    </a:lnTo>
                    <a:lnTo>
                      <a:pt x="26" y="58"/>
                    </a:lnTo>
                    <a:lnTo>
                      <a:pt x="26" y="58"/>
                    </a:lnTo>
                    <a:lnTo>
                      <a:pt x="26" y="58"/>
                    </a:lnTo>
                    <a:lnTo>
                      <a:pt x="28" y="56"/>
                    </a:lnTo>
                    <a:lnTo>
                      <a:pt x="26" y="54"/>
                    </a:lnTo>
                    <a:lnTo>
                      <a:pt x="24" y="52"/>
                    </a:lnTo>
                    <a:lnTo>
                      <a:pt x="24" y="52"/>
                    </a:lnTo>
                    <a:lnTo>
                      <a:pt x="24" y="48"/>
                    </a:lnTo>
                    <a:lnTo>
                      <a:pt x="26" y="42"/>
                    </a:lnTo>
                    <a:lnTo>
                      <a:pt x="26" y="42"/>
                    </a:lnTo>
                    <a:lnTo>
                      <a:pt x="22" y="42"/>
                    </a:lnTo>
                    <a:lnTo>
                      <a:pt x="22" y="42"/>
                    </a:lnTo>
                    <a:lnTo>
                      <a:pt x="22" y="38"/>
                    </a:lnTo>
                    <a:lnTo>
                      <a:pt x="26" y="32"/>
                    </a:lnTo>
                    <a:lnTo>
                      <a:pt x="26" y="32"/>
                    </a:lnTo>
                    <a:lnTo>
                      <a:pt x="26" y="22"/>
                    </a:lnTo>
                    <a:lnTo>
                      <a:pt x="24" y="10"/>
                    </a:lnTo>
                    <a:lnTo>
                      <a:pt x="24" y="10"/>
                    </a:lnTo>
                    <a:lnTo>
                      <a:pt x="24" y="6"/>
                    </a:lnTo>
                    <a:lnTo>
                      <a:pt x="22" y="2"/>
                    </a:lnTo>
                    <a:lnTo>
                      <a:pt x="24" y="2"/>
                    </a:lnTo>
                    <a:lnTo>
                      <a:pt x="24"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4" name="Freeform 141"/>
              <p:cNvSpPr>
                <a:spLocks noChangeAspect="1"/>
              </p:cNvSpPr>
              <p:nvPr/>
            </p:nvSpPr>
            <p:spPr bwMode="gray">
              <a:xfrm>
                <a:off x="5261574" y="4773054"/>
                <a:ext cx="173412" cy="365183"/>
              </a:xfrm>
              <a:custGeom>
                <a:avLst/>
                <a:gdLst/>
                <a:ahLst/>
                <a:cxnLst>
                  <a:cxn ang="0">
                    <a:pos x="78" y="6"/>
                  </a:cxn>
                  <a:cxn ang="0">
                    <a:pos x="72" y="24"/>
                  </a:cxn>
                  <a:cxn ang="0">
                    <a:pos x="68" y="26"/>
                  </a:cxn>
                  <a:cxn ang="0">
                    <a:pos x="66" y="36"/>
                  </a:cxn>
                  <a:cxn ang="0">
                    <a:pos x="66" y="40"/>
                  </a:cxn>
                  <a:cxn ang="0">
                    <a:pos x="62" y="46"/>
                  </a:cxn>
                  <a:cxn ang="0">
                    <a:pos x="56" y="44"/>
                  </a:cxn>
                  <a:cxn ang="0">
                    <a:pos x="54" y="54"/>
                  </a:cxn>
                  <a:cxn ang="0">
                    <a:pos x="46" y="56"/>
                  </a:cxn>
                  <a:cxn ang="0">
                    <a:pos x="36" y="56"/>
                  </a:cxn>
                  <a:cxn ang="0">
                    <a:pos x="34" y="60"/>
                  </a:cxn>
                  <a:cxn ang="0">
                    <a:pos x="24" y="64"/>
                  </a:cxn>
                  <a:cxn ang="0">
                    <a:pos x="20" y="70"/>
                  </a:cxn>
                  <a:cxn ang="0">
                    <a:pos x="16" y="76"/>
                  </a:cxn>
                  <a:cxn ang="0">
                    <a:pos x="10" y="82"/>
                  </a:cxn>
                  <a:cxn ang="0">
                    <a:pos x="14" y="100"/>
                  </a:cxn>
                  <a:cxn ang="0">
                    <a:pos x="18" y="114"/>
                  </a:cxn>
                  <a:cxn ang="0">
                    <a:pos x="18" y="124"/>
                  </a:cxn>
                  <a:cxn ang="0">
                    <a:pos x="14" y="132"/>
                  </a:cxn>
                  <a:cxn ang="0">
                    <a:pos x="8" y="136"/>
                  </a:cxn>
                  <a:cxn ang="0">
                    <a:pos x="2" y="150"/>
                  </a:cxn>
                  <a:cxn ang="0">
                    <a:pos x="2" y="156"/>
                  </a:cxn>
                  <a:cxn ang="0">
                    <a:pos x="4" y="184"/>
                  </a:cxn>
                  <a:cxn ang="0">
                    <a:pos x="8" y="188"/>
                  </a:cxn>
                  <a:cxn ang="0">
                    <a:pos x="12" y="204"/>
                  </a:cxn>
                  <a:cxn ang="0">
                    <a:pos x="20" y="216"/>
                  </a:cxn>
                  <a:cxn ang="0">
                    <a:pos x="30" y="222"/>
                  </a:cxn>
                  <a:cxn ang="0">
                    <a:pos x="40" y="218"/>
                  </a:cxn>
                  <a:cxn ang="0">
                    <a:pos x="52" y="212"/>
                  </a:cxn>
                  <a:cxn ang="0">
                    <a:pos x="54" y="208"/>
                  </a:cxn>
                  <a:cxn ang="0">
                    <a:pos x="60" y="184"/>
                  </a:cxn>
                  <a:cxn ang="0">
                    <a:pos x="68" y="162"/>
                  </a:cxn>
                  <a:cxn ang="0">
                    <a:pos x="70" y="156"/>
                  </a:cxn>
                  <a:cxn ang="0">
                    <a:pos x="74" y="148"/>
                  </a:cxn>
                  <a:cxn ang="0">
                    <a:pos x="76" y="132"/>
                  </a:cxn>
                  <a:cxn ang="0">
                    <a:pos x="80" y="118"/>
                  </a:cxn>
                  <a:cxn ang="0">
                    <a:pos x="84" y="108"/>
                  </a:cxn>
                  <a:cxn ang="0">
                    <a:pos x="88" y="98"/>
                  </a:cxn>
                  <a:cxn ang="0">
                    <a:pos x="88" y="82"/>
                  </a:cxn>
                  <a:cxn ang="0">
                    <a:pos x="92" y="78"/>
                  </a:cxn>
                  <a:cxn ang="0">
                    <a:pos x="94" y="74"/>
                  </a:cxn>
                  <a:cxn ang="0">
                    <a:pos x="90" y="64"/>
                  </a:cxn>
                  <a:cxn ang="0">
                    <a:pos x="90" y="52"/>
                  </a:cxn>
                  <a:cxn ang="0">
                    <a:pos x="98" y="60"/>
                  </a:cxn>
                  <a:cxn ang="0">
                    <a:pos x="102" y="40"/>
                  </a:cxn>
                  <a:cxn ang="0">
                    <a:pos x="98" y="28"/>
                  </a:cxn>
                  <a:cxn ang="0">
                    <a:pos x="96" y="18"/>
                  </a:cxn>
                  <a:cxn ang="0">
                    <a:pos x="92" y="8"/>
                  </a:cxn>
                  <a:cxn ang="0">
                    <a:pos x="86" y="4"/>
                  </a:cxn>
                  <a:cxn ang="0">
                    <a:pos x="84" y="2"/>
                  </a:cxn>
                </a:cxnLst>
                <a:rect l="0" t="0" r="r" b="b"/>
                <a:pathLst>
                  <a:path w="102" h="222">
                    <a:moveTo>
                      <a:pt x="82" y="0"/>
                    </a:moveTo>
                    <a:lnTo>
                      <a:pt x="82" y="0"/>
                    </a:lnTo>
                    <a:lnTo>
                      <a:pt x="78" y="6"/>
                    </a:lnTo>
                    <a:lnTo>
                      <a:pt x="78" y="6"/>
                    </a:lnTo>
                    <a:lnTo>
                      <a:pt x="78" y="16"/>
                    </a:lnTo>
                    <a:lnTo>
                      <a:pt x="78" y="24"/>
                    </a:lnTo>
                    <a:lnTo>
                      <a:pt x="78" y="24"/>
                    </a:lnTo>
                    <a:lnTo>
                      <a:pt x="72" y="24"/>
                    </a:lnTo>
                    <a:lnTo>
                      <a:pt x="72" y="26"/>
                    </a:lnTo>
                    <a:lnTo>
                      <a:pt x="72" y="26"/>
                    </a:lnTo>
                    <a:lnTo>
                      <a:pt x="70" y="28"/>
                    </a:lnTo>
                    <a:lnTo>
                      <a:pt x="68" y="26"/>
                    </a:lnTo>
                    <a:lnTo>
                      <a:pt x="68" y="26"/>
                    </a:lnTo>
                    <a:lnTo>
                      <a:pt x="68" y="36"/>
                    </a:lnTo>
                    <a:lnTo>
                      <a:pt x="68" y="36"/>
                    </a:lnTo>
                    <a:lnTo>
                      <a:pt x="66" y="36"/>
                    </a:lnTo>
                    <a:lnTo>
                      <a:pt x="66" y="36"/>
                    </a:lnTo>
                    <a:lnTo>
                      <a:pt x="66" y="38"/>
                    </a:lnTo>
                    <a:lnTo>
                      <a:pt x="66" y="40"/>
                    </a:lnTo>
                    <a:lnTo>
                      <a:pt x="66" y="40"/>
                    </a:lnTo>
                    <a:lnTo>
                      <a:pt x="64" y="40"/>
                    </a:lnTo>
                    <a:lnTo>
                      <a:pt x="64" y="40"/>
                    </a:lnTo>
                    <a:lnTo>
                      <a:pt x="62" y="46"/>
                    </a:lnTo>
                    <a:lnTo>
                      <a:pt x="62" y="46"/>
                    </a:lnTo>
                    <a:lnTo>
                      <a:pt x="58" y="42"/>
                    </a:lnTo>
                    <a:lnTo>
                      <a:pt x="58" y="42"/>
                    </a:lnTo>
                    <a:lnTo>
                      <a:pt x="56" y="44"/>
                    </a:lnTo>
                    <a:lnTo>
                      <a:pt x="56" y="44"/>
                    </a:lnTo>
                    <a:lnTo>
                      <a:pt x="56" y="50"/>
                    </a:lnTo>
                    <a:lnTo>
                      <a:pt x="56" y="54"/>
                    </a:lnTo>
                    <a:lnTo>
                      <a:pt x="56" y="54"/>
                    </a:lnTo>
                    <a:lnTo>
                      <a:pt x="54" y="54"/>
                    </a:lnTo>
                    <a:lnTo>
                      <a:pt x="54" y="52"/>
                    </a:lnTo>
                    <a:lnTo>
                      <a:pt x="54" y="52"/>
                    </a:lnTo>
                    <a:lnTo>
                      <a:pt x="50" y="54"/>
                    </a:lnTo>
                    <a:lnTo>
                      <a:pt x="46" y="56"/>
                    </a:lnTo>
                    <a:lnTo>
                      <a:pt x="44" y="58"/>
                    </a:lnTo>
                    <a:lnTo>
                      <a:pt x="44" y="58"/>
                    </a:lnTo>
                    <a:lnTo>
                      <a:pt x="36" y="56"/>
                    </a:lnTo>
                    <a:lnTo>
                      <a:pt x="36" y="56"/>
                    </a:lnTo>
                    <a:lnTo>
                      <a:pt x="36" y="58"/>
                    </a:lnTo>
                    <a:lnTo>
                      <a:pt x="36" y="60"/>
                    </a:lnTo>
                    <a:lnTo>
                      <a:pt x="36" y="60"/>
                    </a:lnTo>
                    <a:lnTo>
                      <a:pt x="34" y="60"/>
                    </a:lnTo>
                    <a:lnTo>
                      <a:pt x="32" y="60"/>
                    </a:lnTo>
                    <a:lnTo>
                      <a:pt x="30" y="62"/>
                    </a:lnTo>
                    <a:lnTo>
                      <a:pt x="30" y="62"/>
                    </a:lnTo>
                    <a:lnTo>
                      <a:pt x="24" y="64"/>
                    </a:lnTo>
                    <a:lnTo>
                      <a:pt x="24" y="64"/>
                    </a:lnTo>
                    <a:lnTo>
                      <a:pt x="22" y="68"/>
                    </a:lnTo>
                    <a:lnTo>
                      <a:pt x="22" y="68"/>
                    </a:lnTo>
                    <a:lnTo>
                      <a:pt x="20" y="70"/>
                    </a:lnTo>
                    <a:lnTo>
                      <a:pt x="16" y="72"/>
                    </a:lnTo>
                    <a:lnTo>
                      <a:pt x="16" y="72"/>
                    </a:lnTo>
                    <a:lnTo>
                      <a:pt x="16" y="72"/>
                    </a:lnTo>
                    <a:lnTo>
                      <a:pt x="16" y="76"/>
                    </a:lnTo>
                    <a:lnTo>
                      <a:pt x="16" y="76"/>
                    </a:lnTo>
                    <a:lnTo>
                      <a:pt x="14" y="78"/>
                    </a:lnTo>
                    <a:lnTo>
                      <a:pt x="10" y="82"/>
                    </a:lnTo>
                    <a:lnTo>
                      <a:pt x="10" y="82"/>
                    </a:lnTo>
                    <a:lnTo>
                      <a:pt x="10" y="88"/>
                    </a:lnTo>
                    <a:lnTo>
                      <a:pt x="12" y="92"/>
                    </a:lnTo>
                    <a:lnTo>
                      <a:pt x="14" y="100"/>
                    </a:lnTo>
                    <a:lnTo>
                      <a:pt x="14" y="100"/>
                    </a:lnTo>
                    <a:lnTo>
                      <a:pt x="16" y="106"/>
                    </a:lnTo>
                    <a:lnTo>
                      <a:pt x="16" y="112"/>
                    </a:lnTo>
                    <a:lnTo>
                      <a:pt x="16" y="112"/>
                    </a:lnTo>
                    <a:lnTo>
                      <a:pt x="18" y="114"/>
                    </a:lnTo>
                    <a:lnTo>
                      <a:pt x="18" y="114"/>
                    </a:lnTo>
                    <a:lnTo>
                      <a:pt x="18" y="120"/>
                    </a:lnTo>
                    <a:lnTo>
                      <a:pt x="18" y="124"/>
                    </a:lnTo>
                    <a:lnTo>
                      <a:pt x="18" y="124"/>
                    </a:lnTo>
                    <a:lnTo>
                      <a:pt x="16" y="126"/>
                    </a:lnTo>
                    <a:lnTo>
                      <a:pt x="16" y="126"/>
                    </a:lnTo>
                    <a:lnTo>
                      <a:pt x="16" y="130"/>
                    </a:lnTo>
                    <a:lnTo>
                      <a:pt x="14" y="132"/>
                    </a:lnTo>
                    <a:lnTo>
                      <a:pt x="14" y="132"/>
                    </a:lnTo>
                    <a:lnTo>
                      <a:pt x="12" y="134"/>
                    </a:lnTo>
                    <a:lnTo>
                      <a:pt x="8" y="136"/>
                    </a:lnTo>
                    <a:lnTo>
                      <a:pt x="8" y="136"/>
                    </a:lnTo>
                    <a:lnTo>
                      <a:pt x="8" y="140"/>
                    </a:lnTo>
                    <a:lnTo>
                      <a:pt x="8" y="142"/>
                    </a:lnTo>
                    <a:lnTo>
                      <a:pt x="8" y="144"/>
                    </a:lnTo>
                    <a:lnTo>
                      <a:pt x="2" y="150"/>
                    </a:lnTo>
                    <a:lnTo>
                      <a:pt x="2" y="150"/>
                    </a:lnTo>
                    <a:lnTo>
                      <a:pt x="2" y="152"/>
                    </a:lnTo>
                    <a:lnTo>
                      <a:pt x="2" y="156"/>
                    </a:lnTo>
                    <a:lnTo>
                      <a:pt x="2" y="156"/>
                    </a:lnTo>
                    <a:lnTo>
                      <a:pt x="0" y="160"/>
                    </a:lnTo>
                    <a:lnTo>
                      <a:pt x="0" y="160"/>
                    </a:lnTo>
                    <a:lnTo>
                      <a:pt x="0" y="172"/>
                    </a:lnTo>
                    <a:lnTo>
                      <a:pt x="4" y="184"/>
                    </a:lnTo>
                    <a:lnTo>
                      <a:pt x="4" y="184"/>
                    </a:lnTo>
                    <a:lnTo>
                      <a:pt x="8" y="186"/>
                    </a:lnTo>
                    <a:lnTo>
                      <a:pt x="8" y="186"/>
                    </a:lnTo>
                    <a:lnTo>
                      <a:pt x="8" y="188"/>
                    </a:lnTo>
                    <a:lnTo>
                      <a:pt x="6" y="190"/>
                    </a:lnTo>
                    <a:lnTo>
                      <a:pt x="8" y="192"/>
                    </a:lnTo>
                    <a:lnTo>
                      <a:pt x="8" y="192"/>
                    </a:lnTo>
                    <a:lnTo>
                      <a:pt x="12" y="204"/>
                    </a:lnTo>
                    <a:lnTo>
                      <a:pt x="12" y="210"/>
                    </a:lnTo>
                    <a:lnTo>
                      <a:pt x="16" y="214"/>
                    </a:lnTo>
                    <a:lnTo>
                      <a:pt x="16" y="214"/>
                    </a:lnTo>
                    <a:lnTo>
                      <a:pt x="20" y="216"/>
                    </a:lnTo>
                    <a:lnTo>
                      <a:pt x="26" y="218"/>
                    </a:lnTo>
                    <a:lnTo>
                      <a:pt x="26" y="218"/>
                    </a:lnTo>
                    <a:lnTo>
                      <a:pt x="30" y="222"/>
                    </a:lnTo>
                    <a:lnTo>
                      <a:pt x="30" y="222"/>
                    </a:lnTo>
                    <a:lnTo>
                      <a:pt x="34" y="222"/>
                    </a:lnTo>
                    <a:lnTo>
                      <a:pt x="36" y="222"/>
                    </a:lnTo>
                    <a:lnTo>
                      <a:pt x="40" y="218"/>
                    </a:lnTo>
                    <a:lnTo>
                      <a:pt x="40" y="218"/>
                    </a:lnTo>
                    <a:lnTo>
                      <a:pt x="46" y="216"/>
                    </a:lnTo>
                    <a:lnTo>
                      <a:pt x="50" y="214"/>
                    </a:lnTo>
                    <a:lnTo>
                      <a:pt x="52" y="212"/>
                    </a:lnTo>
                    <a:lnTo>
                      <a:pt x="52" y="212"/>
                    </a:lnTo>
                    <a:lnTo>
                      <a:pt x="52" y="208"/>
                    </a:lnTo>
                    <a:lnTo>
                      <a:pt x="52" y="208"/>
                    </a:lnTo>
                    <a:lnTo>
                      <a:pt x="54" y="208"/>
                    </a:lnTo>
                    <a:lnTo>
                      <a:pt x="54" y="208"/>
                    </a:lnTo>
                    <a:lnTo>
                      <a:pt x="58" y="194"/>
                    </a:lnTo>
                    <a:lnTo>
                      <a:pt x="58" y="194"/>
                    </a:lnTo>
                    <a:lnTo>
                      <a:pt x="60" y="184"/>
                    </a:lnTo>
                    <a:lnTo>
                      <a:pt x="60" y="184"/>
                    </a:lnTo>
                    <a:lnTo>
                      <a:pt x="66" y="176"/>
                    </a:lnTo>
                    <a:lnTo>
                      <a:pt x="66" y="176"/>
                    </a:lnTo>
                    <a:lnTo>
                      <a:pt x="66" y="170"/>
                    </a:lnTo>
                    <a:lnTo>
                      <a:pt x="68" y="162"/>
                    </a:lnTo>
                    <a:lnTo>
                      <a:pt x="70" y="160"/>
                    </a:lnTo>
                    <a:lnTo>
                      <a:pt x="70" y="160"/>
                    </a:lnTo>
                    <a:lnTo>
                      <a:pt x="70" y="156"/>
                    </a:lnTo>
                    <a:lnTo>
                      <a:pt x="70" y="156"/>
                    </a:lnTo>
                    <a:lnTo>
                      <a:pt x="70" y="152"/>
                    </a:lnTo>
                    <a:lnTo>
                      <a:pt x="70" y="152"/>
                    </a:lnTo>
                    <a:lnTo>
                      <a:pt x="74" y="148"/>
                    </a:lnTo>
                    <a:lnTo>
                      <a:pt x="74" y="148"/>
                    </a:lnTo>
                    <a:lnTo>
                      <a:pt x="74" y="142"/>
                    </a:lnTo>
                    <a:lnTo>
                      <a:pt x="74" y="142"/>
                    </a:lnTo>
                    <a:lnTo>
                      <a:pt x="76" y="132"/>
                    </a:lnTo>
                    <a:lnTo>
                      <a:pt x="76" y="132"/>
                    </a:lnTo>
                    <a:lnTo>
                      <a:pt x="76" y="128"/>
                    </a:lnTo>
                    <a:lnTo>
                      <a:pt x="76" y="124"/>
                    </a:lnTo>
                    <a:lnTo>
                      <a:pt x="76" y="124"/>
                    </a:lnTo>
                    <a:lnTo>
                      <a:pt x="80" y="118"/>
                    </a:lnTo>
                    <a:lnTo>
                      <a:pt x="80" y="118"/>
                    </a:lnTo>
                    <a:lnTo>
                      <a:pt x="80" y="112"/>
                    </a:lnTo>
                    <a:lnTo>
                      <a:pt x="80" y="112"/>
                    </a:lnTo>
                    <a:lnTo>
                      <a:pt x="84" y="108"/>
                    </a:lnTo>
                    <a:lnTo>
                      <a:pt x="84" y="108"/>
                    </a:lnTo>
                    <a:lnTo>
                      <a:pt x="84" y="102"/>
                    </a:lnTo>
                    <a:lnTo>
                      <a:pt x="84" y="102"/>
                    </a:lnTo>
                    <a:lnTo>
                      <a:pt x="88" y="98"/>
                    </a:lnTo>
                    <a:lnTo>
                      <a:pt x="88" y="98"/>
                    </a:lnTo>
                    <a:lnTo>
                      <a:pt x="88" y="90"/>
                    </a:lnTo>
                    <a:lnTo>
                      <a:pt x="88" y="86"/>
                    </a:lnTo>
                    <a:lnTo>
                      <a:pt x="88" y="82"/>
                    </a:lnTo>
                    <a:lnTo>
                      <a:pt x="88" y="82"/>
                    </a:lnTo>
                    <a:lnTo>
                      <a:pt x="92" y="80"/>
                    </a:lnTo>
                    <a:lnTo>
                      <a:pt x="92" y="78"/>
                    </a:lnTo>
                    <a:lnTo>
                      <a:pt x="92" y="78"/>
                    </a:lnTo>
                    <a:lnTo>
                      <a:pt x="92" y="78"/>
                    </a:lnTo>
                    <a:lnTo>
                      <a:pt x="92" y="76"/>
                    </a:lnTo>
                    <a:lnTo>
                      <a:pt x="92" y="74"/>
                    </a:lnTo>
                    <a:lnTo>
                      <a:pt x="94" y="74"/>
                    </a:lnTo>
                    <a:lnTo>
                      <a:pt x="94" y="74"/>
                    </a:lnTo>
                    <a:lnTo>
                      <a:pt x="94" y="68"/>
                    </a:lnTo>
                    <a:lnTo>
                      <a:pt x="94" y="68"/>
                    </a:lnTo>
                    <a:lnTo>
                      <a:pt x="90" y="64"/>
                    </a:lnTo>
                    <a:lnTo>
                      <a:pt x="90" y="64"/>
                    </a:lnTo>
                    <a:lnTo>
                      <a:pt x="88" y="52"/>
                    </a:lnTo>
                    <a:lnTo>
                      <a:pt x="88" y="52"/>
                    </a:lnTo>
                    <a:lnTo>
                      <a:pt x="90" y="52"/>
                    </a:lnTo>
                    <a:lnTo>
                      <a:pt x="92" y="52"/>
                    </a:lnTo>
                    <a:lnTo>
                      <a:pt x="92" y="52"/>
                    </a:lnTo>
                    <a:lnTo>
                      <a:pt x="96" y="60"/>
                    </a:lnTo>
                    <a:lnTo>
                      <a:pt x="98" y="60"/>
                    </a:lnTo>
                    <a:lnTo>
                      <a:pt x="98" y="60"/>
                    </a:lnTo>
                    <a:lnTo>
                      <a:pt x="100" y="50"/>
                    </a:lnTo>
                    <a:lnTo>
                      <a:pt x="102" y="46"/>
                    </a:lnTo>
                    <a:lnTo>
                      <a:pt x="102" y="40"/>
                    </a:lnTo>
                    <a:lnTo>
                      <a:pt x="102" y="40"/>
                    </a:lnTo>
                    <a:lnTo>
                      <a:pt x="98" y="34"/>
                    </a:lnTo>
                    <a:lnTo>
                      <a:pt x="98" y="34"/>
                    </a:lnTo>
                    <a:lnTo>
                      <a:pt x="98" y="28"/>
                    </a:lnTo>
                    <a:lnTo>
                      <a:pt x="98" y="28"/>
                    </a:lnTo>
                    <a:lnTo>
                      <a:pt x="98" y="26"/>
                    </a:lnTo>
                    <a:lnTo>
                      <a:pt x="98" y="26"/>
                    </a:lnTo>
                    <a:lnTo>
                      <a:pt x="96" y="18"/>
                    </a:lnTo>
                    <a:lnTo>
                      <a:pt x="94" y="10"/>
                    </a:lnTo>
                    <a:lnTo>
                      <a:pt x="94" y="10"/>
                    </a:lnTo>
                    <a:lnTo>
                      <a:pt x="92" y="8"/>
                    </a:lnTo>
                    <a:lnTo>
                      <a:pt x="92" y="8"/>
                    </a:lnTo>
                    <a:lnTo>
                      <a:pt x="88" y="8"/>
                    </a:lnTo>
                    <a:lnTo>
                      <a:pt x="88" y="8"/>
                    </a:lnTo>
                    <a:lnTo>
                      <a:pt x="86" y="4"/>
                    </a:lnTo>
                    <a:lnTo>
                      <a:pt x="86" y="4"/>
                    </a:lnTo>
                    <a:lnTo>
                      <a:pt x="84" y="4"/>
                    </a:lnTo>
                    <a:lnTo>
                      <a:pt x="84" y="4"/>
                    </a:lnTo>
                    <a:lnTo>
                      <a:pt x="84" y="2"/>
                    </a:lnTo>
                    <a:lnTo>
                      <a:pt x="84" y="2"/>
                    </a:lnTo>
                    <a:lnTo>
                      <a:pt x="84" y="0"/>
                    </a:lnTo>
                    <a:lnTo>
                      <a:pt x="82"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5" name="Freeform 146"/>
              <p:cNvSpPr>
                <a:spLocks noChangeAspect="1"/>
              </p:cNvSpPr>
              <p:nvPr/>
            </p:nvSpPr>
            <p:spPr bwMode="gray">
              <a:xfrm>
                <a:off x="4477821" y="3493268"/>
                <a:ext cx="385926" cy="391503"/>
              </a:xfrm>
              <a:custGeom>
                <a:avLst/>
                <a:gdLst/>
                <a:ahLst/>
                <a:cxnLst>
                  <a:cxn ang="0">
                    <a:pos x="37" y="8"/>
                  </a:cxn>
                  <a:cxn ang="0">
                    <a:pos x="35" y="16"/>
                  </a:cxn>
                  <a:cxn ang="0">
                    <a:pos x="28" y="20"/>
                  </a:cxn>
                  <a:cxn ang="0">
                    <a:pos x="20" y="22"/>
                  </a:cxn>
                  <a:cxn ang="0">
                    <a:pos x="18" y="28"/>
                  </a:cxn>
                  <a:cxn ang="0">
                    <a:pos x="20" y="38"/>
                  </a:cxn>
                  <a:cxn ang="0">
                    <a:pos x="16" y="42"/>
                  </a:cxn>
                  <a:cxn ang="0">
                    <a:pos x="12" y="48"/>
                  </a:cxn>
                  <a:cxn ang="0">
                    <a:pos x="6" y="50"/>
                  </a:cxn>
                  <a:cxn ang="0">
                    <a:pos x="8" y="54"/>
                  </a:cxn>
                  <a:cxn ang="0">
                    <a:pos x="12" y="90"/>
                  </a:cxn>
                  <a:cxn ang="0">
                    <a:pos x="8" y="94"/>
                  </a:cxn>
                  <a:cxn ang="0">
                    <a:pos x="8" y="96"/>
                  </a:cxn>
                  <a:cxn ang="0">
                    <a:pos x="8" y="100"/>
                  </a:cxn>
                  <a:cxn ang="0">
                    <a:pos x="8" y="116"/>
                  </a:cxn>
                  <a:cxn ang="0">
                    <a:pos x="0" y="124"/>
                  </a:cxn>
                  <a:cxn ang="0">
                    <a:pos x="4" y="130"/>
                  </a:cxn>
                  <a:cxn ang="0">
                    <a:pos x="10" y="140"/>
                  </a:cxn>
                  <a:cxn ang="0">
                    <a:pos x="12" y="148"/>
                  </a:cxn>
                  <a:cxn ang="0">
                    <a:pos x="18" y="156"/>
                  </a:cxn>
                  <a:cxn ang="0">
                    <a:pos x="28" y="158"/>
                  </a:cxn>
                  <a:cxn ang="0">
                    <a:pos x="35" y="164"/>
                  </a:cxn>
                  <a:cxn ang="0">
                    <a:pos x="39" y="166"/>
                  </a:cxn>
                  <a:cxn ang="0">
                    <a:pos x="75" y="186"/>
                  </a:cxn>
                  <a:cxn ang="0">
                    <a:pos x="215" y="238"/>
                  </a:cxn>
                  <a:cxn ang="0">
                    <a:pos x="227" y="194"/>
                  </a:cxn>
                  <a:cxn ang="0">
                    <a:pos x="223" y="68"/>
                  </a:cxn>
                  <a:cxn ang="0">
                    <a:pos x="221" y="60"/>
                  </a:cxn>
                  <a:cxn ang="0">
                    <a:pos x="223" y="50"/>
                  </a:cxn>
                  <a:cxn ang="0">
                    <a:pos x="225" y="44"/>
                  </a:cxn>
                  <a:cxn ang="0">
                    <a:pos x="221" y="32"/>
                  </a:cxn>
                  <a:cxn ang="0">
                    <a:pos x="215" y="26"/>
                  </a:cxn>
                  <a:cxn ang="0">
                    <a:pos x="215" y="24"/>
                  </a:cxn>
                  <a:cxn ang="0">
                    <a:pos x="201" y="24"/>
                  </a:cxn>
                  <a:cxn ang="0">
                    <a:pos x="201" y="18"/>
                  </a:cxn>
                  <a:cxn ang="0">
                    <a:pos x="197" y="16"/>
                  </a:cxn>
                  <a:cxn ang="0">
                    <a:pos x="191" y="14"/>
                  </a:cxn>
                  <a:cxn ang="0">
                    <a:pos x="181" y="10"/>
                  </a:cxn>
                  <a:cxn ang="0">
                    <a:pos x="175" y="10"/>
                  </a:cxn>
                  <a:cxn ang="0">
                    <a:pos x="167" y="16"/>
                  </a:cxn>
                  <a:cxn ang="0">
                    <a:pos x="163" y="16"/>
                  </a:cxn>
                  <a:cxn ang="0">
                    <a:pos x="159" y="24"/>
                  </a:cxn>
                  <a:cxn ang="0">
                    <a:pos x="159" y="32"/>
                  </a:cxn>
                  <a:cxn ang="0">
                    <a:pos x="153" y="48"/>
                  </a:cxn>
                  <a:cxn ang="0">
                    <a:pos x="151" y="52"/>
                  </a:cxn>
                  <a:cxn ang="0">
                    <a:pos x="121" y="44"/>
                  </a:cxn>
                  <a:cxn ang="0">
                    <a:pos x="117" y="44"/>
                  </a:cxn>
                  <a:cxn ang="0">
                    <a:pos x="109" y="42"/>
                  </a:cxn>
                  <a:cxn ang="0">
                    <a:pos x="103" y="40"/>
                  </a:cxn>
                  <a:cxn ang="0">
                    <a:pos x="91" y="28"/>
                  </a:cxn>
                  <a:cxn ang="0">
                    <a:pos x="91" y="24"/>
                  </a:cxn>
                  <a:cxn ang="0">
                    <a:pos x="87" y="22"/>
                  </a:cxn>
                  <a:cxn ang="0">
                    <a:pos x="81" y="18"/>
                  </a:cxn>
                  <a:cxn ang="0">
                    <a:pos x="77" y="16"/>
                  </a:cxn>
                  <a:cxn ang="0">
                    <a:pos x="67" y="12"/>
                  </a:cxn>
                  <a:cxn ang="0">
                    <a:pos x="67" y="12"/>
                  </a:cxn>
                  <a:cxn ang="0">
                    <a:pos x="53" y="12"/>
                  </a:cxn>
                  <a:cxn ang="0">
                    <a:pos x="49" y="8"/>
                  </a:cxn>
                  <a:cxn ang="0">
                    <a:pos x="43" y="6"/>
                  </a:cxn>
                  <a:cxn ang="0">
                    <a:pos x="41" y="0"/>
                  </a:cxn>
                </a:cxnLst>
                <a:rect l="0" t="0" r="r" b="b"/>
                <a:pathLst>
                  <a:path w="227" h="238">
                    <a:moveTo>
                      <a:pt x="41" y="0"/>
                    </a:moveTo>
                    <a:lnTo>
                      <a:pt x="37" y="8"/>
                    </a:lnTo>
                    <a:lnTo>
                      <a:pt x="37" y="8"/>
                    </a:lnTo>
                    <a:lnTo>
                      <a:pt x="37" y="10"/>
                    </a:lnTo>
                    <a:lnTo>
                      <a:pt x="37" y="12"/>
                    </a:lnTo>
                    <a:lnTo>
                      <a:pt x="35" y="16"/>
                    </a:lnTo>
                    <a:lnTo>
                      <a:pt x="35" y="16"/>
                    </a:lnTo>
                    <a:lnTo>
                      <a:pt x="30" y="20"/>
                    </a:lnTo>
                    <a:lnTo>
                      <a:pt x="28" y="20"/>
                    </a:lnTo>
                    <a:lnTo>
                      <a:pt x="24" y="22"/>
                    </a:lnTo>
                    <a:lnTo>
                      <a:pt x="24" y="22"/>
                    </a:lnTo>
                    <a:lnTo>
                      <a:pt x="20" y="22"/>
                    </a:lnTo>
                    <a:lnTo>
                      <a:pt x="20" y="24"/>
                    </a:lnTo>
                    <a:lnTo>
                      <a:pt x="20" y="24"/>
                    </a:lnTo>
                    <a:lnTo>
                      <a:pt x="18" y="28"/>
                    </a:lnTo>
                    <a:lnTo>
                      <a:pt x="20" y="36"/>
                    </a:lnTo>
                    <a:lnTo>
                      <a:pt x="20" y="36"/>
                    </a:lnTo>
                    <a:lnTo>
                      <a:pt x="20" y="38"/>
                    </a:lnTo>
                    <a:lnTo>
                      <a:pt x="18" y="40"/>
                    </a:lnTo>
                    <a:lnTo>
                      <a:pt x="16" y="42"/>
                    </a:lnTo>
                    <a:lnTo>
                      <a:pt x="16" y="42"/>
                    </a:lnTo>
                    <a:lnTo>
                      <a:pt x="16" y="46"/>
                    </a:lnTo>
                    <a:lnTo>
                      <a:pt x="14" y="46"/>
                    </a:lnTo>
                    <a:lnTo>
                      <a:pt x="12" y="48"/>
                    </a:lnTo>
                    <a:lnTo>
                      <a:pt x="12" y="48"/>
                    </a:lnTo>
                    <a:lnTo>
                      <a:pt x="10" y="48"/>
                    </a:lnTo>
                    <a:lnTo>
                      <a:pt x="6" y="50"/>
                    </a:lnTo>
                    <a:lnTo>
                      <a:pt x="6" y="50"/>
                    </a:lnTo>
                    <a:lnTo>
                      <a:pt x="6" y="52"/>
                    </a:lnTo>
                    <a:lnTo>
                      <a:pt x="8" y="54"/>
                    </a:lnTo>
                    <a:lnTo>
                      <a:pt x="8" y="56"/>
                    </a:lnTo>
                    <a:lnTo>
                      <a:pt x="8" y="84"/>
                    </a:lnTo>
                    <a:lnTo>
                      <a:pt x="12" y="90"/>
                    </a:lnTo>
                    <a:lnTo>
                      <a:pt x="12" y="90"/>
                    </a:lnTo>
                    <a:lnTo>
                      <a:pt x="10" y="92"/>
                    </a:lnTo>
                    <a:lnTo>
                      <a:pt x="8" y="94"/>
                    </a:lnTo>
                    <a:lnTo>
                      <a:pt x="8" y="94"/>
                    </a:lnTo>
                    <a:lnTo>
                      <a:pt x="8" y="94"/>
                    </a:lnTo>
                    <a:lnTo>
                      <a:pt x="8" y="96"/>
                    </a:lnTo>
                    <a:lnTo>
                      <a:pt x="10" y="96"/>
                    </a:lnTo>
                    <a:lnTo>
                      <a:pt x="8" y="100"/>
                    </a:lnTo>
                    <a:lnTo>
                      <a:pt x="8" y="100"/>
                    </a:lnTo>
                    <a:lnTo>
                      <a:pt x="10" y="106"/>
                    </a:lnTo>
                    <a:lnTo>
                      <a:pt x="8" y="116"/>
                    </a:lnTo>
                    <a:lnTo>
                      <a:pt x="8" y="116"/>
                    </a:lnTo>
                    <a:lnTo>
                      <a:pt x="6" y="120"/>
                    </a:lnTo>
                    <a:lnTo>
                      <a:pt x="4" y="122"/>
                    </a:lnTo>
                    <a:lnTo>
                      <a:pt x="0" y="124"/>
                    </a:lnTo>
                    <a:lnTo>
                      <a:pt x="0" y="124"/>
                    </a:lnTo>
                    <a:lnTo>
                      <a:pt x="4" y="130"/>
                    </a:lnTo>
                    <a:lnTo>
                      <a:pt x="4" y="130"/>
                    </a:lnTo>
                    <a:lnTo>
                      <a:pt x="6" y="134"/>
                    </a:lnTo>
                    <a:lnTo>
                      <a:pt x="10" y="140"/>
                    </a:lnTo>
                    <a:lnTo>
                      <a:pt x="10" y="140"/>
                    </a:lnTo>
                    <a:lnTo>
                      <a:pt x="12" y="144"/>
                    </a:lnTo>
                    <a:lnTo>
                      <a:pt x="12" y="148"/>
                    </a:lnTo>
                    <a:lnTo>
                      <a:pt x="12" y="148"/>
                    </a:lnTo>
                    <a:lnTo>
                      <a:pt x="14" y="154"/>
                    </a:lnTo>
                    <a:lnTo>
                      <a:pt x="16" y="156"/>
                    </a:lnTo>
                    <a:lnTo>
                      <a:pt x="18" y="156"/>
                    </a:lnTo>
                    <a:lnTo>
                      <a:pt x="18" y="156"/>
                    </a:lnTo>
                    <a:lnTo>
                      <a:pt x="28" y="158"/>
                    </a:lnTo>
                    <a:lnTo>
                      <a:pt x="28" y="158"/>
                    </a:lnTo>
                    <a:lnTo>
                      <a:pt x="30" y="162"/>
                    </a:lnTo>
                    <a:lnTo>
                      <a:pt x="32" y="164"/>
                    </a:lnTo>
                    <a:lnTo>
                      <a:pt x="35" y="164"/>
                    </a:lnTo>
                    <a:lnTo>
                      <a:pt x="35" y="164"/>
                    </a:lnTo>
                    <a:lnTo>
                      <a:pt x="37" y="164"/>
                    </a:lnTo>
                    <a:lnTo>
                      <a:pt x="39" y="166"/>
                    </a:lnTo>
                    <a:lnTo>
                      <a:pt x="43" y="170"/>
                    </a:lnTo>
                    <a:lnTo>
                      <a:pt x="75" y="188"/>
                    </a:lnTo>
                    <a:lnTo>
                      <a:pt x="75" y="186"/>
                    </a:lnTo>
                    <a:lnTo>
                      <a:pt x="85" y="178"/>
                    </a:lnTo>
                    <a:lnTo>
                      <a:pt x="99" y="168"/>
                    </a:lnTo>
                    <a:lnTo>
                      <a:pt x="215" y="238"/>
                    </a:lnTo>
                    <a:lnTo>
                      <a:pt x="215" y="226"/>
                    </a:lnTo>
                    <a:lnTo>
                      <a:pt x="227" y="226"/>
                    </a:lnTo>
                    <a:lnTo>
                      <a:pt x="227" y="194"/>
                    </a:lnTo>
                    <a:lnTo>
                      <a:pt x="227" y="74"/>
                    </a:lnTo>
                    <a:lnTo>
                      <a:pt x="227" y="74"/>
                    </a:lnTo>
                    <a:lnTo>
                      <a:pt x="223" y="68"/>
                    </a:lnTo>
                    <a:lnTo>
                      <a:pt x="223" y="68"/>
                    </a:lnTo>
                    <a:lnTo>
                      <a:pt x="221" y="66"/>
                    </a:lnTo>
                    <a:lnTo>
                      <a:pt x="221" y="60"/>
                    </a:lnTo>
                    <a:lnTo>
                      <a:pt x="221" y="60"/>
                    </a:lnTo>
                    <a:lnTo>
                      <a:pt x="221" y="54"/>
                    </a:lnTo>
                    <a:lnTo>
                      <a:pt x="223" y="50"/>
                    </a:lnTo>
                    <a:lnTo>
                      <a:pt x="223" y="50"/>
                    </a:lnTo>
                    <a:lnTo>
                      <a:pt x="225" y="48"/>
                    </a:lnTo>
                    <a:lnTo>
                      <a:pt x="225" y="44"/>
                    </a:lnTo>
                    <a:lnTo>
                      <a:pt x="221" y="38"/>
                    </a:lnTo>
                    <a:lnTo>
                      <a:pt x="221" y="38"/>
                    </a:lnTo>
                    <a:lnTo>
                      <a:pt x="221" y="32"/>
                    </a:lnTo>
                    <a:lnTo>
                      <a:pt x="221" y="28"/>
                    </a:lnTo>
                    <a:lnTo>
                      <a:pt x="221" y="28"/>
                    </a:lnTo>
                    <a:lnTo>
                      <a:pt x="215" y="26"/>
                    </a:lnTo>
                    <a:lnTo>
                      <a:pt x="215" y="26"/>
                    </a:lnTo>
                    <a:lnTo>
                      <a:pt x="215" y="24"/>
                    </a:lnTo>
                    <a:lnTo>
                      <a:pt x="215" y="24"/>
                    </a:lnTo>
                    <a:lnTo>
                      <a:pt x="207" y="22"/>
                    </a:lnTo>
                    <a:lnTo>
                      <a:pt x="201" y="24"/>
                    </a:lnTo>
                    <a:lnTo>
                      <a:pt x="201" y="24"/>
                    </a:lnTo>
                    <a:lnTo>
                      <a:pt x="201" y="20"/>
                    </a:lnTo>
                    <a:lnTo>
                      <a:pt x="201" y="18"/>
                    </a:lnTo>
                    <a:lnTo>
                      <a:pt x="201" y="18"/>
                    </a:lnTo>
                    <a:lnTo>
                      <a:pt x="197" y="18"/>
                    </a:lnTo>
                    <a:lnTo>
                      <a:pt x="197" y="18"/>
                    </a:lnTo>
                    <a:lnTo>
                      <a:pt x="197" y="16"/>
                    </a:lnTo>
                    <a:lnTo>
                      <a:pt x="197" y="14"/>
                    </a:lnTo>
                    <a:lnTo>
                      <a:pt x="197" y="14"/>
                    </a:lnTo>
                    <a:lnTo>
                      <a:pt x="191" y="14"/>
                    </a:lnTo>
                    <a:lnTo>
                      <a:pt x="191" y="14"/>
                    </a:lnTo>
                    <a:lnTo>
                      <a:pt x="181" y="10"/>
                    </a:lnTo>
                    <a:lnTo>
                      <a:pt x="181" y="10"/>
                    </a:lnTo>
                    <a:lnTo>
                      <a:pt x="177" y="8"/>
                    </a:lnTo>
                    <a:lnTo>
                      <a:pt x="175" y="10"/>
                    </a:lnTo>
                    <a:lnTo>
                      <a:pt x="175" y="10"/>
                    </a:lnTo>
                    <a:lnTo>
                      <a:pt x="171" y="12"/>
                    </a:lnTo>
                    <a:lnTo>
                      <a:pt x="171" y="12"/>
                    </a:lnTo>
                    <a:lnTo>
                      <a:pt x="167" y="16"/>
                    </a:lnTo>
                    <a:lnTo>
                      <a:pt x="167" y="16"/>
                    </a:lnTo>
                    <a:lnTo>
                      <a:pt x="163" y="16"/>
                    </a:lnTo>
                    <a:lnTo>
                      <a:pt x="163" y="16"/>
                    </a:lnTo>
                    <a:lnTo>
                      <a:pt x="161" y="20"/>
                    </a:lnTo>
                    <a:lnTo>
                      <a:pt x="159" y="24"/>
                    </a:lnTo>
                    <a:lnTo>
                      <a:pt x="159" y="24"/>
                    </a:lnTo>
                    <a:lnTo>
                      <a:pt x="155" y="26"/>
                    </a:lnTo>
                    <a:lnTo>
                      <a:pt x="155" y="26"/>
                    </a:lnTo>
                    <a:lnTo>
                      <a:pt x="159" y="32"/>
                    </a:lnTo>
                    <a:lnTo>
                      <a:pt x="161" y="38"/>
                    </a:lnTo>
                    <a:lnTo>
                      <a:pt x="159" y="42"/>
                    </a:lnTo>
                    <a:lnTo>
                      <a:pt x="153" y="48"/>
                    </a:lnTo>
                    <a:lnTo>
                      <a:pt x="153" y="48"/>
                    </a:lnTo>
                    <a:lnTo>
                      <a:pt x="151" y="52"/>
                    </a:lnTo>
                    <a:lnTo>
                      <a:pt x="151" y="52"/>
                    </a:lnTo>
                    <a:lnTo>
                      <a:pt x="143" y="52"/>
                    </a:lnTo>
                    <a:lnTo>
                      <a:pt x="135" y="50"/>
                    </a:lnTo>
                    <a:lnTo>
                      <a:pt x="121" y="44"/>
                    </a:lnTo>
                    <a:lnTo>
                      <a:pt x="121" y="44"/>
                    </a:lnTo>
                    <a:lnTo>
                      <a:pt x="117" y="44"/>
                    </a:lnTo>
                    <a:lnTo>
                      <a:pt x="117" y="44"/>
                    </a:lnTo>
                    <a:lnTo>
                      <a:pt x="115" y="42"/>
                    </a:lnTo>
                    <a:lnTo>
                      <a:pt x="115" y="42"/>
                    </a:lnTo>
                    <a:lnTo>
                      <a:pt x="109" y="42"/>
                    </a:lnTo>
                    <a:lnTo>
                      <a:pt x="107" y="42"/>
                    </a:lnTo>
                    <a:lnTo>
                      <a:pt x="103" y="40"/>
                    </a:lnTo>
                    <a:lnTo>
                      <a:pt x="103" y="40"/>
                    </a:lnTo>
                    <a:lnTo>
                      <a:pt x="97" y="34"/>
                    </a:lnTo>
                    <a:lnTo>
                      <a:pt x="91" y="28"/>
                    </a:lnTo>
                    <a:lnTo>
                      <a:pt x="91" y="28"/>
                    </a:lnTo>
                    <a:lnTo>
                      <a:pt x="91" y="28"/>
                    </a:lnTo>
                    <a:lnTo>
                      <a:pt x="91" y="28"/>
                    </a:lnTo>
                    <a:lnTo>
                      <a:pt x="91" y="24"/>
                    </a:lnTo>
                    <a:lnTo>
                      <a:pt x="89" y="22"/>
                    </a:lnTo>
                    <a:lnTo>
                      <a:pt x="89" y="22"/>
                    </a:lnTo>
                    <a:lnTo>
                      <a:pt x="87" y="22"/>
                    </a:lnTo>
                    <a:lnTo>
                      <a:pt x="85" y="20"/>
                    </a:lnTo>
                    <a:lnTo>
                      <a:pt x="85" y="20"/>
                    </a:lnTo>
                    <a:lnTo>
                      <a:pt x="81" y="18"/>
                    </a:lnTo>
                    <a:lnTo>
                      <a:pt x="81" y="18"/>
                    </a:lnTo>
                    <a:lnTo>
                      <a:pt x="77" y="18"/>
                    </a:lnTo>
                    <a:lnTo>
                      <a:pt x="77" y="16"/>
                    </a:lnTo>
                    <a:lnTo>
                      <a:pt x="77" y="16"/>
                    </a:lnTo>
                    <a:lnTo>
                      <a:pt x="71" y="14"/>
                    </a:lnTo>
                    <a:lnTo>
                      <a:pt x="67" y="12"/>
                    </a:lnTo>
                    <a:lnTo>
                      <a:pt x="67" y="12"/>
                    </a:lnTo>
                    <a:lnTo>
                      <a:pt x="67" y="12"/>
                    </a:lnTo>
                    <a:lnTo>
                      <a:pt x="67" y="12"/>
                    </a:lnTo>
                    <a:lnTo>
                      <a:pt x="59" y="12"/>
                    </a:lnTo>
                    <a:lnTo>
                      <a:pt x="57" y="12"/>
                    </a:lnTo>
                    <a:lnTo>
                      <a:pt x="53" y="12"/>
                    </a:lnTo>
                    <a:lnTo>
                      <a:pt x="53" y="12"/>
                    </a:lnTo>
                    <a:lnTo>
                      <a:pt x="51" y="10"/>
                    </a:lnTo>
                    <a:lnTo>
                      <a:pt x="49" y="8"/>
                    </a:lnTo>
                    <a:lnTo>
                      <a:pt x="49" y="8"/>
                    </a:lnTo>
                    <a:lnTo>
                      <a:pt x="43" y="6"/>
                    </a:lnTo>
                    <a:lnTo>
                      <a:pt x="43" y="6"/>
                    </a:lnTo>
                    <a:lnTo>
                      <a:pt x="41" y="4"/>
                    </a:lnTo>
                    <a:lnTo>
                      <a:pt x="41" y="2"/>
                    </a:lnTo>
                    <a:lnTo>
                      <a:pt x="41"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6" name="Freeform 147"/>
              <p:cNvSpPr>
                <a:spLocks noChangeAspect="1"/>
              </p:cNvSpPr>
              <p:nvPr/>
            </p:nvSpPr>
            <p:spPr bwMode="gray">
              <a:xfrm>
                <a:off x="4022189" y="4184155"/>
                <a:ext cx="98607" cy="125018"/>
              </a:xfrm>
              <a:custGeom>
                <a:avLst/>
                <a:gdLst/>
                <a:ahLst/>
                <a:cxnLst>
                  <a:cxn ang="0">
                    <a:pos x="2" y="34"/>
                  </a:cxn>
                  <a:cxn ang="0">
                    <a:pos x="6" y="40"/>
                  </a:cxn>
                  <a:cxn ang="0">
                    <a:pos x="10" y="46"/>
                  </a:cxn>
                  <a:cxn ang="0">
                    <a:pos x="12" y="46"/>
                  </a:cxn>
                  <a:cxn ang="0">
                    <a:pos x="12" y="48"/>
                  </a:cxn>
                  <a:cxn ang="0">
                    <a:pos x="24" y="56"/>
                  </a:cxn>
                  <a:cxn ang="0">
                    <a:pos x="26" y="62"/>
                  </a:cxn>
                  <a:cxn ang="0">
                    <a:pos x="38" y="72"/>
                  </a:cxn>
                  <a:cxn ang="0">
                    <a:pos x="44" y="72"/>
                  </a:cxn>
                  <a:cxn ang="0">
                    <a:pos x="48" y="76"/>
                  </a:cxn>
                  <a:cxn ang="0">
                    <a:pos x="52" y="76"/>
                  </a:cxn>
                  <a:cxn ang="0">
                    <a:pos x="54" y="72"/>
                  </a:cxn>
                  <a:cxn ang="0">
                    <a:pos x="52" y="68"/>
                  </a:cxn>
                  <a:cxn ang="0">
                    <a:pos x="54" y="66"/>
                  </a:cxn>
                  <a:cxn ang="0">
                    <a:pos x="56" y="62"/>
                  </a:cxn>
                  <a:cxn ang="0">
                    <a:pos x="56" y="58"/>
                  </a:cxn>
                  <a:cxn ang="0">
                    <a:pos x="56" y="54"/>
                  </a:cxn>
                  <a:cxn ang="0">
                    <a:pos x="54" y="54"/>
                  </a:cxn>
                  <a:cxn ang="0">
                    <a:pos x="50" y="46"/>
                  </a:cxn>
                  <a:cxn ang="0">
                    <a:pos x="48" y="42"/>
                  </a:cxn>
                  <a:cxn ang="0">
                    <a:pos x="46" y="38"/>
                  </a:cxn>
                  <a:cxn ang="0">
                    <a:pos x="36" y="36"/>
                  </a:cxn>
                  <a:cxn ang="0">
                    <a:pos x="44" y="26"/>
                  </a:cxn>
                  <a:cxn ang="0">
                    <a:pos x="44" y="22"/>
                  </a:cxn>
                  <a:cxn ang="0">
                    <a:pos x="42" y="16"/>
                  </a:cxn>
                  <a:cxn ang="0">
                    <a:pos x="42" y="14"/>
                  </a:cxn>
                  <a:cxn ang="0">
                    <a:pos x="38" y="14"/>
                  </a:cxn>
                  <a:cxn ang="0">
                    <a:pos x="32" y="22"/>
                  </a:cxn>
                  <a:cxn ang="0">
                    <a:pos x="28" y="20"/>
                  </a:cxn>
                  <a:cxn ang="0">
                    <a:pos x="32" y="12"/>
                  </a:cxn>
                  <a:cxn ang="0">
                    <a:pos x="32" y="10"/>
                  </a:cxn>
                  <a:cxn ang="0">
                    <a:pos x="28" y="0"/>
                  </a:cxn>
                  <a:cxn ang="0">
                    <a:pos x="26" y="6"/>
                  </a:cxn>
                  <a:cxn ang="0">
                    <a:pos x="22" y="6"/>
                  </a:cxn>
                  <a:cxn ang="0">
                    <a:pos x="20" y="6"/>
                  </a:cxn>
                  <a:cxn ang="0">
                    <a:pos x="18" y="10"/>
                  </a:cxn>
                  <a:cxn ang="0">
                    <a:pos x="16" y="10"/>
                  </a:cxn>
                  <a:cxn ang="0">
                    <a:pos x="12" y="16"/>
                  </a:cxn>
                  <a:cxn ang="0">
                    <a:pos x="4" y="24"/>
                  </a:cxn>
                  <a:cxn ang="0">
                    <a:pos x="2" y="30"/>
                  </a:cxn>
                  <a:cxn ang="0">
                    <a:pos x="2" y="34"/>
                  </a:cxn>
                </a:cxnLst>
                <a:rect l="0" t="0" r="r" b="b"/>
                <a:pathLst>
                  <a:path w="58" h="76">
                    <a:moveTo>
                      <a:pt x="2" y="34"/>
                    </a:moveTo>
                    <a:lnTo>
                      <a:pt x="2" y="34"/>
                    </a:lnTo>
                    <a:lnTo>
                      <a:pt x="4" y="38"/>
                    </a:lnTo>
                    <a:lnTo>
                      <a:pt x="6" y="40"/>
                    </a:lnTo>
                    <a:lnTo>
                      <a:pt x="10" y="46"/>
                    </a:lnTo>
                    <a:lnTo>
                      <a:pt x="10" y="46"/>
                    </a:lnTo>
                    <a:lnTo>
                      <a:pt x="12" y="46"/>
                    </a:lnTo>
                    <a:lnTo>
                      <a:pt x="12" y="46"/>
                    </a:lnTo>
                    <a:lnTo>
                      <a:pt x="12" y="48"/>
                    </a:lnTo>
                    <a:lnTo>
                      <a:pt x="12" y="48"/>
                    </a:lnTo>
                    <a:lnTo>
                      <a:pt x="22" y="56"/>
                    </a:lnTo>
                    <a:lnTo>
                      <a:pt x="24" y="56"/>
                    </a:lnTo>
                    <a:lnTo>
                      <a:pt x="24" y="56"/>
                    </a:lnTo>
                    <a:lnTo>
                      <a:pt x="26" y="62"/>
                    </a:lnTo>
                    <a:lnTo>
                      <a:pt x="38" y="72"/>
                    </a:lnTo>
                    <a:lnTo>
                      <a:pt x="38" y="72"/>
                    </a:lnTo>
                    <a:lnTo>
                      <a:pt x="44" y="72"/>
                    </a:lnTo>
                    <a:lnTo>
                      <a:pt x="44" y="72"/>
                    </a:lnTo>
                    <a:lnTo>
                      <a:pt x="46" y="74"/>
                    </a:lnTo>
                    <a:lnTo>
                      <a:pt x="48" y="76"/>
                    </a:lnTo>
                    <a:lnTo>
                      <a:pt x="48" y="76"/>
                    </a:lnTo>
                    <a:lnTo>
                      <a:pt x="52" y="76"/>
                    </a:lnTo>
                    <a:lnTo>
                      <a:pt x="52" y="76"/>
                    </a:lnTo>
                    <a:lnTo>
                      <a:pt x="54" y="72"/>
                    </a:lnTo>
                    <a:lnTo>
                      <a:pt x="54" y="72"/>
                    </a:lnTo>
                    <a:lnTo>
                      <a:pt x="52" y="68"/>
                    </a:lnTo>
                    <a:lnTo>
                      <a:pt x="52" y="68"/>
                    </a:lnTo>
                    <a:lnTo>
                      <a:pt x="54" y="66"/>
                    </a:lnTo>
                    <a:lnTo>
                      <a:pt x="54" y="66"/>
                    </a:lnTo>
                    <a:lnTo>
                      <a:pt x="56" y="62"/>
                    </a:lnTo>
                    <a:lnTo>
                      <a:pt x="56" y="58"/>
                    </a:lnTo>
                    <a:lnTo>
                      <a:pt x="56" y="58"/>
                    </a:lnTo>
                    <a:lnTo>
                      <a:pt x="58" y="54"/>
                    </a:lnTo>
                    <a:lnTo>
                      <a:pt x="56" y="54"/>
                    </a:lnTo>
                    <a:lnTo>
                      <a:pt x="56" y="54"/>
                    </a:lnTo>
                    <a:lnTo>
                      <a:pt x="54" y="54"/>
                    </a:lnTo>
                    <a:lnTo>
                      <a:pt x="52" y="52"/>
                    </a:lnTo>
                    <a:lnTo>
                      <a:pt x="50" y="46"/>
                    </a:lnTo>
                    <a:lnTo>
                      <a:pt x="50" y="46"/>
                    </a:lnTo>
                    <a:lnTo>
                      <a:pt x="48" y="42"/>
                    </a:lnTo>
                    <a:lnTo>
                      <a:pt x="46" y="38"/>
                    </a:lnTo>
                    <a:lnTo>
                      <a:pt x="46" y="38"/>
                    </a:lnTo>
                    <a:lnTo>
                      <a:pt x="36" y="36"/>
                    </a:lnTo>
                    <a:lnTo>
                      <a:pt x="36" y="36"/>
                    </a:lnTo>
                    <a:lnTo>
                      <a:pt x="40" y="32"/>
                    </a:lnTo>
                    <a:lnTo>
                      <a:pt x="44" y="26"/>
                    </a:lnTo>
                    <a:lnTo>
                      <a:pt x="44" y="26"/>
                    </a:lnTo>
                    <a:lnTo>
                      <a:pt x="44" y="22"/>
                    </a:lnTo>
                    <a:lnTo>
                      <a:pt x="44" y="20"/>
                    </a:lnTo>
                    <a:lnTo>
                      <a:pt x="42" y="16"/>
                    </a:lnTo>
                    <a:lnTo>
                      <a:pt x="42" y="16"/>
                    </a:lnTo>
                    <a:lnTo>
                      <a:pt x="42" y="14"/>
                    </a:lnTo>
                    <a:lnTo>
                      <a:pt x="40" y="12"/>
                    </a:lnTo>
                    <a:lnTo>
                      <a:pt x="38" y="14"/>
                    </a:lnTo>
                    <a:lnTo>
                      <a:pt x="38" y="14"/>
                    </a:lnTo>
                    <a:lnTo>
                      <a:pt x="32" y="22"/>
                    </a:lnTo>
                    <a:lnTo>
                      <a:pt x="28" y="20"/>
                    </a:lnTo>
                    <a:lnTo>
                      <a:pt x="28" y="20"/>
                    </a:lnTo>
                    <a:lnTo>
                      <a:pt x="30" y="16"/>
                    </a:lnTo>
                    <a:lnTo>
                      <a:pt x="32" y="12"/>
                    </a:lnTo>
                    <a:lnTo>
                      <a:pt x="32" y="10"/>
                    </a:lnTo>
                    <a:lnTo>
                      <a:pt x="32" y="10"/>
                    </a:lnTo>
                    <a:lnTo>
                      <a:pt x="28" y="0"/>
                    </a:lnTo>
                    <a:lnTo>
                      <a:pt x="28" y="0"/>
                    </a:lnTo>
                    <a:lnTo>
                      <a:pt x="28" y="2"/>
                    </a:lnTo>
                    <a:lnTo>
                      <a:pt x="26" y="6"/>
                    </a:lnTo>
                    <a:lnTo>
                      <a:pt x="26" y="6"/>
                    </a:lnTo>
                    <a:lnTo>
                      <a:pt x="22" y="6"/>
                    </a:lnTo>
                    <a:lnTo>
                      <a:pt x="20" y="6"/>
                    </a:lnTo>
                    <a:lnTo>
                      <a:pt x="20" y="6"/>
                    </a:lnTo>
                    <a:lnTo>
                      <a:pt x="18" y="8"/>
                    </a:lnTo>
                    <a:lnTo>
                      <a:pt x="18" y="10"/>
                    </a:lnTo>
                    <a:lnTo>
                      <a:pt x="16" y="10"/>
                    </a:lnTo>
                    <a:lnTo>
                      <a:pt x="16" y="10"/>
                    </a:lnTo>
                    <a:lnTo>
                      <a:pt x="12" y="12"/>
                    </a:lnTo>
                    <a:lnTo>
                      <a:pt x="12" y="16"/>
                    </a:lnTo>
                    <a:lnTo>
                      <a:pt x="12" y="16"/>
                    </a:lnTo>
                    <a:lnTo>
                      <a:pt x="4" y="24"/>
                    </a:lnTo>
                    <a:lnTo>
                      <a:pt x="4" y="24"/>
                    </a:lnTo>
                    <a:lnTo>
                      <a:pt x="2" y="30"/>
                    </a:lnTo>
                    <a:lnTo>
                      <a:pt x="0" y="34"/>
                    </a:lnTo>
                    <a:lnTo>
                      <a:pt x="2" y="3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7" name="Freeform 153"/>
              <p:cNvSpPr>
                <a:spLocks noChangeAspect="1" noEditPoints="1"/>
              </p:cNvSpPr>
              <p:nvPr/>
            </p:nvSpPr>
            <p:spPr bwMode="gray">
              <a:xfrm>
                <a:off x="5060960" y="4299303"/>
                <a:ext cx="197213" cy="253325"/>
              </a:xfrm>
              <a:custGeom>
                <a:avLst/>
                <a:gdLst/>
                <a:ahLst/>
                <a:cxnLst>
                  <a:cxn ang="0">
                    <a:pos x="6" y="88"/>
                  </a:cxn>
                  <a:cxn ang="0">
                    <a:pos x="10" y="90"/>
                  </a:cxn>
                  <a:cxn ang="0">
                    <a:pos x="14" y="88"/>
                  </a:cxn>
                  <a:cxn ang="0">
                    <a:pos x="12" y="90"/>
                  </a:cxn>
                  <a:cxn ang="0">
                    <a:pos x="12" y="98"/>
                  </a:cxn>
                  <a:cxn ang="0">
                    <a:pos x="8" y="100"/>
                  </a:cxn>
                  <a:cxn ang="0">
                    <a:pos x="48" y="128"/>
                  </a:cxn>
                  <a:cxn ang="0">
                    <a:pos x="52" y="134"/>
                  </a:cxn>
                  <a:cxn ang="0">
                    <a:pos x="52" y="140"/>
                  </a:cxn>
                  <a:cxn ang="0">
                    <a:pos x="56" y="144"/>
                  </a:cxn>
                  <a:cxn ang="0">
                    <a:pos x="74" y="154"/>
                  </a:cxn>
                  <a:cxn ang="0">
                    <a:pos x="76" y="146"/>
                  </a:cxn>
                  <a:cxn ang="0">
                    <a:pos x="80" y="138"/>
                  </a:cxn>
                  <a:cxn ang="0">
                    <a:pos x="86" y="126"/>
                  </a:cxn>
                  <a:cxn ang="0">
                    <a:pos x="92" y="124"/>
                  </a:cxn>
                  <a:cxn ang="0">
                    <a:pos x="98" y="114"/>
                  </a:cxn>
                  <a:cxn ang="0">
                    <a:pos x="104" y="112"/>
                  </a:cxn>
                  <a:cxn ang="0">
                    <a:pos x="106" y="102"/>
                  </a:cxn>
                  <a:cxn ang="0">
                    <a:pos x="112" y="98"/>
                  </a:cxn>
                  <a:cxn ang="0">
                    <a:pos x="110" y="94"/>
                  </a:cxn>
                  <a:cxn ang="0">
                    <a:pos x="102" y="26"/>
                  </a:cxn>
                  <a:cxn ang="0">
                    <a:pos x="116" y="4"/>
                  </a:cxn>
                  <a:cxn ang="0">
                    <a:pos x="102" y="4"/>
                  </a:cxn>
                  <a:cxn ang="0">
                    <a:pos x="98" y="0"/>
                  </a:cxn>
                  <a:cxn ang="0">
                    <a:pos x="92" y="4"/>
                  </a:cxn>
                  <a:cxn ang="0">
                    <a:pos x="86" y="4"/>
                  </a:cxn>
                  <a:cxn ang="0">
                    <a:pos x="84" y="8"/>
                  </a:cxn>
                  <a:cxn ang="0">
                    <a:pos x="72" y="8"/>
                  </a:cxn>
                  <a:cxn ang="0">
                    <a:pos x="62" y="6"/>
                  </a:cxn>
                  <a:cxn ang="0">
                    <a:pos x="54" y="6"/>
                  </a:cxn>
                  <a:cxn ang="0">
                    <a:pos x="48" y="6"/>
                  </a:cxn>
                  <a:cxn ang="0">
                    <a:pos x="40" y="8"/>
                  </a:cxn>
                  <a:cxn ang="0">
                    <a:pos x="22" y="0"/>
                  </a:cxn>
                  <a:cxn ang="0">
                    <a:pos x="10" y="0"/>
                  </a:cxn>
                  <a:cxn ang="0">
                    <a:pos x="0" y="10"/>
                  </a:cxn>
                  <a:cxn ang="0">
                    <a:pos x="4" y="14"/>
                  </a:cxn>
                  <a:cxn ang="0">
                    <a:pos x="6" y="16"/>
                  </a:cxn>
                  <a:cxn ang="0">
                    <a:pos x="6" y="24"/>
                  </a:cxn>
                  <a:cxn ang="0">
                    <a:pos x="8" y="34"/>
                  </a:cxn>
                  <a:cxn ang="0">
                    <a:pos x="10" y="44"/>
                  </a:cxn>
                  <a:cxn ang="0">
                    <a:pos x="8" y="50"/>
                  </a:cxn>
                  <a:cxn ang="0">
                    <a:pos x="4" y="56"/>
                  </a:cxn>
                  <a:cxn ang="0">
                    <a:pos x="2" y="66"/>
                  </a:cxn>
                  <a:cxn ang="0">
                    <a:pos x="2" y="74"/>
                  </a:cxn>
                  <a:cxn ang="0">
                    <a:pos x="4" y="80"/>
                  </a:cxn>
                  <a:cxn ang="0">
                    <a:pos x="4" y="84"/>
                  </a:cxn>
                  <a:cxn ang="0">
                    <a:pos x="30" y="6"/>
                  </a:cxn>
                  <a:cxn ang="0">
                    <a:pos x="34" y="8"/>
                  </a:cxn>
                  <a:cxn ang="0">
                    <a:pos x="34" y="24"/>
                  </a:cxn>
                  <a:cxn ang="0">
                    <a:pos x="40" y="32"/>
                  </a:cxn>
                  <a:cxn ang="0">
                    <a:pos x="38" y="40"/>
                  </a:cxn>
                  <a:cxn ang="0">
                    <a:pos x="32" y="30"/>
                  </a:cxn>
                  <a:cxn ang="0">
                    <a:pos x="30" y="24"/>
                  </a:cxn>
                  <a:cxn ang="0">
                    <a:pos x="28" y="14"/>
                  </a:cxn>
                </a:cxnLst>
                <a:rect l="0" t="0" r="r" b="b"/>
                <a:pathLst>
                  <a:path w="116" h="154">
                    <a:moveTo>
                      <a:pt x="4" y="86"/>
                    </a:moveTo>
                    <a:lnTo>
                      <a:pt x="4" y="86"/>
                    </a:lnTo>
                    <a:lnTo>
                      <a:pt x="6" y="88"/>
                    </a:lnTo>
                    <a:lnTo>
                      <a:pt x="8" y="90"/>
                    </a:lnTo>
                    <a:lnTo>
                      <a:pt x="10" y="90"/>
                    </a:lnTo>
                    <a:lnTo>
                      <a:pt x="10" y="90"/>
                    </a:lnTo>
                    <a:lnTo>
                      <a:pt x="12" y="88"/>
                    </a:lnTo>
                    <a:lnTo>
                      <a:pt x="12" y="88"/>
                    </a:lnTo>
                    <a:lnTo>
                      <a:pt x="14" y="88"/>
                    </a:lnTo>
                    <a:lnTo>
                      <a:pt x="16" y="88"/>
                    </a:lnTo>
                    <a:lnTo>
                      <a:pt x="16" y="88"/>
                    </a:lnTo>
                    <a:lnTo>
                      <a:pt x="12" y="90"/>
                    </a:lnTo>
                    <a:lnTo>
                      <a:pt x="12" y="90"/>
                    </a:lnTo>
                    <a:lnTo>
                      <a:pt x="12" y="94"/>
                    </a:lnTo>
                    <a:lnTo>
                      <a:pt x="12" y="98"/>
                    </a:lnTo>
                    <a:lnTo>
                      <a:pt x="12" y="98"/>
                    </a:lnTo>
                    <a:lnTo>
                      <a:pt x="8" y="100"/>
                    </a:lnTo>
                    <a:lnTo>
                      <a:pt x="8" y="100"/>
                    </a:lnTo>
                    <a:lnTo>
                      <a:pt x="8" y="104"/>
                    </a:lnTo>
                    <a:lnTo>
                      <a:pt x="8" y="108"/>
                    </a:lnTo>
                    <a:lnTo>
                      <a:pt x="48" y="128"/>
                    </a:lnTo>
                    <a:lnTo>
                      <a:pt x="48" y="128"/>
                    </a:lnTo>
                    <a:lnTo>
                      <a:pt x="50" y="130"/>
                    </a:lnTo>
                    <a:lnTo>
                      <a:pt x="52" y="134"/>
                    </a:lnTo>
                    <a:lnTo>
                      <a:pt x="52" y="134"/>
                    </a:lnTo>
                    <a:lnTo>
                      <a:pt x="52" y="140"/>
                    </a:lnTo>
                    <a:lnTo>
                      <a:pt x="52" y="140"/>
                    </a:lnTo>
                    <a:lnTo>
                      <a:pt x="54" y="142"/>
                    </a:lnTo>
                    <a:lnTo>
                      <a:pt x="54" y="142"/>
                    </a:lnTo>
                    <a:lnTo>
                      <a:pt x="56" y="144"/>
                    </a:lnTo>
                    <a:lnTo>
                      <a:pt x="58" y="144"/>
                    </a:lnTo>
                    <a:lnTo>
                      <a:pt x="74" y="154"/>
                    </a:lnTo>
                    <a:lnTo>
                      <a:pt x="74" y="154"/>
                    </a:lnTo>
                    <a:lnTo>
                      <a:pt x="78" y="152"/>
                    </a:lnTo>
                    <a:lnTo>
                      <a:pt x="78" y="152"/>
                    </a:lnTo>
                    <a:lnTo>
                      <a:pt x="76" y="146"/>
                    </a:lnTo>
                    <a:lnTo>
                      <a:pt x="76" y="142"/>
                    </a:lnTo>
                    <a:lnTo>
                      <a:pt x="78" y="138"/>
                    </a:lnTo>
                    <a:lnTo>
                      <a:pt x="80" y="138"/>
                    </a:lnTo>
                    <a:lnTo>
                      <a:pt x="80" y="138"/>
                    </a:lnTo>
                    <a:lnTo>
                      <a:pt x="82" y="132"/>
                    </a:lnTo>
                    <a:lnTo>
                      <a:pt x="86" y="126"/>
                    </a:lnTo>
                    <a:lnTo>
                      <a:pt x="86" y="126"/>
                    </a:lnTo>
                    <a:lnTo>
                      <a:pt x="88" y="126"/>
                    </a:lnTo>
                    <a:lnTo>
                      <a:pt x="92" y="124"/>
                    </a:lnTo>
                    <a:lnTo>
                      <a:pt x="92" y="124"/>
                    </a:lnTo>
                    <a:lnTo>
                      <a:pt x="96" y="120"/>
                    </a:lnTo>
                    <a:lnTo>
                      <a:pt x="98" y="114"/>
                    </a:lnTo>
                    <a:lnTo>
                      <a:pt x="98" y="114"/>
                    </a:lnTo>
                    <a:lnTo>
                      <a:pt x="100" y="114"/>
                    </a:lnTo>
                    <a:lnTo>
                      <a:pt x="104" y="112"/>
                    </a:lnTo>
                    <a:lnTo>
                      <a:pt x="104" y="112"/>
                    </a:lnTo>
                    <a:lnTo>
                      <a:pt x="104" y="108"/>
                    </a:lnTo>
                    <a:lnTo>
                      <a:pt x="106" y="102"/>
                    </a:lnTo>
                    <a:lnTo>
                      <a:pt x="106" y="102"/>
                    </a:lnTo>
                    <a:lnTo>
                      <a:pt x="112" y="98"/>
                    </a:lnTo>
                    <a:lnTo>
                      <a:pt x="112" y="98"/>
                    </a:lnTo>
                    <a:lnTo>
                      <a:pt x="110" y="96"/>
                    </a:lnTo>
                    <a:lnTo>
                      <a:pt x="110" y="94"/>
                    </a:lnTo>
                    <a:lnTo>
                      <a:pt x="110" y="94"/>
                    </a:lnTo>
                    <a:lnTo>
                      <a:pt x="112" y="92"/>
                    </a:lnTo>
                    <a:lnTo>
                      <a:pt x="102" y="82"/>
                    </a:lnTo>
                    <a:lnTo>
                      <a:pt x="102" y="26"/>
                    </a:lnTo>
                    <a:lnTo>
                      <a:pt x="108" y="20"/>
                    </a:lnTo>
                    <a:lnTo>
                      <a:pt x="116" y="4"/>
                    </a:lnTo>
                    <a:lnTo>
                      <a:pt x="116" y="4"/>
                    </a:lnTo>
                    <a:lnTo>
                      <a:pt x="110" y="4"/>
                    </a:lnTo>
                    <a:lnTo>
                      <a:pt x="106" y="6"/>
                    </a:lnTo>
                    <a:lnTo>
                      <a:pt x="102" y="4"/>
                    </a:lnTo>
                    <a:lnTo>
                      <a:pt x="102" y="4"/>
                    </a:lnTo>
                    <a:lnTo>
                      <a:pt x="98" y="2"/>
                    </a:lnTo>
                    <a:lnTo>
                      <a:pt x="98" y="0"/>
                    </a:lnTo>
                    <a:lnTo>
                      <a:pt x="98" y="0"/>
                    </a:lnTo>
                    <a:lnTo>
                      <a:pt x="94" y="2"/>
                    </a:lnTo>
                    <a:lnTo>
                      <a:pt x="92" y="4"/>
                    </a:lnTo>
                    <a:lnTo>
                      <a:pt x="88" y="4"/>
                    </a:lnTo>
                    <a:lnTo>
                      <a:pt x="88" y="4"/>
                    </a:lnTo>
                    <a:lnTo>
                      <a:pt x="86" y="4"/>
                    </a:lnTo>
                    <a:lnTo>
                      <a:pt x="84" y="4"/>
                    </a:lnTo>
                    <a:lnTo>
                      <a:pt x="84" y="8"/>
                    </a:lnTo>
                    <a:lnTo>
                      <a:pt x="84" y="8"/>
                    </a:lnTo>
                    <a:lnTo>
                      <a:pt x="76" y="8"/>
                    </a:lnTo>
                    <a:lnTo>
                      <a:pt x="76" y="8"/>
                    </a:lnTo>
                    <a:lnTo>
                      <a:pt x="72" y="8"/>
                    </a:lnTo>
                    <a:lnTo>
                      <a:pt x="68" y="8"/>
                    </a:lnTo>
                    <a:lnTo>
                      <a:pt x="68" y="8"/>
                    </a:lnTo>
                    <a:lnTo>
                      <a:pt x="62" y="6"/>
                    </a:lnTo>
                    <a:lnTo>
                      <a:pt x="58" y="6"/>
                    </a:lnTo>
                    <a:lnTo>
                      <a:pt x="58" y="6"/>
                    </a:lnTo>
                    <a:lnTo>
                      <a:pt x="54" y="6"/>
                    </a:lnTo>
                    <a:lnTo>
                      <a:pt x="50" y="8"/>
                    </a:lnTo>
                    <a:lnTo>
                      <a:pt x="48" y="6"/>
                    </a:lnTo>
                    <a:lnTo>
                      <a:pt x="48" y="6"/>
                    </a:lnTo>
                    <a:lnTo>
                      <a:pt x="46" y="6"/>
                    </a:lnTo>
                    <a:lnTo>
                      <a:pt x="44" y="6"/>
                    </a:lnTo>
                    <a:lnTo>
                      <a:pt x="40" y="8"/>
                    </a:lnTo>
                    <a:lnTo>
                      <a:pt x="40" y="8"/>
                    </a:lnTo>
                    <a:lnTo>
                      <a:pt x="28" y="6"/>
                    </a:lnTo>
                    <a:lnTo>
                      <a:pt x="22" y="0"/>
                    </a:lnTo>
                    <a:lnTo>
                      <a:pt x="16" y="0"/>
                    </a:lnTo>
                    <a:lnTo>
                      <a:pt x="16" y="0"/>
                    </a:lnTo>
                    <a:lnTo>
                      <a:pt x="10" y="0"/>
                    </a:lnTo>
                    <a:lnTo>
                      <a:pt x="6" y="4"/>
                    </a:lnTo>
                    <a:lnTo>
                      <a:pt x="0" y="6"/>
                    </a:lnTo>
                    <a:lnTo>
                      <a:pt x="0" y="10"/>
                    </a:lnTo>
                    <a:lnTo>
                      <a:pt x="0" y="10"/>
                    </a:lnTo>
                    <a:lnTo>
                      <a:pt x="4" y="14"/>
                    </a:lnTo>
                    <a:lnTo>
                      <a:pt x="4" y="14"/>
                    </a:lnTo>
                    <a:lnTo>
                      <a:pt x="6" y="14"/>
                    </a:lnTo>
                    <a:lnTo>
                      <a:pt x="6" y="16"/>
                    </a:lnTo>
                    <a:lnTo>
                      <a:pt x="6" y="16"/>
                    </a:lnTo>
                    <a:lnTo>
                      <a:pt x="8" y="18"/>
                    </a:lnTo>
                    <a:lnTo>
                      <a:pt x="8" y="20"/>
                    </a:lnTo>
                    <a:lnTo>
                      <a:pt x="6" y="24"/>
                    </a:lnTo>
                    <a:lnTo>
                      <a:pt x="6" y="24"/>
                    </a:lnTo>
                    <a:lnTo>
                      <a:pt x="4" y="30"/>
                    </a:lnTo>
                    <a:lnTo>
                      <a:pt x="8" y="34"/>
                    </a:lnTo>
                    <a:lnTo>
                      <a:pt x="8" y="34"/>
                    </a:lnTo>
                    <a:lnTo>
                      <a:pt x="10" y="38"/>
                    </a:lnTo>
                    <a:lnTo>
                      <a:pt x="10" y="44"/>
                    </a:lnTo>
                    <a:lnTo>
                      <a:pt x="10" y="44"/>
                    </a:lnTo>
                    <a:lnTo>
                      <a:pt x="8" y="50"/>
                    </a:lnTo>
                    <a:lnTo>
                      <a:pt x="8" y="50"/>
                    </a:lnTo>
                    <a:lnTo>
                      <a:pt x="6" y="52"/>
                    </a:lnTo>
                    <a:lnTo>
                      <a:pt x="4" y="54"/>
                    </a:lnTo>
                    <a:lnTo>
                      <a:pt x="4" y="56"/>
                    </a:lnTo>
                    <a:lnTo>
                      <a:pt x="4" y="56"/>
                    </a:lnTo>
                    <a:lnTo>
                      <a:pt x="4" y="62"/>
                    </a:lnTo>
                    <a:lnTo>
                      <a:pt x="2" y="66"/>
                    </a:lnTo>
                    <a:lnTo>
                      <a:pt x="2" y="66"/>
                    </a:lnTo>
                    <a:lnTo>
                      <a:pt x="2" y="70"/>
                    </a:lnTo>
                    <a:lnTo>
                      <a:pt x="2" y="74"/>
                    </a:lnTo>
                    <a:lnTo>
                      <a:pt x="4" y="78"/>
                    </a:lnTo>
                    <a:lnTo>
                      <a:pt x="4" y="80"/>
                    </a:lnTo>
                    <a:lnTo>
                      <a:pt x="4" y="80"/>
                    </a:lnTo>
                    <a:lnTo>
                      <a:pt x="2" y="82"/>
                    </a:lnTo>
                    <a:lnTo>
                      <a:pt x="4" y="84"/>
                    </a:lnTo>
                    <a:lnTo>
                      <a:pt x="4" y="84"/>
                    </a:lnTo>
                    <a:lnTo>
                      <a:pt x="4" y="86"/>
                    </a:lnTo>
                    <a:lnTo>
                      <a:pt x="4" y="86"/>
                    </a:lnTo>
                    <a:close/>
                    <a:moveTo>
                      <a:pt x="30" y="6"/>
                    </a:moveTo>
                    <a:lnTo>
                      <a:pt x="30" y="6"/>
                    </a:lnTo>
                    <a:lnTo>
                      <a:pt x="34" y="8"/>
                    </a:lnTo>
                    <a:lnTo>
                      <a:pt x="34" y="8"/>
                    </a:lnTo>
                    <a:lnTo>
                      <a:pt x="34" y="16"/>
                    </a:lnTo>
                    <a:lnTo>
                      <a:pt x="34" y="24"/>
                    </a:lnTo>
                    <a:lnTo>
                      <a:pt x="34" y="24"/>
                    </a:lnTo>
                    <a:lnTo>
                      <a:pt x="38" y="28"/>
                    </a:lnTo>
                    <a:lnTo>
                      <a:pt x="40" y="32"/>
                    </a:lnTo>
                    <a:lnTo>
                      <a:pt x="40" y="32"/>
                    </a:lnTo>
                    <a:lnTo>
                      <a:pt x="42" y="40"/>
                    </a:lnTo>
                    <a:lnTo>
                      <a:pt x="38" y="40"/>
                    </a:lnTo>
                    <a:lnTo>
                      <a:pt x="38" y="40"/>
                    </a:lnTo>
                    <a:lnTo>
                      <a:pt x="36" y="32"/>
                    </a:lnTo>
                    <a:lnTo>
                      <a:pt x="36" y="32"/>
                    </a:lnTo>
                    <a:lnTo>
                      <a:pt x="32" y="30"/>
                    </a:lnTo>
                    <a:lnTo>
                      <a:pt x="30" y="26"/>
                    </a:lnTo>
                    <a:lnTo>
                      <a:pt x="30" y="26"/>
                    </a:lnTo>
                    <a:lnTo>
                      <a:pt x="30" y="24"/>
                    </a:lnTo>
                    <a:lnTo>
                      <a:pt x="28" y="24"/>
                    </a:lnTo>
                    <a:lnTo>
                      <a:pt x="28" y="24"/>
                    </a:lnTo>
                    <a:lnTo>
                      <a:pt x="28" y="14"/>
                    </a:lnTo>
                    <a:lnTo>
                      <a:pt x="30" y="6"/>
                    </a:lnTo>
                    <a:lnTo>
                      <a:pt x="30" y="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8" name="Freeform 159"/>
              <p:cNvSpPr>
                <a:spLocks noChangeAspect="1"/>
              </p:cNvSpPr>
              <p:nvPr/>
            </p:nvSpPr>
            <p:spPr bwMode="gray">
              <a:xfrm>
                <a:off x="4083393" y="4131516"/>
                <a:ext cx="149610" cy="177657"/>
              </a:xfrm>
              <a:custGeom>
                <a:avLst/>
                <a:gdLst/>
                <a:ahLst/>
                <a:cxnLst>
                  <a:cxn ang="0">
                    <a:pos x="18" y="108"/>
                  </a:cxn>
                  <a:cxn ang="0">
                    <a:pos x="36" y="100"/>
                  </a:cxn>
                  <a:cxn ang="0">
                    <a:pos x="40" y="94"/>
                  </a:cxn>
                  <a:cxn ang="0">
                    <a:pos x="50" y="94"/>
                  </a:cxn>
                  <a:cxn ang="0">
                    <a:pos x="60" y="94"/>
                  </a:cxn>
                  <a:cxn ang="0">
                    <a:pos x="70" y="100"/>
                  </a:cxn>
                  <a:cxn ang="0">
                    <a:pos x="74" y="92"/>
                  </a:cxn>
                  <a:cxn ang="0">
                    <a:pos x="74" y="88"/>
                  </a:cxn>
                  <a:cxn ang="0">
                    <a:pos x="72" y="76"/>
                  </a:cxn>
                  <a:cxn ang="0">
                    <a:pos x="74" y="66"/>
                  </a:cxn>
                  <a:cxn ang="0">
                    <a:pos x="78" y="56"/>
                  </a:cxn>
                  <a:cxn ang="0">
                    <a:pos x="82" y="46"/>
                  </a:cxn>
                  <a:cxn ang="0">
                    <a:pos x="86" y="38"/>
                  </a:cxn>
                  <a:cxn ang="0">
                    <a:pos x="88" y="26"/>
                  </a:cxn>
                  <a:cxn ang="0">
                    <a:pos x="86" y="20"/>
                  </a:cxn>
                  <a:cxn ang="0">
                    <a:pos x="84" y="18"/>
                  </a:cxn>
                  <a:cxn ang="0">
                    <a:pos x="84" y="12"/>
                  </a:cxn>
                  <a:cxn ang="0">
                    <a:pos x="84" y="8"/>
                  </a:cxn>
                  <a:cxn ang="0">
                    <a:pos x="74" y="10"/>
                  </a:cxn>
                  <a:cxn ang="0">
                    <a:pos x="72" y="6"/>
                  </a:cxn>
                  <a:cxn ang="0">
                    <a:pos x="66" y="2"/>
                  </a:cxn>
                  <a:cxn ang="0">
                    <a:pos x="56" y="4"/>
                  </a:cxn>
                  <a:cxn ang="0">
                    <a:pos x="44" y="0"/>
                  </a:cxn>
                  <a:cxn ang="0">
                    <a:pos x="42" y="4"/>
                  </a:cxn>
                  <a:cxn ang="0">
                    <a:pos x="40" y="8"/>
                  </a:cxn>
                  <a:cxn ang="0">
                    <a:pos x="38" y="10"/>
                  </a:cxn>
                  <a:cxn ang="0">
                    <a:pos x="34" y="8"/>
                  </a:cxn>
                  <a:cxn ang="0">
                    <a:pos x="30" y="8"/>
                  </a:cxn>
                  <a:cxn ang="0">
                    <a:pos x="28" y="16"/>
                  </a:cxn>
                  <a:cxn ang="0">
                    <a:pos x="26" y="12"/>
                  </a:cxn>
                  <a:cxn ang="0">
                    <a:pos x="24" y="14"/>
                  </a:cxn>
                  <a:cxn ang="0">
                    <a:pos x="18" y="18"/>
                  </a:cxn>
                  <a:cxn ang="0">
                    <a:pos x="16" y="22"/>
                  </a:cxn>
                  <a:cxn ang="0">
                    <a:pos x="14" y="26"/>
                  </a:cxn>
                  <a:cxn ang="0">
                    <a:pos x="18" y="30"/>
                  </a:cxn>
                  <a:cxn ang="0">
                    <a:pos x="18" y="34"/>
                  </a:cxn>
                  <a:cxn ang="0">
                    <a:pos x="16" y="36"/>
                  </a:cxn>
                  <a:cxn ang="0">
                    <a:pos x="10" y="38"/>
                  </a:cxn>
                  <a:cxn ang="0">
                    <a:pos x="10" y="40"/>
                  </a:cxn>
                  <a:cxn ang="0">
                    <a:pos x="6" y="48"/>
                  </a:cxn>
                  <a:cxn ang="0">
                    <a:pos x="8" y="52"/>
                  </a:cxn>
                  <a:cxn ang="0">
                    <a:pos x="8" y="58"/>
                  </a:cxn>
                  <a:cxn ang="0">
                    <a:pos x="4" y="64"/>
                  </a:cxn>
                  <a:cxn ang="0">
                    <a:pos x="0" y="68"/>
                  </a:cxn>
                  <a:cxn ang="0">
                    <a:pos x="10" y="70"/>
                  </a:cxn>
                  <a:cxn ang="0">
                    <a:pos x="14" y="78"/>
                  </a:cxn>
                  <a:cxn ang="0">
                    <a:pos x="16" y="84"/>
                  </a:cxn>
                  <a:cxn ang="0">
                    <a:pos x="20" y="86"/>
                  </a:cxn>
                  <a:cxn ang="0">
                    <a:pos x="22" y="86"/>
                  </a:cxn>
                  <a:cxn ang="0">
                    <a:pos x="20" y="90"/>
                  </a:cxn>
                  <a:cxn ang="0">
                    <a:pos x="18" y="98"/>
                  </a:cxn>
                  <a:cxn ang="0">
                    <a:pos x="16" y="100"/>
                  </a:cxn>
                  <a:cxn ang="0">
                    <a:pos x="18" y="104"/>
                  </a:cxn>
                  <a:cxn ang="0">
                    <a:pos x="16" y="108"/>
                  </a:cxn>
                </a:cxnLst>
                <a:rect l="0" t="0" r="r" b="b"/>
                <a:pathLst>
                  <a:path w="88" h="108">
                    <a:moveTo>
                      <a:pt x="18" y="108"/>
                    </a:moveTo>
                    <a:lnTo>
                      <a:pt x="18" y="108"/>
                    </a:lnTo>
                    <a:lnTo>
                      <a:pt x="28" y="104"/>
                    </a:lnTo>
                    <a:lnTo>
                      <a:pt x="36" y="100"/>
                    </a:lnTo>
                    <a:lnTo>
                      <a:pt x="36" y="100"/>
                    </a:lnTo>
                    <a:lnTo>
                      <a:pt x="40" y="94"/>
                    </a:lnTo>
                    <a:lnTo>
                      <a:pt x="40" y="94"/>
                    </a:lnTo>
                    <a:lnTo>
                      <a:pt x="50" y="94"/>
                    </a:lnTo>
                    <a:lnTo>
                      <a:pt x="60" y="94"/>
                    </a:lnTo>
                    <a:lnTo>
                      <a:pt x="60" y="94"/>
                    </a:lnTo>
                    <a:lnTo>
                      <a:pt x="66" y="96"/>
                    </a:lnTo>
                    <a:lnTo>
                      <a:pt x="70" y="100"/>
                    </a:lnTo>
                    <a:lnTo>
                      <a:pt x="70" y="100"/>
                    </a:lnTo>
                    <a:lnTo>
                      <a:pt x="74" y="92"/>
                    </a:lnTo>
                    <a:lnTo>
                      <a:pt x="74" y="92"/>
                    </a:lnTo>
                    <a:lnTo>
                      <a:pt x="74" y="88"/>
                    </a:lnTo>
                    <a:lnTo>
                      <a:pt x="72" y="86"/>
                    </a:lnTo>
                    <a:lnTo>
                      <a:pt x="72" y="76"/>
                    </a:lnTo>
                    <a:lnTo>
                      <a:pt x="74" y="66"/>
                    </a:lnTo>
                    <a:lnTo>
                      <a:pt x="74" y="66"/>
                    </a:lnTo>
                    <a:lnTo>
                      <a:pt x="78" y="56"/>
                    </a:lnTo>
                    <a:lnTo>
                      <a:pt x="78" y="56"/>
                    </a:lnTo>
                    <a:lnTo>
                      <a:pt x="82" y="46"/>
                    </a:lnTo>
                    <a:lnTo>
                      <a:pt x="82" y="46"/>
                    </a:lnTo>
                    <a:lnTo>
                      <a:pt x="84" y="40"/>
                    </a:lnTo>
                    <a:lnTo>
                      <a:pt x="86" y="38"/>
                    </a:lnTo>
                    <a:lnTo>
                      <a:pt x="86" y="38"/>
                    </a:lnTo>
                    <a:lnTo>
                      <a:pt x="88" y="26"/>
                    </a:lnTo>
                    <a:lnTo>
                      <a:pt x="88" y="26"/>
                    </a:lnTo>
                    <a:lnTo>
                      <a:pt x="86" y="20"/>
                    </a:lnTo>
                    <a:lnTo>
                      <a:pt x="84" y="20"/>
                    </a:lnTo>
                    <a:lnTo>
                      <a:pt x="84" y="18"/>
                    </a:lnTo>
                    <a:lnTo>
                      <a:pt x="84" y="18"/>
                    </a:lnTo>
                    <a:lnTo>
                      <a:pt x="84" y="12"/>
                    </a:lnTo>
                    <a:lnTo>
                      <a:pt x="84" y="8"/>
                    </a:lnTo>
                    <a:lnTo>
                      <a:pt x="84" y="8"/>
                    </a:lnTo>
                    <a:lnTo>
                      <a:pt x="74" y="10"/>
                    </a:lnTo>
                    <a:lnTo>
                      <a:pt x="74" y="10"/>
                    </a:lnTo>
                    <a:lnTo>
                      <a:pt x="72" y="8"/>
                    </a:lnTo>
                    <a:lnTo>
                      <a:pt x="72" y="6"/>
                    </a:lnTo>
                    <a:lnTo>
                      <a:pt x="72" y="2"/>
                    </a:lnTo>
                    <a:lnTo>
                      <a:pt x="66" y="2"/>
                    </a:lnTo>
                    <a:lnTo>
                      <a:pt x="62" y="6"/>
                    </a:lnTo>
                    <a:lnTo>
                      <a:pt x="56" y="4"/>
                    </a:lnTo>
                    <a:lnTo>
                      <a:pt x="56" y="0"/>
                    </a:lnTo>
                    <a:lnTo>
                      <a:pt x="44" y="0"/>
                    </a:lnTo>
                    <a:lnTo>
                      <a:pt x="42" y="4"/>
                    </a:lnTo>
                    <a:lnTo>
                      <a:pt x="42" y="4"/>
                    </a:lnTo>
                    <a:lnTo>
                      <a:pt x="42" y="6"/>
                    </a:lnTo>
                    <a:lnTo>
                      <a:pt x="40" y="8"/>
                    </a:lnTo>
                    <a:lnTo>
                      <a:pt x="38" y="10"/>
                    </a:lnTo>
                    <a:lnTo>
                      <a:pt x="38" y="10"/>
                    </a:lnTo>
                    <a:lnTo>
                      <a:pt x="36" y="10"/>
                    </a:lnTo>
                    <a:lnTo>
                      <a:pt x="34" y="8"/>
                    </a:lnTo>
                    <a:lnTo>
                      <a:pt x="32" y="6"/>
                    </a:lnTo>
                    <a:lnTo>
                      <a:pt x="30" y="8"/>
                    </a:lnTo>
                    <a:lnTo>
                      <a:pt x="28" y="16"/>
                    </a:lnTo>
                    <a:lnTo>
                      <a:pt x="28" y="16"/>
                    </a:lnTo>
                    <a:lnTo>
                      <a:pt x="28" y="14"/>
                    </a:lnTo>
                    <a:lnTo>
                      <a:pt x="26" y="12"/>
                    </a:lnTo>
                    <a:lnTo>
                      <a:pt x="24" y="14"/>
                    </a:lnTo>
                    <a:lnTo>
                      <a:pt x="24" y="14"/>
                    </a:lnTo>
                    <a:lnTo>
                      <a:pt x="20" y="16"/>
                    </a:lnTo>
                    <a:lnTo>
                      <a:pt x="18" y="18"/>
                    </a:lnTo>
                    <a:lnTo>
                      <a:pt x="18" y="18"/>
                    </a:lnTo>
                    <a:lnTo>
                      <a:pt x="16" y="22"/>
                    </a:lnTo>
                    <a:lnTo>
                      <a:pt x="14" y="24"/>
                    </a:lnTo>
                    <a:lnTo>
                      <a:pt x="14" y="26"/>
                    </a:lnTo>
                    <a:lnTo>
                      <a:pt x="14" y="26"/>
                    </a:lnTo>
                    <a:lnTo>
                      <a:pt x="18" y="30"/>
                    </a:lnTo>
                    <a:lnTo>
                      <a:pt x="18" y="32"/>
                    </a:lnTo>
                    <a:lnTo>
                      <a:pt x="18" y="34"/>
                    </a:lnTo>
                    <a:lnTo>
                      <a:pt x="18" y="34"/>
                    </a:lnTo>
                    <a:lnTo>
                      <a:pt x="16" y="36"/>
                    </a:lnTo>
                    <a:lnTo>
                      <a:pt x="12" y="38"/>
                    </a:lnTo>
                    <a:lnTo>
                      <a:pt x="10" y="38"/>
                    </a:lnTo>
                    <a:lnTo>
                      <a:pt x="10" y="40"/>
                    </a:lnTo>
                    <a:lnTo>
                      <a:pt x="10" y="40"/>
                    </a:lnTo>
                    <a:lnTo>
                      <a:pt x="10" y="44"/>
                    </a:lnTo>
                    <a:lnTo>
                      <a:pt x="6" y="48"/>
                    </a:lnTo>
                    <a:lnTo>
                      <a:pt x="6" y="48"/>
                    </a:lnTo>
                    <a:lnTo>
                      <a:pt x="8" y="52"/>
                    </a:lnTo>
                    <a:lnTo>
                      <a:pt x="8" y="54"/>
                    </a:lnTo>
                    <a:lnTo>
                      <a:pt x="8" y="58"/>
                    </a:lnTo>
                    <a:lnTo>
                      <a:pt x="8" y="58"/>
                    </a:lnTo>
                    <a:lnTo>
                      <a:pt x="4" y="64"/>
                    </a:lnTo>
                    <a:lnTo>
                      <a:pt x="0" y="68"/>
                    </a:lnTo>
                    <a:lnTo>
                      <a:pt x="0" y="68"/>
                    </a:lnTo>
                    <a:lnTo>
                      <a:pt x="10" y="70"/>
                    </a:lnTo>
                    <a:lnTo>
                      <a:pt x="10" y="70"/>
                    </a:lnTo>
                    <a:lnTo>
                      <a:pt x="12" y="74"/>
                    </a:lnTo>
                    <a:lnTo>
                      <a:pt x="14" y="78"/>
                    </a:lnTo>
                    <a:lnTo>
                      <a:pt x="14" y="78"/>
                    </a:lnTo>
                    <a:lnTo>
                      <a:pt x="16" y="84"/>
                    </a:lnTo>
                    <a:lnTo>
                      <a:pt x="18" y="86"/>
                    </a:lnTo>
                    <a:lnTo>
                      <a:pt x="20" y="86"/>
                    </a:lnTo>
                    <a:lnTo>
                      <a:pt x="20" y="86"/>
                    </a:lnTo>
                    <a:lnTo>
                      <a:pt x="22" y="86"/>
                    </a:lnTo>
                    <a:lnTo>
                      <a:pt x="20" y="90"/>
                    </a:lnTo>
                    <a:lnTo>
                      <a:pt x="20" y="90"/>
                    </a:lnTo>
                    <a:lnTo>
                      <a:pt x="20" y="94"/>
                    </a:lnTo>
                    <a:lnTo>
                      <a:pt x="18" y="98"/>
                    </a:lnTo>
                    <a:lnTo>
                      <a:pt x="18" y="98"/>
                    </a:lnTo>
                    <a:lnTo>
                      <a:pt x="16" y="100"/>
                    </a:lnTo>
                    <a:lnTo>
                      <a:pt x="16" y="100"/>
                    </a:lnTo>
                    <a:lnTo>
                      <a:pt x="18" y="104"/>
                    </a:lnTo>
                    <a:lnTo>
                      <a:pt x="18" y="104"/>
                    </a:lnTo>
                    <a:lnTo>
                      <a:pt x="16" y="108"/>
                    </a:lnTo>
                    <a:lnTo>
                      <a:pt x="18" y="10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39" name="Freeform 176"/>
              <p:cNvSpPr>
                <a:spLocks noChangeAspect="1"/>
              </p:cNvSpPr>
              <p:nvPr/>
            </p:nvSpPr>
            <p:spPr bwMode="gray">
              <a:xfrm>
                <a:off x="3913382" y="4075587"/>
                <a:ext cx="57804" cy="46059"/>
              </a:xfrm>
              <a:custGeom>
                <a:avLst/>
                <a:gdLst/>
                <a:ahLst/>
                <a:cxnLst>
                  <a:cxn ang="0">
                    <a:pos x="20" y="28"/>
                  </a:cxn>
                  <a:cxn ang="0">
                    <a:pos x="20" y="28"/>
                  </a:cxn>
                  <a:cxn ang="0">
                    <a:pos x="20" y="24"/>
                  </a:cxn>
                  <a:cxn ang="0">
                    <a:pos x="20" y="24"/>
                  </a:cxn>
                  <a:cxn ang="0">
                    <a:pos x="26" y="24"/>
                  </a:cxn>
                  <a:cxn ang="0">
                    <a:pos x="26" y="24"/>
                  </a:cxn>
                  <a:cxn ang="0">
                    <a:pos x="30" y="22"/>
                  </a:cxn>
                  <a:cxn ang="0">
                    <a:pos x="32" y="20"/>
                  </a:cxn>
                  <a:cxn ang="0">
                    <a:pos x="32" y="20"/>
                  </a:cxn>
                  <a:cxn ang="0">
                    <a:pos x="32" y="18"/>
                  </a:cxn>
                  <a:cxn ang="0">
                    <a:pos x="32" y="14"/>
                  </a:cxn>
                  <a:cxn ang="0">
                    <a:pos x="32" y="14"/>
                  </a:cxn>
                  <a:cxn ang="0">
                    <a:pos x="32" y="14"/>
                  </a:cxn>
                  <a:cxn ang="0">
                    <a:pos x="30" y="12"/>
                  </a:cxn>
                  <a:cxn ang="0">
                    <a:pos x="30" y="10"/>
                  </a:cxn>
                  <a:cxn ang="0">
                    <a:pos x="34" y="8"/>
                  </a:cxn>
                  <a:cxn ang="0">
                    <a:pos x="34" y="8"/>
                  </a:cxn>
                  <a:cxn ang="0">
                    <a:pos x="34" y="8"/>
                  </a:cxn>
                  <a:cxn ang="0">
                    <a:pos x="34" y="4"/>
                  </a:cxn>
                  <a:cxn ang="0">
                    <a:pos x="34" y="0"/>
                  </a:cxn>
                  <a:cxn ang="0">
                    <a:pos x="34" y="0"/>
                  </a:cxn>
                  <a:cxn ang="0">
                    <a:pos x="22" y="0"/>
                  </a:cxn>
                  <a:cxn ang="0">
                    <a:pos x="12" y="0"/>
                  </a:cxn>
                  <a:cxn ang="0">
                    <a:pos x="6" y="4"/>
                  </a:cxn>
                  <a:cxn ang="0">
                    <a:pos x="0" y="6"/>
                  </a:cxn>
                  <a:cxn ang="0">
                    <a:pos x="0" y="6"/>
                  </a:cxn>
                  <a:cxn ang="0">
                    <a:pos x="0" y="6"/>
                  </a:cxn>
                  <a:cxn ang="0">
                    <a:pos x="0" y="8"/>
                  </a:cxn>
                  <a:cxn ang="0">
                    <a:pos x="0" y="8"/>
                  </a:cxn>
                  <a:cxn ang="0">
                    <a:pos x="0" y="8"/>
                  </a:cxn>
                  <a:cxn ang="0">
                    <a:pos x="4" y="12"/>
                  </a:cxn>
                  <a:cxn ang="0">
                    <a:pos x="12" y="16"/>
                  </a:cxn>
                  <a:cxn ang="0">
                    <a:pos x="12" y="16"/>
                  </a:cxn>
                  <a:cxn ang="0">
                    <a:pos x="12" y="24"/>
                  </a:cxn>
                  <a:cxn ang="0">
                    <a:pos x="12" y="24"/>
                  </a:cxn>
                  <a:cxn ang="0">
                    <a:pos x="14" y="24"/>
                  </a:cxn>
                  <a:cxn ang="0">
                    <a:pos x="16" y="26"/>
                  </a:cxn>
                  <a:cxn ang="0">
                    <a:pos x="16" y="26"/>
                  </a:cxn>
                  <a:cxn ang="0">
                    <a:pos x="18" y="28"/>
                  </a:cxn>
                  <a:cxn ang="0">
                    <a:pos x="18" y="28"/>
                  </a:cxn>
                  <a:cxn ang="0">
                    <a:pos x="20" y="28"/>
                  </a:cxn>
                  <a:cxn ang="0">
                    <a:pos x="20" y="28"/>
                  </a:cxn>
                </a:cxnLst>
                <a:rect l="0" t="0" r="r" b="b"/>
                <a:pathLst>
                  <a:path w="34" h="28">
                    <a:moveTo>
                      <a:pt x="20" y="28"/>
                    </a:moveTo>
                    <a:lnTo>
                      <a:pt x="20" y="28"/>
                    </a:lnTo>
                    <a:lnTo>
                      <a:pt x="20" y="24"/>
                    </a:lnTo>
                    <a:lnTo>
                      <a:pt x="20" y="24"/>
                    </a:lnTo>
                    <a:lnTo>
                      <a:pt x="26" y="24"/>
                    </a:lnTo>
                    <a:lnTo>
                      <a:pt x="26" y="24"/>
                    </a:lnTo>
                    <a:lnTo>
                      <a:pt x="30" y="22"/>
                    </a:lnTo>
                    <a:lnTo>
                      <a:pt x="32" y="20"/>
                    </a:lnTo>
                    <a:lnTo>
                      <a:pt x="32" y="20"/>
                    </a:lnTo>
                    <a:lnTo>
                      <a:pt x="32" y="18"/>
                    </a:lnTo>
                    <a:lnTo>
                      <a:pt x="32" y="14"/>
                    </a:lnTo>
                    <a:lnTo>
                      <a:pt x="32" y="14"/>
                    </a:lnTo>
                    <a:lnTo>
                      <a:pt x="32" y="14"/>
                    </a:lnTo>
                    <a:lnTo>
                      <a:pt x="30" y="12"/>
                    </a:lnTo>
                    <a:lnTo>
                      <a:pt x="30" y="10"/>
                    </a:lnTo>
                    <a:lnTo>
                      <a:pt x="34" y="8"/>
                    </a:lnTo>
                    <a:lnTo>
                      <a:pt x="34" y="8"/>
                    </a:lnTo>
                    <a:lnTo>
                      <a:pt x="34" y="8"/>
                    </a:lnTo>
                    <a:lnTo>
                      <a:pt x="34" y="4"/>
                    </a:lnTo>
                    <a:lnTo>
                      <a:pt x="34" y="0"/>
                    </a:lnTo>
                    <a:lnTo>
                      <a:pt x="34" y="0"/>
                    </a:lnTo>
                    <a:lnTo>
                      <a:pt x="22" y="0"/>
                    </a:lnTo>
                    <a:lnTo>
                      <a:pt x="12" y="0"/>
                    </a:lnTo>
                    <a:lnTo>
                      <a:pt x="6" y="4"/>
                    </a:lnTo>
                    <a:lnTo>
                      <a:pt x="0" y="6"/>
                    </a:lnTo>
                    <a:lnTo>
                      <a:pt x="0" y="6"/>
                    </a:lnTo>
                    <a:lnTo>
                      <a:pt x="0" y="6"/>
                    </a:lnTo>
                    <a:lnTo>
                      <a:pt x="0" y="8"/>
                    </a:lnTo>
                    <a:lnTo>
                      <a:pt x="0" y="8"/>
                    </a:lnTo>
                    <a:lnTo>
                      <a:pt x="0" y="8"/>
                    </a:lnTo>
                    <a:lnTo>
                      <a:pt x="4" y="12"/>
                    </a:lnTo>
                    <a:lnTo>
                      <a:pt x="12" y="16"/>
                    </a:lnTo>
                    <a:lnTo>
                      <a:pt x="12" y="16"/>
                    </a:lnTo>
                    <a:lnTo>
                      <a:pt x="12" y="24"/>
                    </a:lnTo>
                    <a:lnTo>
                      <a:pt x="12" y="24"/>
                    </a:lnTo>
                    <a:lnTo>
                      <a:pt x="14" y="24"/>
                    </a:lnTo>
                    <a:lnTo>
                      <a:pt x="16" y="26"/>
                    </a:lnTo>
                    <a:lnTo>
                      <a:pt x="16" y="26"/>
                    </a:lnTo>
                    <a:lnTo>
                      <a:pt x="18" y="28"/>
                    </a:lnTo>
                    <a:lnTo>
                      <a:pt x="18" y="28"/>
                    </a:lnTo>
                    <a:lnTo>
                      <a:pt x="20" y="28"/>
                    </a:lnTo>
                    <a:lnTo>
                      <a:pt x="20" y="2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0" name="Freeform 177"/>
              <p:cNvSpPr>
                <a:spLocks noChangeAspect="1"/>
              </p:cNvSpPr>
              <p:nvPr/>
            </p:nvSpPr>
            <p:spPr bwMode="gray">
              <a:xfrm>
                <a:off x="3947385" y="4075587"/>
                <a:ext cx="166611" cy="144758"/>
              </a:xfrm>
              <a:custGeom>
                <a:avLst/>
                <a:gdLst/>
                <a:ahLst/>
                <a:cxnLst>
                  <a:cxn ang="0">
                    <a:pos x="22" y="62"/>
                  </a:cxn>
                  <a:cxn ang="0">
                    <a:pos x="24" y="58"/>
                  </a:cxn>
                  <a:cxn ang="0">
                    <a:pos x="28" y="54"/>
                  </a:cxn>
                  <a:cxn ang="0">
                    <a:pos x="30" y="46"/>
                  </a:cxn>
                  <a:cxn ang="0">
                    <a:pos x="40" y="44"/>
                  </a:cxn>
                  <a:cxn ang="0">
                    <a:pos x="46" y="44"/>
                  </a:cxn>
                  <a:cxn ang="0">
                    <a:pos x="52" y="46"/>
                  </a:cxn>
                  <a:cxn ang="0">
                    <a:pos x="52" y="54"/>
                  </a:cxn>
                  <a:cxn ang="0">
                    <a:pos x="56" y="58"/>
                  </a:cxn>
                  <a:cxn ang="0">
                    <a:pos x="60" y="64"/>
                  </a:cxn>
                  <a:cxn ang="0">
                    <a:pos x="64" y="72"/>
                  </a:cxn>
                  <a:cxn ang="0">
                    <a:pos x="70" y="72"/>
                  </a:cxn>
                  <a:cxn ang="0">
                    <a:pos x="72" y="66"/>
                  </a:cxn>
                  <a:cxn ang="0">
                    <a:pos x="76" y="76"/>
                  </a:cxn>
                  <a:cxn ang="0">
                    <a:pos x="72" y="86"/>
                  </a:cxn>
                  <a:cxn ang="0">
                    <a:pos x="82" y="80"/>
                  </a:cxn>
                  <a:cxn ang="0">
                    <a:pos x="86" y="80"/>
                  </a:cxn>
                  <a:cxn ang="0">
                    <a:pos x="90" y="78"/>
                  </a:cxn>
                  <a:cxn ang="0">
                    <a:pos x="90" y="72"/>
                  </a:cxn>
                  <a:cxn ang="0">
                    <a:pos x="98" y="68"/>
                  </a:cxn>
                  <a:cxn ang="0">
                    <a:pos x="98" y="64"/>
                  </a:cxn>
                  <a:cxn ang="0">
                    <a:pos x="94" y="58"/>
                  </a:cxn>
                  <a:cxn ang="0">
                    <a:pos x="98" y="52"/>
                  </a:cxn>
                  <a:cxn ang="0">
                    <a:pos x="94" y="50"/>
                  </a:cxn>
                  <a:cxn ang="0">
                    <a:pos x="88" y="44"/>
                  </a:cxn>
                  <a:cxn ang="0">
                    <a:pos x="82" y="42"/>
                  </a:cxn>
                  <a:cxn ang="0">
                    <a:pos x="80" y="38"/>
                  </a:cxn>
                  <a:cxn ang="0">
                    <a:pos x="76" y="40"/>
                  </a:cxn>
                  <a:cxn ang="0">
                    <a:pos x="84" y="32"/>
                  </a:cxn>
                  <a:cxn ang="0">
                    <a:pos x="78" y="32"/>
                  </a:cxn>
                  <a:cxn ang="0">
                    <a:pos x="76" y="26"/>
                  </a:cxn>
                  <a:cxn ang="0">
                    <a:pos x="74" y="22"/>
                  </a:cxn>
                  <a:cxn ang="0">
                    <a:pos x="76" y="14"/>
                  </a:cxn>
                  <a:cxn ang="0">
                    <a:pos x="74" y="8"/>
                  </a:cxn>
                  <a:cxn ang="0">
                    <a:pos x="68" y="6"/>
                  </a:cxn>
                  <a:cxn ang="0">
                    <a:pos x="62" y="4"/>
                  </a:cxn>
                  <a:cxn ang="0">
                    <a:pos x="58" y="8"/>
                  </a:cxn>
                  <a:cxn ang="0">
                    <a:pos x="52" y="6"/>
                  </a:cxn>
                  <a:cxn ang="0">
                    <a:pos x="48" y="8"/>
                  </a:cxn>
                  <a:cxn ang="0">
                    <a:pos x="44" y="2"/>
                  </a:cxn>
                  <a:cxn ang="0">
                    <a:pos x="32" y="4"/>
                  </a:cxn>
                  <a:cxn ang="0">
                    <a:pos x="24" y="2"/>
                  </a:cxn>
                  <a:cxn ang="0">
                    <a:pos x="14" y="0"/>
                  </a:cxn>
                  <a:cxn ang="0">
                    <a:pos x="14" y="8"/>
                  </a:cxn>
                  <a:cxn ang="0">
                    <a:pos x="10" y="10"/>
                  </a:cxn>
                  <a:cxn ang="0">
                    <a:pos x="12" y="14"/>
                  </a:cxn>
                  <a:cxn ang="0">
                    <a:pos x="12" y="20"/>
                  </a:cxn>
                  <a:cxn ang="0">
                    <a:pos x="6" y="24"/>
                  </a:cxn>
                  <a:cxn ang="0">
                    <a:pos x="0" y="24"/>
                  </a:cxn>
                  <a:cxn ang="0">
                    <a:pos x="0" y="30"/>
                  </a:cxn>
                  <a:cxn ang="0">
                    <a:pos x="4" y="34"/>
                  </a:cxn>
                  <a:cxn ang="0">
                    <a:pos x="4" y="38"/>
                  </a:cxn>
                  <a:cxn ang="0">
                    <a:pos x="6" y="42"/>
                  </a:cxn>
                  <a:cxn ang="0">
                    <a:pos x="12" y="44"/>
                  </a:cxn>
                  <a:cxn ang="0">
                    <a:pos x="14" y="58"/>
                  </a:cxn>
                </a:cxnLst>
                <a:rect l="0" t="0" r="r" b="b"/>
                <a:pathLst>
                  <a:path w="98" h="88">
                    <a:moveTo>
                      <a:pt x="20" y="60"/>
                    </a:moveTo>
                    <a:lnTo>
                      <a:pt x="20" y="60"/>
                    </a:lnTo>
                    <a:lnTo>
                      <a:pt x="22" y="62"/>
                    </a:lnTo>
                    <a:lnTo>
                      <a:pt x="22" y="62"/>
                    </a:lnTo>
                    <a:lnTo>
                      <a:pt x="24" y="60"/>
                    </a:lnTo>
                    <a:lnTo>
                      <a:pt x="24" y="58"/>
                    </a:lnTo>
                    <a:lnTo>
                      <a:pt x="26" y="56"/>
                    </a:lnTo>
                    <a:lnTo>
                      <a:pt x="26" y="56"/>
                    </a:lnTo>
                    <a:lnTo>
                      <a:pt x="28" y="54"/>
                    </a:lnTo>
                    <a:lnTo>
                      <a:pt x="30" y="52"/>
                    </a:lnTo>
                    <a:lnTo>
                      <a:pt x="30" y="46"/>
                    </a:lnTo>
                    <a:lnTo>
                      <a:pt x="30" y="46"/>
                    </a:lnTo>
                    <a:lnTo>
                      <a:pt x="32" y="42"/>
                    </a:lnTo>
                    <a:lnTo>
                      <a:pt x="34" y="42"/>
                    </a:lnTo>
                    <a:lnTo>
                      <a:pt x="40" y="44"/>
                    </a:lnTo>
                    <a:lnTo>
                      <a:pt x="40" y="44"/>
                    </a:lnTo>
                    <a:lnTo>
                      <a:pt x="44" y="44"/>
                    </a:lnTo>
                    <a:lnTo>
                      <a:pt x="46" y="44"/>
                    </a:lnTo>
                    <a:lnTo>
                      <a:pt x="48" y="44"/>
                    </a:lnTo>
                    <a:lnTo>
                      <a:pt x="48" y="44"/>
                    </a:lnTo>
                    <a:lnTo>
                      <a:pt x="52" y="46"/>
                    </a:lnTo>
                    <a:lnTo>
                      <a:pt x="52" y="52"/>
                    </a:lnTo>
                    <a:lnTo>
                      <a:pt x="52" y="52"/>
                    </a:lnTo>
                    <a:lnTo>
                      <a:pt x="52" y="54"/>
                    </a:lnTo>
                    <a:lnTo>
                      <a:pt x="54" y="54"/>
                    </a:lnTo>
                    <a:lnTo>
                      <a:pt x="56" y="56"/>
                    </a:lnTo>
                    <a:lnTo>
                      <a:pt x="56" y="58"/>
                    </a:lnTo>
                    <a:lnTo>
                      <a:pt x="56" y="58"/>
                    </a:lnTo>
                    <a:lnTo>
                      <a:pt x="60" y="64"/>
                    </a:lnTo>
                    <a:lnTo>
                      <a:pt x="60" y="64"/>
                    </a:lnTo>
                    <a:lnTo>
                      <a:pt x="58" y="68"/>
                    </a:lnTo>
                    <a:lnTo>
                      <a:pt x="58" y="72"/>
                    </a:lnTo>
                    <a:lnTo>
                      <a:pt x="64" y="72"/>
                    </a:lnTo>
                    <a:lnTo>
                      <a:pt x="64" y="72"/>
                    </a:lnTo>
                    <a:lnTo>
                      <a:pt x="66" y="72"/>
                    </a:lnTo>
                    <a:lnTo>
                      <a:pt x="70" y="72"/>
                    </a:lnTo>
                    <a:lnTo>
                      <a:pt x="70" y="72"/>
                    </a:lnTo>
                    <a:lnTo>
                      <a:pt x="72" y="68"/>
                    </a:lnTo>
                    <a:lnTo>
                      <a:pt x="72" y="66"/>
                    </a:lnTo>
                    <a:lnTo>
                      <a:pt x="72" y="66"/>
                    </a:lnTo>
                    <a:lnTo>
                      <a:pt x="76" y="76"/>
                    </a:lnTo>
                    <a:lnTo>
                      <a:pt x="76" y="76"/>
                    </a:lnTo>
                    <a:lnTo>
                      <a:pt x="76" y="78"/>
                    </a:lnTo>
                    <a:lnTo>
                      <a:pt x="74" y="82"/>
                    </a:lnTo>
                    <a:lnTo>
                      <a:pt x="72" y="86"/>
                    </a:lnTo>
                    <a:lnTo>
                      <a:pt x="76" y="88"/>
                    </a:lnTo>
                    <a:lnTo>
                      <a:pt x="76" y="88"/>
                    </a:lnTo>
                    <a:lnTo>
                      <a:pt x="82" y="80"/>
                    </a:lnTo>
                    <a:lnTo>
                      <a:pt x="82" y="80"/>
                    </a:lnTo>
                    <a:lnTo>
                      <a:pt x="84" y="78"/>
                    </a:lnTo>
                    <a:lnTo>
                      <a:pt x="86" y="80"/>
                    </a:lnTo>
                    <a:lnTo>
                      <a:pt x="86" y="82"/>
                    </a:lnTo>
                    <a:lnTo>
                      <a:pt x="90" y="78"/>
                    </a:lnTo>
                    <a:lnTo>
                      <a:pt x="90" y="78"/>
                    </a:lnTo>
                    <a:lnTo>
                      <a:pt x="90" y="74"/>
                    </a:lnTo>
                    <a:lnTo>
                      <a:pt x="90" y="74"/>
                    </a:lnTo>
                    <a:lnTo>
                      <a:pt x="90" y="72"/>
                    </a:lnTo>
                    <a:lnTo>
                      <a:pt x="92" y="72"/>
                    </a:lnTo>
                    <a:lnTo>
                      <a:pt x="96" y="70"/>
                    </a:lnTo>
                    <a:lnTo>
                      <a:pt x="98" y="68"/>
                    </a:lnTo>
                    <a:lnTo>
                      <a:pt x="98" y="68"/>
                    </a:lnTo>
                    <a:lnTo>
                      <a:pt x="98" y="66"/>
                    </a:lnTo>
                    <a:lnTo>
                      <a:pt x="98" y="64"/>
                    </a:lnTo>
                    <a:lnTo>
                      <a:pt x="94" y="60"/>
                    </a:lnTo>
                    <a:lnTo>
                      <a:pt x="94" y="60"/>
                    </a:lnTo>
                    <a:lnTo>
                      <a:pt x="94" y="58"/>
                    </a:lnTo>
                    <a:lnTo>
                      <a:pt x="96" y="56"/>
                    </a:lnTo>
                    <a:lnTo>
                      <a:pt x="98" y="52"/>
                    </a:lnTo>
                    <a:lnTo>
                      <a:pt x="98" y="52"/>
                    </a:lnTo>
                    <a:lnTo>
                      <a:pt x="98" y="52"/>
                    </a:lnTo>
                    <a:lnTo>
                      <a:pt x="94" y="50"/>
                    </a:lnTo>
                    <a:lnTo>
                      <a:pt x="94" y="50"/>
                    </a:lnTo>
                    <a:lnTo>
                      <a:pt x="90" y="48"/>
                    </a:lnTo>
                    <a:lnTo>
                      <a:pt x="88" y="44"/>
                    </a:lnTo>
                    <a:lnTo>
                      <a:pt x="88" y="44"/>
                    </a:lnTo>
                    <a:lnTo>
                      <a:pt x="86" y="42"/>
                    </a:lnTo>
                    <a:lnTo>
                      <a:pt x="84" y="42"/>
                    </a:lnTo>
                    <a:lnTo>
                      <a:pt x="82" y="42"/>
                    </a:lnTo>
                    <a:lnTo>
                      <a:pt x="80" y="40"/>
                    </a:lnTo>
                    <a:lnTo>
                      <a:pt x="80" y="40"/>
                    </a:lnTo>
                    <a:lnTo>
                      <a:pt x="80" y="38"/>
                    </a:lnTo>
                    <a:lnTo>
                      <a:pt x="78" y="38"/>
                    </a:lnTo>
                    <a:lnTo>
                      <a:pt x="76" y="40"/>
                    </a:lnTo>
                    <a:lnTo>
                      <a:pt x="76" y="40"/>
                    </a:lnTo>
                    <a:lnTo>
                      <a:pt x="74" y="38"/>
                    </a:lnTo>
                    <a:lnTo>
                      <a:pt x="72" y="38"/>
                    </a:lnTo>
                    <a:lnTo>
                      <a:pt x="84" y="32"/>
                    </a:lnTo>
                    <a:lnTo>
                      <a:pt x="84" y="32"/>
                    </a:lnTo>
                    <a:lnTo>
                      <a:pt x="80" y="32"/>
                    </a:lnTo>
                    <a:lnTo>
                      <a:pt x="78" y="32"/>
                    </a:lnTo>
                    <a:lnTo>
                      <a:pt x="78" y="30"/>
                    </a:lnTo>
                    <a:lnTo>
                      <a:pt x="78" y="30"/>
                    </a:lnTo>
                    <a:lnTo>
                      <a:pt x="76" y="26"/>
                    </a:lnTo>
                    <a:lnTo>
                      <a:pt x="74" y="24"/>
                    </a:lnTo>
                    <a:lnTo>
                      <a:pt x="74" y="24"/>
                    </a:lnTo>
                    <a:lnTo>
                      <a:pt x="74" y="22"/>
                    </a:lnTo>
                    <a:lnTo>
                      <a:pt x="74" y="20"/>
                    </a:lnTo>
                    <a:lnTo>
                      <a:pt x="76" y="18"/>
                    </a:lnTo>
                    <a:lnTo>
                      <a:pt x="76" y="14"/>
                    </a:lnTo>
                    <a:lnTo>
                      <a:pt x="76" y="14"/>
                    </a:lnTo>
                    <a:lnTo>
                      <a:pt x="74" y="8"/>
                    </a:lnTo>
                    <a:lnTo>
                      <a:pt x="74" y="8"/>
                    </a:lnTo>
                    <a:lnTo>
                      <a:pt x="74" y="6"/>
                    </a:lnTo>
                    <a:lnTo>
                      <a:pt x="68" y="6"/>
                    </a:lnTo>
                    <a:lnTo>
                      <a:pt x="68" y="6"/>
                    </a:lnTo>
                    <a:lnTo>
                      <a:pt x="66" y="6"/>
                    </a:lnTo>
                    <a:lnTo>
                      <a:pt x="64" y="6"/>
                    </a:lnTo>
                    <a:lnTo>
                      <a:pt x="62" y="4"/>
                    </a:lnTo>
                    <a:lnTo>
                      <a:pt x="62" y="4"/>
                    </a:lnTo>
                    <a:lnTo>
                      <a:pt x="60" y="6"/>
                    </a:lnTo>
                    <a:lnTo>
                      <a:pt x="58" y="8"/>
                    </a:lnTo>
                    <a:lnTo>
                      <a:pt x="58" y="8"/>
                    </a:lnTo>
                    <a:lnTo>
                      <a:pt x="56" y="8"/>
                    </a:lnTo>
                    <a:lnTo>
                      <a:pt x="52" y="6"/>
                    </a:lnTo>
                    <a:lnTo>
                      <a:pt x="52" y="6"/>
                    </a:lnTo>
                    <a:lnTo>
                      <a:pt x="48" y="6"/>
                    </a:lnTo>
                    <a:lnTo>
                      <a:pt x="48" y="8"/>
                    </a:lnTo>
                    <a:lnTo>
                      <a:pt x="44" y="8"/>
                    </a:lnTo>
                    <a:lnTo>
                      <a:pt x="44" y="2"/>
                    </a:lnTo>
                    <a:lnTo>
                      <a:pt x="44" y="2"/>
                    </a:lnTo>
                    <a:lnTo>
                      <a:pt x="38" y="4"/>
                    </a:lnTo>
                    <a:lnTo>
                      <a:pt x="34" y="4"/>
                    </a:lnTo>
                    <a:lnTo>
                      <a:pt x="32" y="4"/>
                    </a:lnTo>
                    <a:lnTo>
                      <a:pt x="32" y="4"/>
                    </a:lnTo>
                    <a:lnTo>
                      <a:pt x="28" y="2"/>
                    </a:lnTo>
                    <a:lnTo>
                      <a:pt x="24" y="2"/>
                    </a:lnTo>
                    <a:lnTo>
                      <a:pt x="24" y="2"/>
                    </a:lnTo>
                    <a:lnTo>
                      <a:pt x="18" y="2"/>
                    </a:lnTo>
                    <a:lnTo>
                      <a:pt x="14" y="0"/>
                    </a:lnTo>
                    <a:lnTo>
                      <a:pt x="14" y="0"/>
                    </a:lnTo>
                    <a:lnTo>
                      <a:pt x="14" y="4"/>
                    </a:lnTo>
                    <a:lnTo>
                      <a:pt x="14" y="8"/>
                    </a:lnTo>
                    <a:lnTo>
                      <a:pt x="14" y="8"/>
                    </a:lnTo>
                    <a:lnTo>
                      <a:pt x="14" y="8"/>
                    </a:lnTo>
                    <a:lnTo>
                      <a:pt x="10" y="10"/>
                    </a:lnTo>
                    <a:lnTo>
                      <a:pt x="10" y="12"/>
                    </a:lnTo>
                    <a:lnTo>
                      <a:pt x="12" y="14"/>
                    </a:lnTo>
                    <a:lnTo>
                      <a:pt x="12" y="14"/>
                    </a:lnTo>
                    <a:lnTo>
                      <a:pt x="12" y="14"/>
                    </a:lnTo>
                    <a:lnTo>
                      <a:pt x="12" y="18"/>
                    </a:lnTo>
                    <a:lnTo>
                      <a:pt x="12" y="20"/>
                    </a:lnTo>
                    <a:lnTo>
                      <a:pt x="12" y="20"/>
                    </a:lnTo>
                    <a:lnTo>
                      <a:pt x="10" y="22"/>
                    </a:lnTo>
                    <a:lnTo>
                      <a:pt x="6" y="24"/>
                    </a:lnTo>
                    <a:lnTo>
                      <a:pt x="6" y="24"/>
                    </a:lnTo>
                    <a:lnTo>
                      <a:pt x="0" y="24"/>
                    </a:lnTo>
                    <a:lnTo>
                      <a:pt x="0" y="24"/>
                    </a:lnTo>
                    <a:lnTo>
                      <a:pt x="0" y="28"/>
                    </a:lnTo>
                    <a:lnTo>
                      <a:pt x="0" y="28"/>
                    </a:lnTo>
                    <a:lnTo>
                      <a:pt x="0" y="30"/>
                    </a:lnTo>
                    <a:lnTo>
                      <a:pt x="0" y="30"/>
                    </a:lnTo>
                    <a:lnTo>
                      <a:pt x="4" y="34"/>
                    </a:lnTo>
                    <a:lnTo>
                      <a:pt x="4" y="34"/>
                    </a:lnTo>
                    <a:lnTo>
                      <a:pt x="4" y="36"/>
                    </a:lnTo>
                    <a:lnTo>
                      <a:pt x="4" y="38"/>
                    </a:lnTo>
                    <a:lnTo>
                      <a:pt x="4" y="38"/>
                    </a:lnTo>
                    <a:lnTo>
                      <a:pt x="6" y="40"/>
                    </a:lnTo>
                    <a:lnTo>
                      <a:pt x="6" y="42"/>
                    </a:lnTo>
                    <a:lnTo>
                      <a:pt x="6" y="42"/>
                    </a:lnTo>
                    <a:lnTo>
                      <a:pt x="10" y="44"/>
                    </a:lnTo>
                    <a:lnTo>
                      <a:pt x="12" y="44"/>
                    </a:lnTo>
                    <a:lnTo>
                      <a:pt x="12" y="44"/>
                    </a:lnTo>
                    <a:lnTo>
                      <a:pt x="12" y="52"/>
                    </a:lnTo>
                    <a:lnTo>
                      <a:pt x="12" y="56"/>
                    </a:lnTo>
                    <a:lnTo>
                      <a:pt x="14" y="58"/>
                    </a:lnTo>
                    <a:lnTo>
                      <a:pt x="20" y="60"/>
                    </a:lnTo>
                    <a:lnTo>
                      <a:pt x="20" y="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1" name="Freeform 180"/>
              <p:cNvSpPr>
                <a:spLocks noChangeAspect="1"/>
              </p:cNvSpPr>
              <p:nvPr/>
            </p:nvSpPr>
            <p:spPr bwMode="gray">
              <a:xfrm>
                <a:off x="4202402" y="4101907"/>
                <a:ext cx="108807" cy="194106"/>
              </a:xfrm>
              <a:custGeom>
                <a:avLst/>
                <a:gdLst/>
                <a:ahLst/>
                <a:cxnLst>
                  <a:cxn ang="0">
                    <a:pos x="64" y="100"/>
                  </a:cxn>
                  <a:cxn ang="0">
                    <a:pos x="56" y="84"/>
                  </a:cxn>
                  <a:cxn ang="0">
                    <a:pos x="56" y="82"/>
                  </a:cxn>
                  <a:cxn ang="0">
                    <a:pos x="56" y="80"/>
                  </a:cxn>
                  <a:cxn ang="0">
                    <a:pos x="54" y="78"/>
                  </a:cxn>
                  <a:cxn ang="0">
                    <a:pos x="56" y="74"/>
                  </a:cxn>
                  <a:cxn ang="0">
                    <a:pos x="58" y="60"/>
                  </a:cxn>
                  <a:cxn ang="0">
                    <a:pos x="52" y="52"/>
                  </a:cxn>
                  <a:cxn ang="0">
                    <a:pos x="52" y="48"/>
                  </a:cxn>
                  <a:cxn ang="0">
                    <a:pos x="54" y="40"/>
                  </a:cxn>
                  <a:cxn ang="0">
                    <a:pos x="54" y="38"/>
                  </a:cxn>
                  <a:cxn ang="0">
                    <a:pos x="52" y="36"/>
                  </a:cxn>
                  <a:cxn ang="0">
                    <a:pos x="52" y="34"/>
                  </a:cxn>
                  <a:cxn ang="0">
                    <a:pos x="52" y="22"/>
                  </a:cxn>
                  <a:cxn ang="0">
                    <a:pos x="52" y="16"/>
                  </a:cxn>
                  <a:cxn ang="0">
                    <a:pos x="48" y="14"/>
                  </a:cxn>
                  <a:cxn ang="0">
                    <a:pos x="48" y="6"/>
                  </a:cxn>
                  <a:cxn ang="0">
                    <a:pos x="38" y="0"/>
                  </a:cxn>
                  <a:cxn ang="0">
                    <a:pos x="38" y="2"/>
                  </a:cxn>
                  <a:cxn ang="0">
                    <a:pos x="18" y="2"/>
                  </a:cxn>
                  <a:cxn ang="0">
                    <a:pos x="14" y="4"/>
                  </a:cxn>
                  <a:cxn ang="0">
                    <a:pos x="14" y="8"/>
                  </a:cxn>
                  <a:cxn ang="0">
                    <a:pos x="16" y="18"/>
                  </a:cxn>
                  <a:cxn ang="0">
                    <a:pos x="14" y="26"/>
                  </a:cxn>
                  <a:cxn ang="0">
                    <a:pos x="14" y="30"/>
                  </a:cxn>
                  <a:cxn ang="0">
                    <a:pos x="14" y="36"/>
                  </a:cxn>
                  <a:cxn ang="0">
                    <a:pos x="16" y="38"/>
                  </a:cxn>
                  <a:cxn ang="0">
                    <a:pos x="18" y="44"/>
                  </a:cxn>
                  <a:cxn ang="0">
                    <a:pos x="16" y="56"/>
                  </a:cxn>
                  <a:cxn ang="0">
                    <a:pos x="12" y="64"/>
                  </a:cxn>
                  <a:cxn ang="0">
                    <a:pos x="8" y="74"/>
                  </a:cxn>
                  <a:cxn ang="0">
                    <a:pos x="4" y="84"/>
                  </a:cxn>
                  <a:cxn ang="0">
                    <a:pos x="2" y="104"/>
                  </a:cxn>
                  <a:cxn ang="0">
                    <a:pos x="4" y="106"/>
                  </a:cxn>
                  <a:cxn ang="0">
                    <a:pos x="4" y="110"/>
                  </a:cxn>
                  <a:cxn ang="0">
                    <a:pos x="0" y="118"/>
                  </a:cxn>
                  <a:cxn ang="0">
                    <a:pos x="10" y="118"/>
                  </a:cxn>
                  <a:cxn ang="0">
                    <a:pos x="14" y="116"/>
                  </a:cxn>
                  <a:cxn ang="0">
                    <a:pos x="18" y="112"/>
                  </a:cxn>
                  <a:cxn ang="0">
                    <a:pos x="28" y="112"/>
                  </a:cxn>
                  <a:cxn ang="0">
                    <a:pos x="36" y="106"/>
                  </a:cxn>
                  <a:cxn ang="0">
                    <a:pos x="46" y="106"/>
                  </a:cxn>
                  <a:cxn ang="0">
                    <a:pos x="52" y="104"/>
                  </a:cxn>
                  <a:cxn ang="0">
                    <a:pos x="58" y="104"/>
                  </a:cxn>
                  <a:cxn ang="0">
                    <a:pos x="58" y="98"/>
                  </a:cxn>
                  <a:cxn ang="0">
                    <a:pos x="54" y="94"/>
                  </a:cxn>
                  <a:cxn ang="0">
                    <a:pos x="58" y="94"/>
                  </a:cxn>
                  <a:cxn ang="0">
                    <a:pos x="60" y="100"/>
                  </a:cxn>
                  <a:cxn ang="0">
                    <a:pos x="64" y="100"/>
                  </a:cxn>
                </a:cxnLst>
                <a:rect l="0" t="0" r="r" b="b"/>
                <a:pathLst>
                  <a:path w="64" h="118">
                    <a:moveTo>
                      <a:pt x="64" y="100"/>
                    </a:moveTo>
                    <a:lnTo>
                      <a:pt x="64" y="100"/>
                    </a:lnTo>
                    <a:lnTo>
                      <a:pt x="56" y="84"/>
                    </a:lnTo>
                    <a:lnTo>
                      <a:pt x="56" y="84"/>
                    </a:lnTo>
                    <a:lnTo>
                      <a:pt x="56" y="84"/>
                    </a:lnTo>
                    <a:lnTo>
                      <a:pt x="56" y="82"/>
                    </a:lnTo>
                    <a:lnTo>
                      <a:pt x="56" y="82"/>
                    </a:lnTo>
                    <a:lnTo>
                      <a:pt x="56" y="80"/>
                    </a:lnTo>
                    <a:lnTo>
                      <a:pt x="56" y="80"/>
                    </a:lnTo>
                    <a:lnTo>
                      <a:pt x="54" y="78"/>
                    </a:lnTo>
                    <a:lnTo>
                      <a:pt x="56" y="74"/>
                    </a:lnTo>
                    <a:lnTo>
                      <a:pt x="56" y="74"/>
                    </a:lnTo>
                    <a:lnTo>
                      <a:pt x="58" y="60"/>
                    </a:lnTo>
                    <a:lnTo>
                      <a:pt x="58" y="60"/>
                    </a:lnTo>
                    <a:lnTo>
                      <a:pt x="56" y="56"/>
                    </a:lnTo>
                    <a:lnTo>
                      <a:pt x="52" y="52"/>
                    </a:lnTo>
                    <a:lnTo>
                      <a:pt x="52" y="52"/>
                    </a:lnTo>
                    <a:lnTo>
                      <a:pt x="52" y="48"/>
                    </a:lnTo>
                    <a:lnTo>
                      <a:pt x="52" y="46"/>
                    </a:lnTo>
                    <a:lnTo>
                      <a:pt x="54" y="40"/>
                    </a:lnTo>
                    <a:lnTo>
                      <a:pt x="54" y="40"/>
                    </a:lnTo>
                    <a:lnTo>
                      <a:pt x="54" y="38"/>
                    </a:lnTo>
                    <a:lnTo>
                      <a:pt x="52" y="38"/>
                    </a:lnTo>
                    <a:lnTo>
                      <a:pt x="52" y="36"/>
                    </a:lnTo>
                    <a:lnTo>
                      <a:pt x="52" y="34"/>
                    </a:lnTo>
                    <a:lnTo>
                      <a:pt x="52" y="34"/>
                    </a:lnTo>
                    <a:lnTo>
                      <a:pt x="54" y="28"/>
                    </a:lnTo>
                    <a:lnTo>
                      <a:pt x="52" y="22"/>
                    </a:lnTo>
                    <a:lnTo>
                      <a:pt x="52" y="22"/>
                    </a:lnTo>
                    <a:lnTo>
                      <a:pt x="52" y="16"/>
                    </a:lnTo>
                    <a:lnTo>
                      <a:pt x="48" y="14"/>
                    </a:lnTo>
                    <a:lnTo>
                      <a:pt x="48" y="14"/>
                    </a:lnTo>
                    <a:lnTo>
                      <a:pt x="48" y="12"/>
                    </a:lnTo>
                    <a:lnTo>
                      <a:pt x="48" y="6"/>
                    </a:lnTo>
                    <a:lnTo>
                      <a:pt x="48" y="0"/>
                    </a:lnTo>
                    <a:lnTo>
                      <a:pt x="38" y="0"/>
                    </a:lnTo>
                    <a:lnTo>
                      <a:pt x="38" y="2"/>
                    </a:lnTo>
                    <a:lnTo>
                      <a:pt x="38" y="2"/>
                    </a:lnTo>
                    <a:lnTo>
                      <a:pt x="28" y="2"/>
                    </a:lnTo>
                    <a:lnTo>
                      <a:pt x="18" y="2"/>
                    </a:lnTo>
                    <a:lnTo>
                      <a:pt x="18" y="2"/>
                    </a:lnTo>
                    <a:lnTo>
                      <a:pt x="14" y="4"/>
                    </a:lnTo>
                    <a:lnTo>
                      <a:pt x="14" y="8"/>
                    </a:lnTo>
                    <a:lnTo>
                      <a:pt x="14" y="8"/>
                    </a:lnTo>
                    <a:lnTo>
                      <a:pt x="14" y="14"/>
                    </a:lnTo>
                    <a:lnTo>
                      <a:pt x="16" y="18"/>
                    </a:lnTo>
                    <a:lnTo>
                      <a:pt x="16" y="18"/>
                    </a:lnTo>
                    <a:lnTo>
                      <a:pt x="14" y="26"/>
                    </a:lnTo>
                    <a:lnTo>
                      <a:pt x="14" y="26"/>
                    </a:lnTo>
                    <a:lnTo>
                      <a:pt x="14" y="30"/>
                    </a:lnTo>
                    <a:lnTo>
                      <a:pt x="14" y="36"/>
                    </a:lnTo>
                    <a:lnTo>
                      <a:pt x="14" y="36"/>
                    </a:lnTo>
                    <a:lnTo>
                      <a:pt x="14" y="38"/>
                    </a:lnTo>
                    <a:lnTo>
                      <a:pt x="16" y="38"/>
                    </a:lnTo>
                    <a:lnTo>
                      <a:pt x="18" y="44"/>
                    </a:lnTo>
                    <a:lnTo>
                      <a:pt x="18" y="44"/>
                    </a:lnTo>
                    <a:lnTo>
                      <a:pt x="16" y="56"/>
                    </a:lnTo>
                    <a:lnTo>
                      <a:pt x="16" y="56"/>
                    </a:lnTo>
                    <a:lnTo>
                      <a:pt x="14" y="58"/>
                    </a:lnTo>
                    <a:lnTo>
                      <a:pt x="12" y="64"/>
                    </a:lnTo>
                    <a:lnTo>
                      <a:pt x="12" y="64"/>
                    </a:lnTo>
                    <a:lnTo>
                      <a:pt x="8" y="74"/>
                    </a:lnTo>
                    <a:lnTo>
                      <a:pt x="8" y="74"/>
                    </a:lnTo>
                    <a:lnTo>
                      <a:pt x="4" y="84"/>
                    </a:lnTo>
                    <a:lnTo>
                      <a:pt x="2" y="94"/>
                    </a:lnTo>
                    <a:lnTo>
                      <a:pt x="2" y="104"/>
                    </a:lnTo>
                    <a:lnTo>
                      <a:pt x="2" y="104"/>
                    </a:lnTo>
                    <a:lnTo>
                      <a:pt x="4" y="106"/>
                    </a:lnTo>
                    <a:lnTo>
                      <a:pt x="4" y="110"/>
                    </a:lnTo>
                    <a:lnTo>
                      <a:pt x="4" y="110"/>
                    </a:lnTo>
                    <a:lnTo>
                      <a:pt x="0" y="118"/>
                    </a:lnTo>
                    <a:lnTo>
                      <a:pt x="0" y="118"/>
                    </a:lnTo>
                    <a:lnTo>
                      <a:pt x="4" y="118"/>
                    </a:lnTo>
                    <a:lnTo>
                      <a:pt x="10" y="118"/>
                    </a:lnTo>
                    <a:lnTo>
                      <a:pt x="10" y="118"/>
                    </a:lnTo>
                    <a:lnTo>
                      <a:pt x="14" y="116"/>
                    </a:lnTo>
                    <a:lnTo>
                      <a:pt x="18" y="112"/>
                    </a:lnTo>
                    <a:lnTo>
                      <a:pt x="18" y="112"/>
                    </a:lnTo>
                    <a:lnTo>
                      <a:pt x="28" y="112"/>
                    </a:lnTo>
                    <a:lnTo>
                      <a:pt x="28" y="112"/>
                    </a:lnTo>
                    <a:lnTo>
                      <a:pt x="32" y="108"/>
                    </a:lnTo>
                    <a:lnTo>
                      <a:pt x="36" y="106"/>
                    </a:lnTo>
                    <a:lnTo>
                      <a:pt x="36" y="106"/>
                    </a:lnTo>
                    <a:lnTo>
                      <a:pt x="46" y="106"/>
                    </a:lnTo>
                    <a:lnTo>
                      <a:pt x="46" y="106"/>
                    </a:lnTo>
                    <a:lnTo>
                      <a:pt x="52" y="104"/>
                    </a:lnTo>
                    <a:lnTo>
                      <a:pt x="52" y="104"/>
                    </a:lnTo>
                    <a:lnTo>
                      <a:pt x="58" y="104"/>
                    </a:lnTo>
                    <a:lnTo>
                      <a:pt x="58" y="104"/>
                    </a:lnTo>
                    <a:lnTo>
                      <a:pt x="58" y="98"/>
                    </a:lnTo>
                    <a:lnTo>
                      <a:pt x="58" y="98"/>
                    </a:lnTo>
                    <a:lnTo>
                      <a:pt x="54" y="94"/>
                    </a:lnTo>
                    <a:lnTo>
                      <a:pt x="54" y="94"/>
                    </a:lnTo>
                    <a:lnTo>
                      <a:pt x="58" y="94"/>
                    </a:lnTo>
                    <a:lnTo>
                      <a:pt x="58" y="94"/>
                    </a:lnTo>
                    <a:lnTo>
                      <a:pt x="60" y="100"/>
                    </a:lnTo>
                    <a:lnTo>
                      <a:pt x="60" y="100"/>
                    </a:lnTo>
                    <a:lnTo>
                      <a:pt x="64" y="100"/>
                    </a:lnTo>
                    <a:lnTo>
                      <a:pt x="64" y="10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2" name="Freeform 183"/>
              <p:cNvSpPr>
                <a:spLocks noChangeAspect="1"/>
              </p:cNvSpPr>
              <p:nvPr/>
            </p:nvSpPr>
            <p:spPr bwMode="gray">
              <a:xfrm>
                <a:off x="3906581" y="4045977"/>
                <a:ext cx="74805" cy="23030"/>
              </a:xfrm>
              <a:custGeom>
                <a:avLst/>
                <a:gdLst/>
                <a:ahLst/>
                <a:cxnLst>
                  <a:cxn ang="0">
                    <a:pos x="0" y="14"/>
                  </a:cxn>
                  <a:cxn ang="0">
                    <a:pos x="12" y="12"/>
                  </a:cxn>
                  <a:cxn ang="0">
                    <a:pos x="12" y="12"/>
                  </a:cxn>
                  <a:cxn ang="0">
                    <a:pos x="12" y="10"/>
                  </a:cxn>
                  <a:cxn ang="0">
                    <a:pos x="14" y="10"/>
                  </a:cxn>
                  <a:cxn ang="0">
                    <a:pos x="16" y="10"/>
                  </a:cxn>
                  <a:cxn ang="0">
                    <a:pos x="16" y="10"/>
                  </a:cxn>
                  <a:cxn ang="0">
                    <a:pos x="38" y="8"/>
                  </a:cxn>
                  <a:cxn ang="0">
                    <a:pos x="38" y="8"/>
                  </a:cxn>
                  <a:cxn ang="0">
                    <a:pos x="42" y="8"/>
                  </a:cxn>
                  <a:cxn ang="0">
                    <a:pos x="44" y="2"/>
                  </a:cxn>
                  <a:cxn ang="0">
                    <a:pos x="44" y="2"/>
                  </a:cxn>
                  <a:cxn ang="0">
                    <a:pos x="42" y="0"/>
                  </a:cxn>
                  <a:cxn ang="0">
                    <a:pos x="42" y="0"/>
                  </a:cxn>
                  <a:cxn ang="0">
                    <a:pos x="38" y="0"/>
                  </a:cxn>
                  <a:cxn ang="0">
                    <a:pos x="38" y="0"/>
                  </a:cxn>
                  <a:cxn ang="0">
                    <a:pos x="28" y="0"/>
                  </a:cxn>
                  <a:cxn ang="0">
                    <a:pos x="28" y="0"/>
                  </a:cxn>
                  <a:cxn ang="0">
                    <a:pos x="22" y="2"/>
                  </a:cxn>
                  <a:cxn ang="0">
                    <a:pos x="20" y="2"/>
                  </a:cxn>
                  <a:cxn ang="0">
                    <a:pos x="16" y="0"/>
                  </a:cxn>
                  <a:cxn ang="0">
                    <a:pos x="16" y="0"/>
                  </a:cxn>
                  <a:cxn ang="0">
                    <a:pos x="14" y="0"/>
                  </a:cxn>
                  <a:cxn ang="0">
                    <a:pos x="12" y="2"/>
                  </a:cxn>
                  <a:cxn ang="0">
                    <a:pos x="12" y="2"/>
                  </a:cxn>
                  <a:cxn ang="0">
                    <a:pos x="8" y="2"/>
                  </a:cxn>
                  <a:cxn ang="0">
                    <a:pos x="6" y="2"/>
                  </a:cxn>
                  <a:cxn ang="0">
                    <a:pos x="6" y="2"/>
                  </a:cxn>
                  <a:cxn ang="0">
                    <a:pos x="2" y="2"/>
                  </a:cxn>
                  <a:cxn ang="0">
                    <a:pos x="0" y="4"/>
                  </a:cxn>
                  <a:cxn ang="0">
                    <a:pos x="0" y="6"/>
                  </a:cxn>
                  <a:cxn ang="0">
                    <a:pos x="0" y="6"/>
                  </a:cxn>
                  <a:cxn ang="0">
                    <a:pos x="2" y="8"/>
                  </a:cxn>
                  <a:cxn ang="0">
                    <a:pos x="2" y="8"/>
                  </a:cxn>
                  <a:cxn ang="0">
                    <a:pos x="0" y="10"/>
                  </a:cxn>
                  <a:cxn ang="0">
                    <a:pos x="0" y="10"/>
                  </a:cxn>
                  <a:cxn ang="0">
                    <a:pos x="0" y="10"/>
                  </a:cxn>
                  <a:cxn ang="0">
                    <a:pos x="0" y="14"/>
                  </a:cxn>
                  <a:cxn ang="0">
                    <a:pos x="0" y="14"/>
                  </a:cxn>
                </a:cxnLst>
                <a:rect l="0" t="0" r="r" b="b"/>
                <a:pathLst>
                  <a:path w="44" h="14">
                    <a:moveTo>
                      <a:pt x="0" y="14"/>
                    </a:moveTo>
                    <a:lnTo>
                      <a:pt x="12" y="12"/>
                    </a:lnTo>
                    <a:lnTo>
                      <a:pt x="12" y="12"/>
                    </a:lnTo>
                    <a:lnTo>
                      <a:pt x="12" y="10"/>
                    </a:lnTo>
                    <a:lnTo>
                      <a:pt x="14" y="10"/>
                    </a:lnTo>
                    <a:lnTo>
                      <a:pt x="16" y="10"/>
                    </a:lnTo>
                    <a:lnTo>
                      <a:pt x="16" y="10"/>
                    </a:lnTo>
                    <a:lnTo>
                      <a:pt x="38" y="8"/>
                    </a:lnTo>
                    <a:lnTo>
                      <a:pt x="38" y="8"/>
                    </a:lnTo>
                    <a:lnTo>
                      <a:pt x="42" y="8"/>
                    </a:lnTo>
                    <a:lnTo>
                      <a:pt x="44" y="2"/>
                    </a:lnTo>
                    <a:lnTo>
                      <a:pt x="44" y="2"/>
                    </a:lnTo>
                    <a:lnTo>
                      <a:pt x="42" y="0"/>
                    </a:lnTo>
                    <a:lnTo>
                      <a:pt x="42" y="0"/>
                    </a:lnTo>
                    <a:lnTo>
                      <a:pt x="38" y="0"/>
                    </a:lnTo>
                    <a:lnTo>
                      <a:pt x="38" y="0"/>
                    </a:lnTo>
                    <a:lnTo>
                      <a:pt x="28" y="0"/>
                    </a:lnTo>
                    <a:lnTo>
                      <a:pt x="28" y="0"/>
                    </a:lnTo>
                    <a:lnTo>
                      <a:pt x="22" y="2"/>
                    </a:lnTo>
                    <a:lnTo>
                      <a:pt x="20" y="2"/>
                    </a:lnTo>
                    <a:lnTo>
                      <a:pt x="16" y="0"/>
                    </a:lnTo>
                    <a:lnTo>
                      <a:pt x="16" y="0"/>
                    </a:lnTo>
                    <a:lnTo>
                      <a:pt x="14" y="0"/>
                    </a:lnTo>
                    <a:lnTo>
                      <a:pt x="12" y="2"/>
                    </a:lnTo>
                    <a:lnTo>
                      <a:pt x="12" y="2"/>
                    </a:lnTo>
                    <a:lnTo>
                      <a:pt x="8" y="2"/>
                    </a:lnTo>
                    <a:lnTo>
                      <a:pt x="6" y="2"/>
                    </a:lnTo>
                    <a:lnTo>
                      <a:pt x="6" y="2"/>
                    </a:lnTo>
                    <a:lnTo>
                      <a:pt x="2" y="2"/>
                    </a:lnTo>
                    <a:lnTo>
                      <a:pt x="0" y="4"/>
                    </a:lnTo>
                    <a:lnTo>
                      <a:pt x="0" y="6"/>
                    </a:lnTo>
                    <a:lnTo>
                      <a:pt x="0" y="6"/>
                    </a:lnTo>
                    <a:lnTo>
                      <a:pt x="2" y="8"/>
                    </a:lnTo>
                    <a:lnTo>
                      <a:pt x="2" y="8"/>
                    </a:lnTo>
                    <a:lnTo>
                      <a:pt x="0" y="10"/>
                    </a:lnTo>
                    <a:lnTo>
                      <a:pt x="0" y="10"/>
                    </a:lnTo>
                    <a:lnTo>
                      <a:pt x="0" y="10"/>
                    </a:lnTo>
                    <a:lnTo>
                      <a:pt x="0" y="14"/>
                    </a:lnTo>
                    <a:lnTo>
                      <a:pt x="0" y="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3" name="Freeform 184"/>
              <p:cNvSpPr>
                <a:spLocks noChangeAspect="1"/>
              </p:cNvSpPr>
              <p:nvPr/>
            </p:nvSpPr>
            <p:spPr bwMode="gray">
              <a:xfrm>
                <a:off x="4488021" y="4351941"/>
                <a:ext cx="137709" cy="177657"/>
              </a:xfrm>
              <a:custGeom>
                <a:avLst/>
                <a:gdLst/>
                <a:ahLst/>
                <a:cxnLst>
                  <a:cxn ang="0">
                    <a:pos x="31" y="104"/>
                  </a:cxn>
                  <a:cxn ang="0">
                    <a:pos x="35" y="98"/>
                  </a:cxn>
                  <a:cxn ang="0">
                    <a:pos x="43" y="102"/>
                  </a:cxn>
                  <a:cxn ang="0">
                    <a:pos x="45" y="96"/>
                  </a:cxn>
                  <a:cxn ang="0">
                    <a:pos x="43" y="88"/>
                  </a:cxn>
                  <a:cxn ang="0">
                    <a:pos x="45" y="84"/>
                  </a:cxn>
                  <a:cxn ang="0">
                    <a:pos x="43" y="78"/>
                  </a:cxn>
                  <a:cxn ang="0">
                    <a:pos x="51" y="78"/>
                  </a:cxn>
                  <a:cxn ang="0">
                    <a:pos x="51" y="74"/>
                  </a:cxn>
                  <a:cxn ang="0">
                    <a:pos x="57" y="76"/>
                  </a:cxn>
                  <a:cxn ang="0">
                    <a:pos x="61" y="76"/>
                  </a:cxn>
                  <a:cxn ang="0">
                    <a:pos x="69" y="76"/>
                  </a:cxn>
                  <a:cxn ang="0">
                    <a:pos x="73" y="82"/>
                  </a:cxn>
                  <a:cxn ang="0">
                    <a:pos x="77" y="76"/>
                  </a:cxn>
                  <a:cxn ang="0">
                    <a:pos x="73" y="68"/>
                  </a:cxn>
                  <a:cxn ang="0">
                    <a:pos x="73" y="66"/>
                  </a:cxn>
                  <a:cxn ang="0">
                    <a:pos x="75" y="60"/>
                  </a:cxn>
                  <a:cxn ang="0">
                    <a:pos x="73" y="54"/>
                  </a:cxn>
                  <a:cxn ang="0">
                    <a:pos x="73" y="46"/>
                  </a:cxn>
                  <a:cxn ang="0">
                    <a:pos x="67" y="40"/>
                  </a:cxn>
                  <a:cxn ang="0">
                    <a:pos x="69" y="38"/>
                  </a:cxn>
                  <a:cxn ang="0">
                    <a:pos x="67" y="32"/>
                  </a:cxn>
                  <a:cxn ang="0">
                    <a:pos x="73" y="26"/>
                  </a:cxn>
                  <a:cxn ang="0">
                    <a:pos x="81" y="16"/>
                  </a:cxn>
                  <a:cxn ang="0">
                    <a:pos x="73" y="14"/>
                  </a:cxn>
                  <a:cxn ang="0">
                    <a:pos x="65" y="16"/>
                  </a:cxn>
                  <a:cxn ang="0">
                    <a:pos x="63" y="10"/>
                  </a:cxn>
                  <a:cxn ang="0">
                    <a:pos x="63" y="0"/>
                  </a:cxn>
                  <a:cxn ang="0">
                    <a:pos x="53" y="0"/>
                  </a:cxn>
                  <a:cxn ang="0">
                    <a:pos x="45" y="0"/>
                  </a:cxn>
                  <a:cxn ang="0">
                    <a:pos x="39" y="2"/>
                  </a:cxn>
                  <a:cxn ang="0">
                    <a:pos x="10" y="20"/>
                  </a:cxn>
                  <a:cxn ang="0">
                    <a:pos x="8" y="24"/>
                  </a:cxn>
                  <a:cxn ang="0">
                    <a:pos x="8" y="28"/>
                  </a:cxn>
                  <a:cxn ang="0">
                    <a:pos x="12" y="38"/>
                  </a:cxn>
                  <a:cxn ang="0">
                    <a:pos x="6" y="38"/>
                  </a:cxn>
                  <a:cxn ang="0">
                    <a:pos x="8" y="42"/>
                  </a:cxn>
                  <a:cxn ang="0">
                    <a:pos x="6" y="44"/>
                  </a:cxn>
                  <a:cxn ang="0">
                    <a:pos x="8" y="46"/>
                  </a:cxn>
                  <a:cxn ang="0">
                    <a:pos x="4" y="60"/>
                  </a:cxn>
                  <a:cxn ang="0">
                    <a:pos x="0" y="64"/>
                  </a:cxn>
                  <a:cxn ang="0">
                    <a:pos x="4" y="66"/>
                  </a:cxn>
                  <a:cxn ang="0">
                    <a:pos x="4" y="70"/>
                  </a:cxn>
                  <a:cxn ang="0">
                    <a:pos x="8" y="74"/>
                  </a:cxn>
                  <a:cxn ang="0">
                    <a:pos x="10" y="76"/>
                  </a:cxn>
                  <a:cxn ang="0">
                    <a:pos x="6" y="76"/>
                  </a:cxn>
                  <a:cxn ang="0">
                    <a:pos x="26" y="98"/>
                  </a:cxn>
                  <a:cxn ang="0">
                    <a:pos x="26" y="104"/>
                  </a:cxn>
                  <a:cxn ang="0">
                    <a:pos x="31" y="108"/>
                  </a:cxn>
                </a:cxnLst>
                <a:rect l="0" t="0" r="r" b="b"/>
                <a:pathLst>
                  <a:path w="81" h="108">
                    <a:moveTo>
                      <a:pt x="31" y="108"/>
                    </a:moveTo>
                    <a:lnTo>
                      <a:pt x="31" y="108"/>
                    </a:lnTo>
                    <a:lnTo>
                      <a:pt x="31" y="104"/>
                    </a:lnTo>
                    <a:lnTo>
                      <a:pt x="33" y="100"/>
                    </a:lnTo>
                    <a:lnTo>
                      <a:pt x="35" y="98"/>
                    </a:lnTo>
                    <a:lnTo>
                      <a:pt x="35" y="98"/>
                    </a:lnTo>
                    <a:lnTo>
                      <a:pt x="39" y="100"/>
                    </a:lnTo>
                    <a:lnTo>
                      <a:pt x="43" y="102"/>
                    </a:lnTo>
                    <a:lnTo>
                      <a:pt x="43" y="102"/>
                    </a:lnTo>
                    <a:lnTo>
                      <a:pt x="45" y="102"/>
                    </a:lnTo>
                    <a:lnTo>
                      <a:pt x="47" y="100"/>
                    </a:lnTo>
                    <a:lnTo>
                      <a:pt x="45" y="96"/>
                    </a:lnTo>
                    <a:lnTo>
                      <a:pt x="45" y="96"/>
                    </a:lnTo>
                    <a:lnTo>
                      <a:pt x="43" y="90"/>
                    </a:lnTo>
                    <a:lnTo>
                      <a:pt x="43" y="88"/>
                    </a:lnTo>
                    <a:lnTo>
                      <a:pt x="43" y="86"/>
                    </a:lnTo>
                    <a:lnTo>
                      <a:pt x="43" y="86"/>
                    </a:lnTo>
                    <a:lnTo>
                      <a:pt x="45" y="84"/>
                    </a:lnTo>
                    <a:lnTo>
                      <a:pt x="43" y="82"/>
                    </a:lnTo>
                    <a:lnTo>
                      <a:pt x="43" y="82"/>
                    </a:lnTo>
                    <a:lnTo>
                      <a:pt x="43" y="78"/>
                    </a:lnTo>
                    <a:lnTo>
                      <a:pt x="45" y="78"/>
                    </a:lnTo>
                    <a:lnTo>
                      <a:pt x="51" y="78"/>
                    </a:lnTo>
                    <a:lnTo>
                      <a:pt x="51" y="78"/>
                    </a:lnTo>
                    <a:lnTo>
                      <a:pt x="53" y="78"/>
                    </a:lnTo>
                    <a:lnTo>
                      <a:pt x="51" y="74"/>
                    </a:lnTo>
                    <a:lnTo>
                      <a:pt x="51" y="74"/>
                    </a:lnTo>
                    <a:lnTo>
                      <a:pt x="53" y="74"/>
                    </a:lnTo>
                    <a:lnTo>
                      <a:pt x="53" y="74"/>
                    </a:lnTo>
                    <a:lnTo>
                      <a:pt x="57" y="76"/>
                    </a:lnTo>
                    <a:lnTo>
                      <a:pt x="57" y="78"/>
                    </a:lnTo>
                    <a:lnTo>
                      <a:pt x="57" y="78"/>
                    </a:lnTo>
                    <a:lnTo>
                      <a:pt x="61" y="76"/>
                    </a:lnTo>
                    <a:lnTo>
                      <a:pt x="67" y="76"/>
                    </a:lnTo>
                    <a:lnTo>
                      <a:pt x="67" y="76"/>
                    </a:lnTo>
                    <a:lnTo>
                      <a:pt x="69" y="76"/>
                    </a:lnTo>
                    <a:lnTo>
                      <a:pt x="69" y="78"/>
                    </a:lnTo>
                    <a:lnTo>
                      <a:pt x="73" y="82"/>
                    </a:lnTo>
                    <a:lnTo>
                      <a:pt x="73" y="82"/>
                    </a:lnTo>
                    <a:lnTo>
                      <a:pt x="75" y="84"/>
                    </a:lnTo>
                    <a:lnTo>
                      <a:pt x="75" y="82"/>
                    </a:lnTo>
                    <a:lnTo>
                      <a:pt x="77" y="76"/>
                    </a:lnTo>
                    <a:lnTo>
                      <a:pt x="77" y="76"/>
                    </a:lnTo>
                    <a:lnTo>
                      <a:pt x="77" y="70"/>
                    </a:lnTo>
                    <a:lnTo>
                      <a:pt x="73" y="68"/>
                    </a:lnTo>
                    <a:lnTo>
                      <a:pt x="73" y="68"/>
                    </a:lnTo>
                    <a:lnTo>
                      <a:pt x="73" y="66"/>
                    </a:lnTo>
                    <a:lnTo>
                      <a:pt x="73" y="66"/>
                    </a:lnTo>
                    <a:lnTo>
                      <a:pt x="75" y="64"/>
                    </a:lnTo>
                    <a:lnTo>
                      <a:pt x="75" y="60"/>
                    </a:lnTo>
                    <a:lnTo>
                      <a:pt x="75" y="60"/>
                    </a:lnTo>
                    <a:lnTo>
                      <a:pt x="73" y="58"/>
                    </a:lnTo>
                    <a:lnTo>
                      <a:pt x="73" y="54"/>
                    </a:lnTo>
                    <a:lnTo>
                      <a:pt x="73" y="54"/>
                    </a:lnTo>
                    <a:lnTo>
                      <a:pt x="73" y="50"/>
                    </a:lnTo>
                    <a:lnTo>
                      <a:pt x="73" y="46"/>
                    </a:lnTo>
                    <a:lnTo>
                      <a:pt x="73" y="46"/>
                    </a:lnTo>
                    <a:lnTo>
                      <a:pt x="71" y="42"/>
                    </a:lnTo>
                    <a:lnTo>
                      <a:pt x="67" y="40"/>
                    </a:lnTo>
                    <a:lnTo>
                      <a:pt x="67" y="40"/>
                    </a:lnTo>
                    <a:lnTo>
                      <a:pt x="67" y="40"/>
                    </a:lnTo>
                    <a:lnTo>
                      <a:pt x="67" y="38"/>
                    </a:lnTo>
                    <a:lnTo>
                      <a:pt x="69" y="38"/>
                    </a:lnTo>
                    <a:lnTo>
                      <a:pt x="69" y="38"/>
                    </a:lnTo>
                    <a:lnTo>
                      <a:pt x="67" y="32"/>
                    </a:lnTo>
                    <a:lnTo>
                      <a:pt x="67" y="32"/>
                    </a:lnTo>
                    <a:lnTo>
                      <a:pt x="69" y="28"/>
                    </a:lnTo>
                    <a:lnTo>
                      <a:pt x="73" y="26"/>
                    </a:lnTo>
                    <a:lnTo>
                      <a:pt x="73" y="26"/>
                    </a:lnTo>
                    <a:lnTo>
                      <a:pt x="77" y="26"/>
                    </a:lnTo>
                    <a:lnTo>
                      <a:pt x="79" y="26"/>
                    </a:lnTo>
                    <a:lnTo>
                      <a:pt x="81" y="16"/>
                    </a:lnTo>
                    <a:lnTo>
                      <a:pt x="81" y="16"/>
                    </a:lnTo>
                    <a:lnTo>
                      <a:pt x="73" y="14"/>
                    </a:lnTo>
                    <a:lnTo>
                      <a:pt x="73" y="14"/>
                    </a:lnTo>
                    <a:lnTo>
                      <a:pt x="69" y="14"/>
                    </a:lnTo>
                    <a:lnTo>
                      <a:pt x="65" y="16"/>
                    </a:lnTo>
                    <a:lnTo>
                      <a:pt x="65" y="16"/>
                    </a:lnTo>
                    <a:lnTo>
                      <a:pt x="63" y="16"/>
                    </a:lnTo>
                    <a:lnTo>
                      <a:pt x="63" y="14"/>
                    </a:lnTo>
                    <a:lnTo>
                      <a:pt x="63" y="10"/>
                    </a:lnTo>
                    <a:lnTo>
                      <a:pt x="63" y="10"/>
                    </a:lnTo>
                    <a:lnTo>
                      <a:pt x="63" y="0"/>
                    </a:lnTo>
                    <a:lnTo>
                      <a:pt x="63" y="0"/>
                    </a:lnTo>
                    <a:lnTo>
                      <a:pt x="59" y="0"/>
                    </a:lnTo>
                    <a:lnTo>
                      <a:pt x="53" y="0"/>
                    </a:lnTo>
                    <a:lnTo>
                      <a:pt x="53" y="0"/>
                    </a:lnTo>
                    <a:lnTo>
                      <a:pt x="51" y="0"/>
                    </a:lnTo>
                    <a:lnTo>
                      <a:pt x="49" y="0"/>
                    </a:lnTo>
                    <a:lnTo>
                      <a:pt x="45" y="0"/>
                    </a:lnTo>
                    <a:lnTo>
                      <a:pt x="45" y="0"/>
                    </a:lnTo>
                    <a:lnTo>
                      <a:pt x="41" y="2"/>
                    </a:lnTo>
                    <a:lnTo>
                      <a:pt x="39" y="2"/>
                    </a:lnTo>
                    <a:lnTo>
                      <a:pt x="37" y="22"/>
                    </a:lnTo>
                    <a:lnTo>
                      <a:pt x="10" y="20"/>
                    </a:lnTo>
                    <a:lnTo>
                      <a:pt x="10" y="20"/>
                    </a:lnTo>
                    <a:lnTo>
                      <a:pt x="8" y="22"/>
                    </a:lnTo>
                    <a:lnTo>
                      <a:pt x="8" y="22"/>
                    </a:lnTo>
                    <a:lnTo>
                      <a:pt x="8" y="24"/>
                    </a:lnTo>
                    <a:lnTo>
                      <a:pt x="8" y="24"/>
                    </a:lnTo>
                    <a:lnTo>
                      <a:pt x="8" y="28"/>
                    </a:lnTo>
                    <a:lnTo>
                      <a:pt x="8" y="28"/>
                    </a:lnTo>
                    <a:lnTo>
                      <a:pt x="10" y="30"/>
                    </a:lnTo>
                    <a:lnTo>
                      <a:pt x="10" y="30"/>
                    </a:lnTo>
                    <a:lnTo>
                      <a:pt x="12" y="38"/>
                    </a:lnTo>
                    <a:lnTo>
                      <a:pt x="12" y="38"/>
                    </a:lnTo>
                    <a:lnTo>
                      <a:pt x="6" y="38"/>
                    </a:lnTo>
                    <a:lnTo>
                      <a:pt x="6" y="38"/>
                    </a:lnTo>
                    <a:lnTo>
                      <a:pt x="6" y="40"/>
                    </a:lnTo>
                    <a:lnTo>
                      <a:pt x="6" y="40"/>
                    </a:lnTo>
                    <a:lnTo>
                      <a:pt x="8" y="42"/>
                    </a:lnTo>
                    <a:lnTo>
                      <a:pt x="10" y="42"/>
                    </a:lnTo>
                    <a:lnTo>
                      <a:pt x="8" y="44"/>
                    </a:lnTo>
                    <a:lnTo>
                      <a:pt x="6" y="44"/>
                    </a:lnTo>
                    <a:lnTo>
                      <a:pt x="6" y="44"/>
                    </a:lnTo>
                    <a:lnTo>
                      <a:pt x="8" y="46"/>
                    </a:lnTo>
                    <a:lnTo>
                      <a:pt x="8" y="46"/>
                    </a:lnTo>
                    <a:lnTo>
                      <a:pt x="6" y="54"/>
                    </a:lnTo>
                    <a:lnTo>
                      <a:pt x="4" y="60"/>
                    </a:lnTo>
                    <a:lnTo>
                      <a:pt x="4" y="60"/>
                    </a:lnTo>
                    <a:lnTo>
                      <a:pt x="0" y="60"/>
                    </a:lnTo>
                    <a:lnTo>
                      <a:pt x="0" y="60"/>
                    </a:lnTo>
                    <a:lnTo>
                      <a:pt x="0" y="64"/>
                    </a:lnTo>
                    <a:lnTo>
                      <a:pt x="0" y="64"/>
                    </a:lnTo>
                    <a:lnTo>
                      <a:pt x="4" y="66"/>
                    </a:lnTo>
                    <a:lnTo>
                      <a:pt x="4" y="66"/>
                    </a:lnTo>
                    <a:lnTo>
                      <a:pt x="2" y="68"/>
                    </a:lnTo>
                    <a:lnTo>
                      <a:pt x="4" y="70"/>
                    </a:lnTo>
                    <a:lnTo>
                      <a:pt x="4" y="70"/>
                    </a:lnTo>
                    <a:lnTo>
                      <a:pt x="8" y="70"/>
                    </a:lnTo>
                    <a:lnTo>
                      <a:pt x="8" y="70"/>
                    </a:lnTo>
                    <a:lnTo>
                      <a:pt x="8" y="74"/>
                    </a:lnTo>
                    <a:lnTo>
                      <a:pt x="8" y="74"/>
                    </a:lnTo>
                    <a:lnTo>
                      <a:pt x="10" y="74"/>
                    </a:lnTo>
                    <a:lnTo>
                      <a:pt x="10" y="76"/>
                    </a:lnTo>
                    <a:lnTo>
                      <a:pt x="10" y="76"/>
                    </a:lnTo>
                    <a:lnTo>
                      <a:pt x="6" y="76"/>
                    </a:lnTo>
                    <a:lnTo>
                      <a:pt x="6" y="76"/>
                    </a:lnTo>
                    <a:lnTo>
                      <a:pt x="6" y="78"/>
                    </a:lnTo>
                    <a:lnTo>
                      <a:pt x="6" y="78"/>
                    </a:lnTo>
                    <a:lnTo>
                      <a:pt x="26" y="98"/>
                    </a:lnTo>
                    <a:lnTo>
                      <a:pt x="26" y="98"/>
                    </a:lnTo>
                    <a:lnTo>
                      <a:pt x="26" y="100"/>
                    </a:lnTo>
                    <a:lnTo>
                      <a:pt x="26" y="104"/>
                    </a:lnTo>
                    <a:lnTo>
                      <a:pt x="26" y="104"/>
                    </a:lnTo>
                    <a:lnTo>
                      <a:pt x="29" y="106"/>
                    </a:lnTo>
                    <a:lnTo>
                      <a:pt x="31" y="108"/>
                    </a:lnTo>
                    <a:lnTo>
                      <a:pt x="31" y="10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4" name="Freeform 191"/>
              <p:cNvSpPr>
                <a:spLocks noChangeAspect="1"/>
              </p:cNvSpPr>
              <p:nvPr/>
            </p:nvSpPr>
            <p:spPr bwMode="gray">
              <a:xfrm>
                <a:off x="5132365" y="4111776"/>
                <a:ext cx="13601" cy="16449"/>
              </a:xfrm>
              <a:custGeom>
                <a:avLst/>
                <a:gdLst/>
                <a:ahLst/>
                <a:cxnLst>
                  <a:cxn ang="0">
                    <a:pos x="6" y="0"/>
                  </a:cxn>
                  <a:cxn ang="0">
                    <a:pos x="6" y="0"/>
                  </a:cxn>
                  <a:cxn ang="0">
                    <a:pos x="8" y="2"/>
                  </a:cxn>
                  <a:cxn ang="0">
                    <a:pos x="8" y="2"/>
                  </a:cxn>
                  <a:cxn ang="0">
                    <a:pos x="8" y="6"/>
                  </a:cxn>
                  <a:cxn ang="0">
                    <a:pos x="4" y="10"/>
                  </a:cxn>
                  <a:cxn ang="0">
                    <a:pos x="4" y="10"/>
                  </a:cxn>
                  <a:cxn ang="0">
                    <a:pos x="0" y="6"/>
                  </a:cxn>
                  <a:cxn ang="0">
                    <a:pos x="0" y="2"/>
                  </a:cxn>
                  <a:cxn ang="0">
                    <a:pos x="0" y="0"/>
                  </a:cxn>
                  <a:cxn ang="0">
                    <a:pos x="6" y="0"/>
                  </a:cxn>
                  <a:cxn ang="0">
                    <a:pos x="6" y="0"/>
                  </a:cxn>
                </a:cxnLst>
                <a:rect l="0" t="0" r="r" b="b"/>
                <a:pathLst>
                  <a:path w="8" h="10">
                    <a:moveTo>
                      <a:pt x="6" y="0"/>
                    </a:moveTo>
                    <a:lnTo>
                      <a:pt x="6" y="0"/>
                    </a:lnTo>
                    <a:lnTo>
                      <a:pt x="8" y="2"/>
                    </a:lnTo>
                    <a:lnTo>
                      <a:pt x="8" y="2"/>
                    </a:lnTo>
                    <a:lnTo>
                      <a:pt x="8" y="6"/>
                    </a:lnTo>
                    <a:lnTo>
                      <a:pt x="4" y="10"/>
                    </a:lnTo>
                    <a:lnTo>
                      <a:pt x="4" y="10"/>
                    </a:lnTo>
                    <a:lnTo>
                      <a:pt x="0" y="6"/>
                    </a:lnTo>
                    <a:lnTo>
                      <a:pt x="0" y="2"/>
                    </a:lnTo>
                    <a:lnTo>
                      <a:pt x="0" y="0"/>
                    </a:lnTo>
                    <a:lnTo>
                      <a:pt x="6" y="0"/>
                    </a:lnTo>
                    <a:lnTo>
                      <a:pt x="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5" name="Freeform 192"/>
              <p:cNvSpPr>
                <a:spLocks noChangeAspect="1"/>
              </p:cNvSpPr>
              <p:nvPr/>
            </p:nvSpPr>
            <p:spPr bwMode="gray">
              <a:xfrm>
                <a:off x="5030358" y="4019658"/>
                <a:ext cx="353624" cy="292804"/>
              </a:xfrm>
              <a:custGeom>
                <a:avLst/>
                <a:gdLst/>
                <a:ahLst/>
                <a:cxnLst>
                  <a:cxn ang="0">
                    <a:pos x="134" y="74"/>
                  </a:cxn>
                  <a:cxn ang="0">
                    <a:pos x="142" y="84"/>
                  </a:cxn>
                  <a:cxn ang="0">
                    <a:pos x="148" y="92"/>
                  </a:cxn>
                  <a:cxn ang="0">
                    <a:pos x="190" y="112"/>
                  </a:cxn>
                  <a:cxn ang="0">
                    <a:pos x="156" y="166"/>
                  </a:cxn>
                  <a:cxn ang="0">
                    <a:pos x="134" y="174"/>
                  </a:cxn>
                  <a:cxn ang="0">
                    <a:pos x="124" y="176"/>
                  </a:cxn>
                  <a:cxn ang="0">
                    <a:pos x="116" y="172"/>
                  </a:cxn>
                  <a:cxn ang="0">
                    <a:pos x="112" y="172"/>
                  </a:cxn>
                  <a:cxn ang="0">
                    <a:pos x="106" y="174"/>
                  </a:cxn>
                  <a:cxn ang="0">
                    <a:pos x="102" y="178"/>
                  </a:cxn>
                  <a:cxn ang="0">
                    <a:pos x="94" y="178"/>
                  </a:cxn>
                  <a:cxn ang="0">
                    <a:pos x="86" y="178"/>
                  </a:cxn>
                  <a:cxn ang="0">
                    <a:pos x="76" y="176"/>
                  </a:cxn>
                  <a:cxn ang="0">
                    <a:pos x="66" y="176"/>
                  </a:cxn>
                  <a:cxn ang="0">
                    <a:pos x="62" y="176"/>
                  </a:cxn>
                  <a:cxn ang="0">
                    <a:pos x="48" y="176"/>
                  </a:cxn>
                  <a:cxn ang="0">
                    <a:pos x="46" y="168"/>
                  </a:cxn>
                  <a:cxn ang="0">
                    <a:pos x="44" y="164"/>
                  </a:cxn>
                  <a:cxn ang="0">
                    <a:pos x="34" y="162"/>
                  </a:cxn>
                  <a:cxn ang="0">
                    <a:pos x="32" y="158"/>
                  </a:cxn>
                  <a:cxn ang="0">
                    <a:pos x="26" y="144"/>
                  </a:cxn>
                  <a:cxn ang="0">
                    <a:pos x="22" y="138"/>
                  </a:cxn>
                  <a:cxn ang="0">
                    <a:pos x="16" y="130"/>
                  </a:cxn>
                  <a:cxn ang="0">
                    <a:pos x="10" y="124"/>
                  </a:cxn>
                  <a:cxn ang="0">
                    <a:pos x="0" y="122"/>
                  </a:cxn>
                  <a:cxn ang="0">
                    <a:pos x="2" y="114"/>
                  </a:cxn>
                  <a:cxn ang="0">
                    <a:pos x="12" y="112"/>
                  </a:cxn>
                  <a:cxn ang="0">
                    <a:pos x="14" y="108"/>
                  </a:cxn>
                  <a:cxn ang="0">
                    <a:pos x="16" y="88"/>
                  </a:cxn>
                  <a:cxn ang="0">
                    <a:pos x="20" y="82"/>
                  </a:cxn>
                  <a:cxn ang="0">
                    <a:pos x="22" y="72"/>
                  </a:cxn>
                  <a:cxn ang="0">
                    <a:pos x="28" y="60"/>
                  </a:cxn>
                  <a:cxn ang="0">
                    <a:pos x="34" y="54"/>
                  </a:cxn>
                  <a:cxn ang="0">
                    <a:pos x="38" y="46"/>
                  </a:cxn>
                  <a:cxn ang="0">
                    <a:pos x="42" y="34"/>
                  </a:cxn>
                  <a:cxn ang="0">
                    <a:pos x="50" y="22"/>
                  </a:cxn>
                  <a:cxn ang="0">
                    <a:pos x="64" y="8"/>
                  </a:cxn>
                  <a:cxn ang="0">
                    <a:pos x="68" y="8"/>
                  </a:cxn>
                  <a:cxn ang="0">
                    <a:pos x="72" y="12"/>
                  </a:cxn>
                  <a:cxn ang="0">
                    <a:pos x="76" y="0"/>
                  </a:cxn>
                  <a:cxn ang="0">
                    <a:pos x="84" y="4"/>
                  </a:cxn>
                  <a:cxn ang="0">
                    <a:pos x="88" y="8"/>
                  </a:cxn>
                  <a:cxn ang="0">
                    <a:pos x="94" y="8"/>
                  </a:cxn>
                  <a:cxn ang="0">
                    <a:pos x="102" y="12"/>
                  </a:cxn>
                  <a:cxn ang="0">
                    <a:pos x="114" y="18"/>
                  </a:cxn>
                  <a:cxn ang="0">
                    <a:pos x="122" y="30"/>
                  </a:cxn>
                  <a:cxn ang="0">
                    <a:pos x="130" y="38"/>
                  </a:cxn>
                  <a:cxn ang="0">
                    <a:pos x="124" y="48"/>
                  </a:cxn>
                  <a:cxn ang="0">
                    <a:pos x="122" y="56"/>
                  </a:cxn>
                  <a:cxn ang="0">
                    <a:pos x="120" y="64"/>
                  </a:cxn>
                  <a:cxn ang="0">
                    <a:pos x="128" y="68"/>
                  </a:cxn>
                  <a:cxn ang="0">
                    <a:pos x="138" y="68"/>
                  </a:cxn>
                </a:cxnLst>
                <a:rect l="0" t="0" r="r" b="b"/>
                <a:pathLst>
                  <a:path w="208" h="178">
                    <a:moveTo>
                      <a:pt x="138" y="68"/>
                    </a:moveTo>
                    <a:lnTo>
                      <a:pt x="134" y="74"/>
                    </a:lnTo>
                    <a:lnTo>
                      <a:pt x="134" y="74"/>
                    </a:lnTo>
                    <a:lnTo>
                      <a:pt x="140" y="80"/>
                    </a:lnTo>
                    <a:lnTo>
                      <a:pt x="140" y="80"/>
                    </a:lnTo>
                    <a:lnTo>
                      <a:pt x="142" y="84"/>
                    </a:lnTo>
                    <a:lnTo>
                      <a:pt x="144" y="88"/>
                    </a:lnTo>
                    <a:lnTo>
                      <a:pt x="144" y="88"/>
                    </a:lnTo>
                    <a:lnTo>
                      <a:pt x="148" y="92"/>
                    </a:lnTo>
                    <a:lnTo>
                      <a:pt x="154" y="96"/>
                    </a:lnTo>
                    <a:lnTo>
                      <a:pt x="154" y="96"/>
                    </a:lnTo>
                    <a:lnTo>
                      <a:pt x="190" y="112"/>
                    </a:lnTo>
                    <a:lnTo>
                      <a:pt x="208" y="112"/>
                    </a:lnTo>
                    <a:lnTo>
                      <a:pt x="172" y="166"/>
                    </a:lnTo>
                    <a:lnTo>
                      <a:pt x="156" y="166"/>
                    </a:lnTo>
                    <a:lnTo>
                      <a:pt x="150" y="170"/>
                    </a:lnTo>
                    <a:lnTo>
                      <a:pt x="138" y="170"/>
                    </a:lnTo>
                    <a:lnTo>
                      <a:pt x="134" y="174"/>
                    </a:lnTo>
                    <a:lnTo>
                      <a:pt x="134" y="174"/>
                    </a:lnTo>
                    <a:lnTo>
                      <a:pt x="128" y="174"/>
                    </a:lnTo>
                    <a:lnTo>
                      <a:pt x="124" y="176"/>
                    </a:lnTo>
                    <a:lnTo>
                      <a:pt x="120" y="174"/>
                    </a:lnTo>
                    <a:lnTo>
                      <a:pt x="120" y="174"/>
                    </a:lnTo>
                    <a:lnTo>
                      <a:pt x="116" y="172"/>
                    </a:lnTo>
                    <a:lnTo>
                      <a:pt x="116" y="170"/>
                    </a:lnTo>
                    <a:lnTo>
                      <a:pt x="116" y="170"/>
                    </a:lnTo>
                    <a:lnTo>
                      <a:pt x="112" y="172"/>
                    </a:lnTo>
                    <a:lnTo>
                      <a:pt x="110" y="174"/>
                    </a:lnTo>
                    <a:lnTo>
                      <a:pt x="106" y="174"/>
                    </a:lnTo>
                    <a:lnTo>
                      <a:pt x="106" y="174"/>
                    </a:lnTo>
                    <a:lnTo>
                      <a:pt x="104" y="174"/>
                    </a:lnTo>
                    <a:lnTo>
                      <a:pt x="102" y="174"/>
                    </a:lnTo>
                    <a:lnTo>
                      <a:pt x="102" y="178"/>
                    </a:lnTo>
                    <a:lnTo>
                      <a:pt x="102" y="178"/>
                    </a:lnTo>
                    <a:lnTo>
                      <a:pt x="94" y="178"/>
                    </a:lnTo>
                    <a:lnTo>
                      <a:pt x="94" y="178"/>
                    </a:lnTo>
                    <a:lnTo>
                      <a:pt x="90" y="178"/>
                    </a:lnTo>
                    <a:lnTo>
                      <a:pt x="86" y="178"/>
                    </a:lnTo>
                    <a:lnTo>
                      <a:pt x="86" y="178"/>
                    </a:lnTo>
                    <a:lnTo>
                      <a:pt x="80" y="176"/>
                    </a:lnTo>
                    <a:lnTo>
                      <a:pt x="76" y="176"/>
                    </a:lnTo>
                    <a:lnTo>
                      <a:pt x="76" y="176"/>
                    </a:lnTo>
                    <a:lnTo>
                      <a:pt x="72" y="176"/>
                    </a:lnTo>
                    <a:lnTo>
                      <a:pt x="68" y="178"/>
                    </a:lnTo>
                    <a:lnTo>
                      <a:pt x="66" y="176"/>
                    </a:lnTo>
                    <a:lnTo>
                      <a:pt x="66" y="176"/>
                    </a:lnTo>
                    <a:lnTo>
                      <a:pt x="64" y="176"/>
                    </a:lnTo>
                    <a:lnTo>
                      <a:pt x="62" y="176"/>
                    </a:lnTo>
                    <a:lnTo>
                      <a:pt x="58" y="178"/>
                    </a:lnTo>
                    <a:lnTo>
                      <a:pt x="58" y="178"/>
                    </a:lnTo>
                    <a:lnTo>
                      <a:pt x="48" y="176"/>
                    </a:lnTo>
                    <a:lnTo>
                      <a:pt x="46" y="172"/>
                    </a:lnTo>
                    <a:lnTo>
                      <a:pt x="46" y="172"/>
                    </a:lnTo>
                    <a:lnTo>
                      <a:pt x="46" y="168"/>
                    </a:lnTo>
                    <a:lnTo>
                      <a:pt x="46" y="166"/>
                    </a:lnTo>
                    <a:lnTo>
                      <a:pt x="44" y="164"/>
                    </a:lnTo>
                    <a:lnTo>
                      <a:pt x="44" y="164"/>
                    </a:lnTo>
                    <a:lnTo>
                      <a:pt x="40" y="164"/>
                    </a:lnTo>
                    <a:lnTo>
                      <a:pt x="40" y="164"/>
                    </a:lnTo>
                    <a:lnTo>
                      <a:pt x="34" y="162"/>
                    </a:lnTo>
                    <a:lnTo>
                      <a:pt x="32" y="162"/>
                    </a:lnTo>
                    <a:lnTo>
                      <a:pt x="32" y="158"/>
                    </a:lnTo>
                    <a:lnTo>
                      <a:pt x="32" y="158"/>
                    </a:lnTo>
                    <a:lnTo>
                      <a:pt x="28" y="152"/>
                    </a:lnTo>
                    <a:lnTo>
                      <a:pt x="26" y="144"/>
                    </a:lnTo>
                    <a:lnTo>
                      <a:pt x="26" y="144"/>
                    </a:lnTo>
                    <a:lnTo>
                      <a:pt x="26" y="140"/>
                    </a:lnTo>
                    <a:lnTo>
                      <a:pt x="22" y="138"/>
                    </a:lnTo>
                    <a:lnTo>
                      <a:pt x="22" y="138"/>
                    </a:lnTo>
                    <a:lnTo>
                      <a:pt x="20" y="134"/>
                    </a:lnTo>
                    <a:lnTo>
                      <a:pt x="16" y="130"/>
                    </a:lnTo>
                    <a:lnTo>
                      <a:pt x="16" y="130"/>
                    </a:lnTo>
                    <a:lnTo>
                      <a:pt x="14" y="126"/>
                    </a:lnTo>
                    <a:lnTo>
                      <a:pt x="10" y="124"/>
                    </a:lnTo>
                    <a:lnTo>
                      <a:pt x="10" y="124"/>
                    </a:lnTo>
                    <a:lnTo>
                      <a:pt x="4" y="124"/>
                    </a:lnTo>
                    <a:lnTo>
                      <a:pt x="2" y="124"/>
                    </a:lnTo>
                    <a:lnTo>
                      <a:pt x="0" y="122"/>
                    </a:lnTo>
                    <a:lnTo>
                      <a:pt x="0" y="122"/>
                    </a:lnTo>
                    <a:lnTo>
                      <a:pt x="2" y="114"/>
                    </a:lnTo>
                    <a:lnTo>
                      <a:pt x="2" y="114"/>
                    </a:lnTo>
                    <a:lnTo>
                      <a:pt x="8" y="114"/>
                    </a:lnTo>
                    <a:lnTo>
                      <a:pt x="8" y="114"/>
                    </a:lnTo>
                    <a:lnTo>
                      <a:pt x="12" y="112"/>
                    </a:lnTo>
                    <a:lnTo>
                      <a:pt x="12" y="112"/>
                    </a:lnTo>
                    <a:lnTo>
                      <a:pt x="12" y="112"/>
                    </a:lnTo>
                    <a:lnTo>
                      <a:pt x="14" y="108"/>
                    </a:lnTo>
                    <a:lnTo>
                      <a:pt x="16" y="104"/>
                    </a:lnTo>
                    <a:lnTo>
                      <a:pt x="16" y="104"/>
                    </a:lnTo>
                    <a:lnTo>
                      <a:pt x="16" y="88"/>
                    </a:lnTo>
                    <a:lnTo>
                      <a:pt x="16" y="88"/>
                    </a:lnTo>
                    <a:lnTo>
                      <a:pt x="16" y="86"/>
                    </a:lnTo>
                    <a:lnTo>
                      <a:pt x="20" y="82"/>
                    </a:lnTo>
                    <a:lnTo>
                      <a:pt x="22" y="76"/>
                    </a:lnTo>
                    <a:lnTo>
                      <a:pt x="22" y="72"/>
                    </a:lnTo>
                    <a:lnTo>
                      <a:pt x="22" y="72"/>
                    </a:lnTo>
                    <a:lnTo>
                      <a:pt x="22" y="64"/>
                    </a:lnTo>
                    <a:lnTo>
                      <a:pt x="22" y="64"/>
                    </a:lnTo>
                    <a:lnTo>
                      <a:pt x="28" y="60"/>
                    </a:lnTo>
                    <a:lnTo>
                      <a:pt x="28" y="60"/>
                    </a:lnTo>
                    <a:lnTo>
                      <a:pt x="32" y="58"/>
                    </a:lnTo>
                    <a:lnTo>
                      <a:pt x="34" y="54"/>
                    </a:lnTo>
                    <a:lnTo>
                      <a:pt x="34" y="54"/>
                    </a:lnTo>
                    <a:lnTo>
                      <a:pt x="38" y="46"/>
                    </a:lnTo>
                    <a:lnTo>
                      <a:pt x="38" y="46"/>
                    </a:lnTo>
                    <a:lnTo>
                      <a:pt x="40" y="40"/>
                    </a:lnTo>
                    <a:lnTo>
                      <a:pt x="42" y="34"/>
                    </a:lnTo>
                    <a:lnTo>
                      <a:pt x="42" y="34"/>
                    </a:lnTo>
                    <a:lnTo>
                      <a:pt x="44" y="30"/>
                    </a:lnTo>
                    <a:lnTo>
                      <a:pt x="46" y="26"/>
                    </a:lnTo>
                    <a:lnTo>
                      <a:pt x="50" y="22"/>
                    </a:lnTo>
                    <a:lnTo>
                      <a:pt x="50" y="22"/>
                    </a:lnTo>
                    <a:lnTo>
                      <a:pt x="56" y="10"/>
                    </a:lnTo>
                    <a:lnTo>
                      <a:pt x="64" y="8"/>
                    </a:lnTo>
                    <a:lnTo>
                      <a:pt x="64" y="8"/>
                    </a:lnTo>
                    <a:lnTo>
                      <a:pt x="66" y="8"/>
                    </a:lnTo>
                    <a:lnTo>
                      <a:pt x="68" y="8"/>
                    </a:lnTo>
                    <a:lnTo>
                      <a:pt x="70" y="8"/>
                    </a:lnTo>
                    <a:lnTo>
                      <a:pt x="70" y="8"/>
                    </a:lnTo>
                    <a:lnTo>
                      <a:pt x="72" y="12"/>
                    </a:lnTo>
                    <a:lnTo>
                      <a:pt x="76" y="0"/>
                    </a:lnTo>
                    <a:lnTo>
                      <a:pt x="76" y="0"/>
                    </a:lnTo>
                    <a:lnTo>
                      <a:pt x="76" y="0"/>
                    </a:lnTo>
                    <a:lnTo>
                      <a:pt x="80" y="0"/>
                    </a:lnTo>
                    <a:lnTo>
                      <a:pt x="80" y="0"/>
                    </a:lnTo>
                    <a:lnTo>
                      <a:pt x="84" y="4"/>
                    </a:lnTo>
                    <a:lnTo>
                      <a:pt x="86" y="6"/>
                    </a:lnTo>
                    <a:lnTo>
                      <a:pt x="88" y="8"/>
                    </a:lnTo>
                    <a:lnTo>
                      <a:pt x="88" y="8"/>
                    </a:lnTo>
                    <a:lnTo>
                      <a:pt x="92" y="6"/>
                    </a:lnTo>
                    <a:lnTo>
                      <a:pt x="94" y="6"/>
                    </a:lnTo>
                    <a:lnTo>
                      <a:pt x="94" y="8"/>
                    </a:lnTo>
                    <a:lnTo>
                      <a:pt x="94" y="8"/>
                    </a:lnTo>
                    <a:lnTo>
                      <a:pt x="98" y="10"/>
                    </a:lnTo>
                    <a:lnTo>
                      <a:pt x="102" y="12"/>
                    </a:lnTo>
                    <a:lnTo>
                      <a:pt x="110" y="14"/>
                    </a:lnTo>
                    <a:lnTo>
                      <a:pt x="110" y="14"/>
                    </a:lnTo>
                    <a:lnTo>
                      <a:pt x="114" y="18"/>
                    </a:lnTo>
                    <a:lnTo>
                      <a:pt x="118" y="22"/>
                    </a:lnTo>
                    <a:lnTo>
                      <a:pt x="118" y="22"/>
                    </a:lnTo>
                    <a:lnTo>
                      <a:pt x="122" y="30"/>
                    </a:lnTo>
                    <a:lnTo>
                      <a:pt x="124" y="34"/>
                    </a:lnTo>
                    <a:lnTo>
                      <a:pt x="124" y="34"/>
                    </a:lnTo>
                    <a:lnTo>
                      <a:pt x="130" y="38"/>
                    </a:lnTo>
                    <a:lnTo>
                      <a:pt x="130" y="38"/>
                    </a:lnTo>
                    <a:lnTo>
                      <a:pt x="126" y="44"/>
                    </a:lnTo>
                    <a:lnTo>
                      <a:pt x="124" y="48"/>
                    </a:lnTo>
                    <a:lnTo>
                      <a:pt x="124" y="52"/>
                    </a:lnTo>
                    <a:lnTo>
                      <a:pt x="124" y="52"/>
                    </a:lnTo>
                    <a:lnTo>
                      <a:pt x="122" y="56"/>
                    </a:lnTo>
                    <a:lnTo>
                      <a:pt x="122" y="58"/>
                    </a:lnTo>
                    <a:lnTo>
                      <a:pt x="120" y="62"/>
                    </a:lnTo>
                    <a:lnTo>
                      <a:pt x="120" y="64"/>
                    </a:lnTo>
                    <a:lnTo>
                      <a:pt x="120" y="64"/>
                    </a:lnTo>
                    <a:lnTo>
                      <a:pt x="124" y="68"/>
                    </a:lnTo>
                    <a:lnTo>
                      <a:pt x="128" y="68"/>
                    </a:lnTo>
                    <a:lnTo>
                      <a:pt x="128" y="68"/>
                    </a:lnTo>
                    <a:lnTo>
                      <a:pt x="132" y="66"/>
                    </a:lnTo>
                    <a:lnTo>
                      <a:pt x="138" y="6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6" name="Freeform 194"/>
              <p:cNvSpPr>
                <a:spLocks noChangeAspect="1"/>
              </p:cNvSpPr>
              <p:nvPr/>
            </p:nvSpPr>
            <p:spPr bwMode="gray">
              <a:xfrm>
                <a:off x="5125564" y="3924249"/>
                <a:ext cx="142810" cy="161207"/>
              </a:xfrm>
              <a:custGeom>
                <a:avLst/>
                <a:gdLst/>
                <a:ahLst/>
                <a:cxnLst>
                  <a:cxn ang="0">
                    <a:pos x="22" y="6"/>
                  </a:cxn>
                  <a:cxn ang="0">
                    <a:pos x="14" y="4"/>
                  </a:cxn>
                  <a:cxn ang="0">
                    <a:pos x="10" y="6"/>
                  </a:cxn>
                  <a:cxn ang="0">
                    <a:pos x="10" y="10"/>
                  </a:cxn>
                  <a:cxn ang="0">
                    <a:pos x="8" y="12"/>
                  </a:cxn>
                  <a:cxn ang="0">
                    <a:pos x="6" y="12"/>
                  </a:cxn>
                  <a:cxn ang="0">
                    <a:pos x="6" y="18"/>
                  </a:cxn>
                  <a:cxn ang="0">
                    <a:pos x="4" y="24"/>
                  </a:cxn>
                  <a:cxn ang="0">
                    <a:pos x="4" y="30"/>
                  </a:cxn>
                  <a:cxn ang="0">
                    <a:pos x="0" y="42"/>
                  </a:cxn>
                  <a:cxn ang="0">
                    <a:pos x="0" y="48"/>
                  </a:cxn>
                  <a:cxn ang="0">
                    <a:pos x="0" y="52"/>
                  </a:cxn>
                  <a:cxn ang="0">
                    <a:pos x="0" y="68"/>
                  </a:cxn>
                  <a:cxn ang="0">
                    <a:pos x="8" y="66"/>
                  </a:cxn>
                  <a:cxn ang="0">
                    <a:pos x="12" y="64"/>
                  </a:cxn>
                  <a:cxn ang="0">
                    <a:pos x="14" y="66"/>
                  </a:cxn>
                  <a:cxn ang="0">
                    <a:pos x="18" y="58"/>
                  </a:cxn>
                  <a:cxn ang="0">
                    <a:pos x="20" y="56"/>
                  </a:cxn>
                  <a:cxn ang="0">
                    <a:pos x="24" y="58"/>
                  </a:cxn>
                  <a:cxn ang="0">
                    <a:pos x="30" y="64"/>
                  </a:cxn>
                  <a:cxn ang="0">
                    <a:pos x="32" y="66"/>
                  </a:cxn>
                  <a:cxn ang="0">
                    <a:pos x="38" y="64"/>
                  </a:cxn>
                  <a:cxn ang="0">
                    <a:pos x="38" y="66"/>
                  </a:cxn>
                  <a:cxn ang="0">
                    <a:pos x="46" y="70"/>
                  </a:cxn>
                  <a:cxn ang="0">
                    <a:pos x="54" y="72"/>
                  </a:cxn>
                  <a:cxn ang="0">
                    <a:pos x="62" y="82"/>
                  </a:cxn>
                  <a:cxn ang="0">
                    <a:pos x="66" y="88"/>
                  </a:cxn>
                  <a:cxn ang="0">
                    <a:pos x="68" y="92"/>
                  </a:cxn>
                  <a:cxn ang="0">
                    <a:pos x="76" y="94"/>
                  </a:cxn>
                  <a:cxn ang="0">
                    <a:pos x="84" y="92"/>
                  </a:cxn>
                  <a:cxn ang="0">
                    <a:pos x="78" y="86"/>
                  </a:cxn>
                  <a:cxn ang="0">
                    <a:pos x="76" y="86"/>
                  </a:cxn>
                  <a:cxn ang="0">
                    <a:pos x="74" y="76"/>
                  </a:cxn>
                  <a:cxn ang="0">
                    <a:pos x="70" y="74"/>
                  </a:cxn>
                  <a:cxn ang="0">
                    <a:pos x="64" y="72"/>
                  </a:cxn>
                  <a:cxn ang="0">
                    <a:pos x="60" y="60"/>
                  </a:cxn>
                  <a:cxn ang="0">
                    <a:pos x="58" y="58"/>
                  </a:cxn>
                  <a:cxn ang="0">
                    <a:pos x="52" y="52"/>
                  </a:cxn>
                  <a:cxn ang="0">
                    <a:pos x="48" y="52"/>
                  </a:cxn>
                  <a:cxn ang="0">
                    <a:pos x="46" y="52"/>
                  </a:cxn>
                  <a:cxn ang="0">
                    <a:pos x="44" y="46"/>
                  </a:cxn>
                  <a:cxn ang="0">
                    <a:pos x="42" y="46"/>
                  </a:cxn>
                  <a:cxn ang="0">
                    <a:pos x="42" y="48"/>
                  </a:cxn>
                  <a:cxn ang="0">
                    <a:pos x="38" y="44"/>
                  </a:cxn>
                  <a:cxn ang="0">
                    <a:pos x="38" y="38"/>
                  </a:cxn>
                  <a:cxn ang="0">
                    <a:pos x="34" y="22"/>
                  </a:cxn>
                  <a:cxn ang="0">
                    <a:pos x="36" y="16"/>
                  </a:cxn>
                  <a:cxn ang="0">
                    <a:pos x="32" y="10"/>
                  </a:cxn>
                  <a:cxn ang="0">
                    <a:pos x="32" y="4"/>
                  </a:cxn>
                  <a:cxn ang="0">
                    <a:pos x="28" y="2"/>
                  </a:cxn>
                  <a:cxn ang="0">
                    <a:pos x="26" y="0"/>
                  </a:cxn>
                </a:cxnLst>
                <a:rect l="0" t="0" r="r" b="b"/>
                <a:pathLst>
                  <a:path w="84" h="98">
                    <a:moveTo>
                      <a:pt x="26" y="0"/>
                    </a:moveTo>
                    <a:lnTo>
                      <a:pt x="22" y="6"/>
                    </a:lnTo>
                    <a:lnTo>
                      <a:pt x="14" y="4"/>
                    </a:lnTo>
                    <a:lnTo>
                      <a:pt x="14" y="4"/>
                    </a:lnTo>
                    <a:lnTo>
                      <a:pt x="12" y="4"/>
                    </a:lnTo>
                    <a:lnTo>
                      <a:pt x="10" y="6"/>
                    </a:lnTo>
                    <a:lnTo>
                      <a:pt x="10" y="6"/>
                    </a:lnTo>
                    <a:lnTo>
                      <a:pt x="10" y="10"/>
                    </a:lnTo>
                    <a:lnTo>
                      <a:pt x="8" y="12"/>
                    </a:lnTo>
                    <a:lnTo>
                      <a:pt x="8" y="12"/>
                    </a:lnTo>
                    <a:lnTo>
                      <a:pt x="8" y="12"/>
                    </a:lnTo>
                    <a:lnTo>
                      <a:pt x="6" y="12"/>
                    </a:lnTo>
                    <a:lnTo>
                      <a:pt x="6" y="14"/>
                    </a:lnTo>
                    <a:lnTo>
                      <a:pt x="6" y="18"/>
                    </a:lnTo>
                    <a:lnTo>
                      <a:pt x="6" y="18"/>
                    </a:lnTo>
                    <a:lnTo>
                      <a:pt x="4" y="24"/>
                    </a:lnTo>
                    <a:lnTo>
                      <a:pt x="4" y="30"/>
                    </a:lnTo>
                    <a:lnTo>
                      <a:pt x="4" y="30"/>
                    </a:lnTo>
                    <a:lnTo>
                      <a:pt x="4" y="36"/>
                    </a:lnTo>
                    <a:lnTo>
                      <a:pt x="0" y="42"/>
                    </a:lnTo>
                    <a:lnTo>
                      <a:pt x="0" y="42"/>
                    </a:lnTo>
                    <a:lnTo>
                      <a:pt x="0" y="48"/>
                    </a:lnTo>
                    <a:lnTo>
                      <a:pt x="0" y="52"/>
                    </a:lnTo>
                    <a:lnTo>
                      <a:pt x="0" y="52"/>
                    </a:lnTo>
                    <a:lnTo>
                      <a:pt x="0" y="62"/>
                    </a:lnTo>
                    <a:lnTo>
                      <a:pt x="0" y="68"/>
                    </a:lnTo>
                    <a:lnTo>
                      <a:pt x="8" y="66"/>
                    </a:lnTo>
                    <a:lnTo>
                      <a:pt x="8" y="66"/>
                    </a:lnTo>
                    <a:lnTo>
                      <a:pt x="10" y="64"/>
                    </a:lnTo>
                    <a:lnTo>
                      <a:pt x="12" y="64"/>
                    </a:lnTo>
                    <a:lnTo>
                      <a:pt x="14" y="66"/>
                    </a:lnTo>
                    <a:lnTo>
                      <a:pt x="14" y="66"/>
                    </a:lnTo>
                    <a:lnTo>
                      <a:pt x="16" y="70"/>
                    </a:lnTo>
                    <a:lnTo>
                      <a:pt x="18" y="58"/>
                    </a:lnTo>
                    <a:lnTo>
                      <a:pt x="18" y="58"/>
                    </a:lnTo>
                    <a:lnTo>
                      <a:pt x="20" y="56"/>
                    </a:lnTo>
                    <a:lnTo>
                      <a:pt x="24" y="58"/>
                    </a:lnTo>
                    <a:lnTo>
                      <a:pt x="24" y="58"/>
                    </a:lnTo>
                    <a:lnTo>
                      <a:pt x="28" y="62"/>
                    </a:lnTo>
                    <a:lnTo>
                      <a:pt x="30" y="64"/>
                    </a:lnTo>
                    <a:lnTo>
                      <a:pt x="32" y="66"/>
                    </a:lnTo>
                    <a:lnTo>
                      <a:pt x="32" y="66"/>
                    </a:lnTo>
                    <a:lnTo>
                      <a:pt x="36" y="64"/>
                    </a:lnTo>
                    <a:lnTo>
                      <a:pt x="38" y="64"/>
                    </a:lnTo>
                    <a:lnTo>
                      <a:pt x="38" y="66"/>
                    </a:lnTo>
                    <a:lnTo>
                      <a:pt x="38" y="66"/>
                    </a:lnTo>
                    <a:lnTo>
                      <a:pt x="42" y="68"/>
                    </a:lnTo>
                    <a:lnTo>
                      <a:pt x="46" y="70"/>
                    </a:lnTo>
                    <a:lnTo>
                      <a:pt x="54" y="72"/>
                    </a:lnTo>
                    <a:lnTo>
                      <a:pt x="54" y="72"/>
                    </a:lnTo>
                    <a:lnTo>
                      <a:pt x="58" y="76"/>
                    </a:lnTo>
                    <a:lnTo>
                      <a:pt x="62" y="82"/>
                    </a:lnTo>
                    <a:lnTo>
                      <a:pt x="62" y="82"/>
                    </a:lnTo>
                    <a:lnTo>
                      <a:pt x="66" y="88"/>
                    </a:lnTo>
                    <a:lnTo>
                      <a:pt x="68" y="92"/>
                    </a:lnTo>
                    <a:lnTo>
                      <a:pt x="68" y="92"/>
                    </a:lnTo>
                    <a:lnTo>
                      <a:pt x="74" y="96"/>
                    </a:lnTo>
                    <a:lnTo>
                      <a:pt x="76" y="94"/>
                    </a:lnTo>
                    <a:lnTo>
                      <a:pt x="80" y="98"/>
                    </a:lnTo>
                    <a:lnTo>
                      <a:pt x="84" y="92"/>
                    </a:lnTo>
                    <a:lnTo>
                      <a:pt x="84" y="90"/>
                    </a:lnTo>
                    <a:lnTo>
                      <a:pt x="78" y="86"/>
                    </a:lnTo>
                    <a:lnTo>
                      <a:pt x="76" y="86"/>
                    </a:lnTo>
                    <a:lnTo>
                      <a:pt x="76" y="86"/>
                    </a:lnTo>
                    <a:lnTo>
                      <a:pt x="74" y="82"/>
                    </a:lnTo>
                    <a:lnTo>
                      <a:pt x="74" y="76"/>
                    </a:lnTo>
                    <a:lnTo>
                      <a:pt x="74" y="76"/>
                    </a:lnTo>
                    <a:lnTo>
                      <a:pt x="70" y="74"/>
                    </a:lnTo>
                    <a:lnTo>
                      <a:pt x="64" y="72"/>
                    </a:lnTo>
                    <a:lnTo>
                      <a:pt x="64" y="72"/>
                    </a:lnTo>
                    <a:lnTo>
                      <a:pt x="62" y="66"/>
                    </a:lnTo>
                    <a:lnTo>
                      <a:pt x="60" y="60"/>
                    </a:lnTo>
                    <a:lnTo>
                      <a:pt x="60" y="60"/>
                    </a:lnTo>
                    <a:lnTo>
                      <a:pt x="58" y="58"/>
                    </a:lnTo>
                    <a:lnTo>
                      <a:pt x="52" y="58"/>
                    </a:lnTo>
                    <a:lnTo>
                      <a:pt x="52" y="52"/>
                    </a:lnTo>
                    <a:lnTo>
                      <a:pt x="52" y="52"/>
                    </a:lnTo>
                    <a:lnTo>
                      <a:pt x="48" y="52"/>
                    </a:lnTo>
                    <a:lnTo>
                      <a:pt x="46" y="52"/>
                    </a:lnTo>
                    <a:lnTo>
                      <a:pt x="46" y="52"/>
                    </a:lnTo>
                    <a:lnTo>
                      <a:pt x="46" y="48"/>
                    </a:lnTo>
                    <a:lnTo>
                      <a:pt x="44" y="46"/>
                    </a:lnTo>
                    <a:lnTo>
                      <a:pt x="44" y="46"/>
                    </a:lnTo>
                    <a:lnTo>
                      <a:pt x="42" y="46"/>
                    </a:lnTo>
                    <a:lnTo>
                      <a:pt x="42" y="48"/>
                    </a:lnTo>
                    <a:lnTo>
                      <a:pt x="42" y="48"/>
                    </a:lnTo>
                    <a:lnTo>
                      <a:pt x="38" y="44"/>
                    </a:lnTo>
                    <a:lnTo>
                      <a:pt x="38" y="44"/>
                    </a:lnTo>
                    <a:lnTo>
                      <a:pt x="38" y="38"/>
                    </a:lnTo>
                    <a:lnTo>
                      <a:pt x="38" y="38"/>
                    </a:lnTo>
                    <a:lnTo>
                      <a:pt x="34" y="22"/>
                    </a:lnTo>
                    <a:lnTo>
                      <a:pt x="34" y="22"/>
                    </a:lnTo>
                    <a:lnTo>
                      <a:pt x="34" y="18"/>
                    </a:lnTo>
                    <a:lnTo>
                      <a:pt x="36" y="16"/>
                    </a:lnTo>
                    <a:lnTo>
                      <a:pt x="36" y="16"/>
                    </a:lnTo>
                    <a:lnTo>
                      <a:pt x="32" y="10"/>
                    </a:lnTo>
                    <a:lnTo>
                      <a:pt x="32" y="10"/>
                    </a:lnTo>
                    <a:lnTo>
                      <a:pt x="32" y="4"/>
                    </a:lnTo>
                    <a:lnTo>
                      <a:pt x="32" y="4"/>
                    </a:lnTo>
                    <a:lnTo>
                      <a:pt x="28" y="2"/>
                    </a:lnTo>
                    <a:lnTo>
                      <a:pt x="26" y="0"/>
                    </a:lnTo>
                    <a:lnTo>
                      <a:pt x="26"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7" name="Freeform 195"/>
              <p:cNvSpPr>
                <a:spLocks noChangeAspect="1"/>
              </p:cNvSpPr>
              <p:nvPr/>
            </p:nvSpPr>
            <p:spPr bwMode="gray">
              <a:xfrm>
                <a:off x="4505022" y="4355232"/>
                <a:ext cx="49303" cy="32900"/>
              </a:xfrm>
              <a:custGeom>
                <a:avLst/>
                <a:gdLst/>
                <a:ahLst/>
                <a:cxnLst>
                  <a:cxn ang="0">
                    <a:pos x="4" y="0"/>
                  </a:cxn>
                  <a:cxn ang="0">
                    <a:pos x="4" y="0"/>
                  </a:cxn>
                  <a:cxn ang="0">
                    <a:pos x="4" y="4"/>
                  </a:cxn>
                  <a:cxn ang="0">
                    <a:pos x="2" y="4"/>
                  </a:cxn>
                  <a:cxn ang="0">
                    <a:pos x="2" y="4"/>
                  </a:cxn>
                  <a:cxn ang="0">
                    <a:pos x="2" y="8"/>
                  </a:cxn>
                  <a:cxn ang="0">
                    <a:pos x="2" y="14"/>
                  </a:cxn>
                  <a:cxn ang="0">
                    <a:pos x="2" y="14"/>
                  </a:cxn>
                  <a:cxn ang="0">
                    <a:pos x="0" y="18"/>
                  </a:cxn>
                  <a:cxn ang="0">
                    <a:pos x="27" y="20"/>
                  </a:cxn>
                  <a:cxn ang="0">
                    <a:pos x="29" y="0"/>
                  </a:cxn>
                  <a:cxn ang="0">
                    <a:pos x="4" y="0"/>
                  </a:cxn>
                </a:cxnLst>
                <a:rect l="0" t="0" r="r" b="b"/>
                <a:pathLst>
                  <a:path w="29" h="20">
                    <a:moveTo>
                      <a:pt x="4" y="0"/>
                    </a:moveTo>
                    <a:lnTo>
                      <a:pt x="4" y="0"/>
                    </a:lnTo>
                    <a:lnTo>
                      <a:pt x="4" y="4"/>
                    </a:lnTo>
                    <a:lnTo>
                      <a:pt x="2" y="4"/>
                    </a:lnTo>
                    <a:lnTo>
                      <a:pt x="2" y="4"/>
                    </a:lnTo>
                    <a:lnTo>
                      <a:pt x="2" y="8"/>
                    </a:lnTo>
                    <a:lnTo>
                      <a:pt x="2" y="14"/>
                    </a:lnTo>
                    <a:lnTo>
                      <a:pt x="2" y="14"/>
                    </a:lnTo>
                    <a:lnTo>
                      <a:pt x="0" y="18"/>
                    </a:lnTo>
                    <a:lnTo>
                      <a:pt x="27" y="20"/>
                    </a:lnTo>
                    <a:lnTo>
                      <a:pt x="29" y="0"/>
                    </a:lnTo>
                    <a:lnTo>
                      <a:pt x="4" y="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8" name="Freeform 197"/>
              <p:cNvSpPr>
                <a:spLocks noChangeAspect="1"/>
              </p:cNvSpPr>
              <p:nvPr/>
            </p:nvSpPr>
            <p:spPr bwMode="gray">
              <a:xfrm>
                <a:off x="4853546" y="3536037"/>
                <a:ext cx="251617" cy="282935"/>
              </a:xfrm>
              <a:custGeom>
                <a:avLst/>
                <a:gdLst/>
                <a:ahLst/>
                <a:cxnLst>
                  <a:cxn ang="0">
                    <a:pos x="146" y="146"/>
                  </a:cxn>
                  <a:cxn ang="0">
                    <a:pos x="144" y="136"/>
                  </a:cxn>
                  <a:cxn ang="0">
                    <a:pos x="144" y="130"/>
                  </a:cxn>
                  <a:cxn ang="0">
                    <a:pos x="144" y="126"/>
                  </a:cxn>
                  <a:cxn ang="0">
                    <a:pos x="132" y="108"/>
                  </a:cxn>
                  <a:cxn ang="0">
                    <a:pos x="128" y="102"/>
                  </a:cxn>
                  <a:cxn ang="0">
                    <a:pos x="124" y="88"/>
                  </a:cxn>
                  <a:cxn ang="0">
                    <a:pos x="122" y="80"/>
                  </a:cxn>
                  <a:cxn ang="0">
                    <a:pos x="118" y="78"/>
                  </a:cxn>
                  <a:cxn ang="0">
                    <a:pos x="118" y="68"/>
                  </a:cxn>
                  <a:cxn ang="0">
                    <a:pos x="110" y="58"/>
                  </a:cxn>
                  <a:cxn ang="0">
                    <a:pos x="108" y="46"/>
                  </a:cxn>
                  <a:cxn ang="0">
                    <a:pos x="114" y="52"/>
                  </a:cxn>
                  <a:cxn ang="0">
                    <a:pos x="116" y="62"/>
                  </a:cxn>
                  <a:cxn ang="0">
                    <a:pos x="124" y="70"/>
                  </a:cxn>
                  <a:cxn ang="0">
                    <a:pos x="136" y="58"/>
                  </a:cxn>
                  <a:cxn ang="0">
                    <a:pos x="138" y="50"/>
                  </a:cxn>
                  <a:cxn ang="0">
                    <a:pos x="132" y="14"/>
                  </a:cxn>
                  <a:cxn ang="0">
                    <a:pos x="126" y="12"/>
                  </a:cxn>
                  <a:cxn ang="0">
                    <a:pos x="118" y="14"/>
                  </a:cxn>
                  <a:cxn ang="0">
                    <a:pos x="112" y="14"/>
                  </a:cxn>
                  <a:cxn ang="0">
                    <a:pos x="108" y="12"/>
                  </a:cxn>
                  <a:cxn ang="0">
                    <a:pos x="100" y="14"/>
                  </a:cxn>
                  <a:cxn ang="0">
                    <a:pos x="96" y="14"/>
                  </a:cxn>
                  <a:cxn ang="0">
                    <a:pos x="96" y="10"/>
                  </a:cxn>
                  <a:cxn ang="0">
                    <a:pos x="92" y="10"/>
                  </a:cxn>
                  <a:cxn ang="0">
                    <a:pos x="90" y="12"/>
                  </a:cxn>
                  <a:cxn ang="0">
                    <a:pos x="90" y="16"/>
                  </a:cxn>
                  <a:cxn ang="0">
                    <a:pos x="86" y="16"/>
                  </a:cxn>
                  <a:cxn ang="0">
                    <a:pos x="88" y="12"/>
                  </a:cxn>
                  <a:cxn ang="0">
                    <a:pos x="76" y="12"/>
                  </a:cxn>
                  <a:cxn ang="0">
                    <a:pos x="72" y="18"/>
                  </a:cxn>
                  <a:cxn ang="0">
                    <a:pos x="64" y="18"/>
                  </a:cxn>
                  <a:cxn ang="0">
                    <a:pos x="54" y="14"/>
                  </a:cxn>
                  <a:cxn ang="0">
                    <a:pos x="38" y="16"/>
                  </a:cxn>
                  <a:cxn ang="0">
                    <a:pos x="30" y="12"/>
                  </a:cxn>
                  <a:cxn ang="0">
                    <a:pos x="28" y="8"/>
                  </a:cxn>
                  <a:cxn ang="0">
                    <a:pos x="10" y="8"/>
                  </a:cxn>
                  <a:cxn ang="0">
                    <a:pos x="4" y="0"/>
                  </a:cxn>
                  <a:cxn ang="0">
                    <a:pos x="0" y="6"/>
                  </a:cxn>
                  <a:cxn ang="0">
                    <a:pos x="4" y="18"/>
                  </a:cxn>
                  <a:cxn ang="0">
                    <a:pos x="2" y="24"/>
                  </a:cxn>
                  <a:cxn ang="0">
                    <a:pos x="0" y="34"/>
                  </a:cxn>
                  <a:cxn ang="0">
                    <a:pos x="2" y="42"/>
                  </a:cxn>
                  <a:cxn ang="0">
                    <a:pos x="102" y="168"/>
                  </a:cxn>
                  <a:cxn ang="0">
                    <a:pos x="118" y="168"/>
                  </a:cxn>
                  <a:cxn ang="0">
                    <a:pos x="126" y="162"/>
                  </a:cxn>
                  <a:cxn ang="0">
                    <a:pos x="140" y="152"/>
                  </a:cxn>
                </a:cxnLst>
                <a:rect l="0" t="0" r="r" b="b"/>
                <a:pathLst>
                  <a:path w="148" h="172">
                    <a:moveTo>
                      <a:pt x="148" y="148"/>
                    </a:moveTo>
                    <a:lnTo>
                      <a:pt x="148" y="148"/>
                    </a:lnTo>
                    <a:lnTo>
                      <a:pt x="146" y="146"/>
                    </a:lnTo>
                    <a:lnTo>
                      <a:pt x="146" y="146"/>
                    </a:lnTo>
                    <a:lnTo>
                      <a:pt x="144" y="136"/>
                    </a:lnTo>
                    <a:lnTo>
                      <a:pt x="144" y="136"/>
                    </a:lnTo>
                    <a:lnTo>
                      <a:pt x="148" y="134"/>
                    </a:lnTo>
                    <a:lnTo>
                      <a:pt x="148" y="134"/>
                    </a:lnTo>
                    <a:lnTo>
                      <a:pt x="144" y="130"/>
                    </a:lnTo>
                    <a:lnTo>
                      <a:pt x="144" y="130"/>
                    </a:lnTo>
                    <a:lnTo>
                      <a:pt x="144" y="126"/>
                    </a:lnTo>
                    <a:lnTo>
                      <a:pt x="144" y="126"/>
                    </a:lnTo>
                    <a:lnTo>
                      <a:pt x="136" y="110"/>
                    </a:lnTo>
                    <a:lnTo>
                      <a:pt x="136" y="110"/>
                    </a:lnTo>
                    <a:lnTo>
                      <a:pt x="132" y="108"/>
                    </a:lnTo>
                    <a:lnTo>
                      <a:pt x="132" y="108"/>
                    </a:lnTo>
                    <a:lnTo>
                      <a:pt x="128" y="102"/>
                    </a:lnTo>
                    <a:lnTo>
                      <a:pt x="128" y="102"/>
                    </a:lnTo>
                    <a:lnTo>
                      <a:pt x="126" y="94"/>
                    </a:lnTo>
                    <a:lnTo>
                      <a:pt x="124" y="88"/>
                    </a:lnTo>
                    <a:lnTo>
                      <a:pt x="124" y="88"/>
                    </a:lnTo>
                    <a:lnTo>
                      <a:pt x="122" y="82"/>
                    </a:lnTo>
                    <a:lnTo>
                      <a:pt x="122" y="82"/>
                    </a:lnTo>
                    <a:lnTo>
                      <a:pt x="122" y="80"/>
                    </a:lnTo>
                    <a:lnTo>
                      <a:pt x="122" y="80"/>
                    </a:lnTo>
                    <a:lnTo>
                      <a:pt x="118" y="78"/>
                    </a:lnTo>
                    <a:lnTo>
                      <a:pt x="118" y="78"/>
                    </a:lnTo>
                    <a:lnTo>
                      <a:pt x="118" y="72"/>
                    </a:lnTo>
                    <a:lnTo>
                      <a:pt x="118" y="68"/>
                    </a:lnTo>
                    <a:lnTo>
                      <a:pt x="118" y="68"/>
                    </a:lnTo>
                    <a:lnTo>
                      <a:pt x="114" y="64"/>
                    </a:lnTo>
                    <a:lnTo>
                      <a:pt x="114" y="64"/>
                    </a:lnTo>
                    <a:lnTo>
                      <a:pt x="110" y="58"/>
                    </a:lnTo>
                    <a:lnTo>
                      <a:pt x="106" y="50"/>
                    </a:lnTo>
                    <a:lnTo>
                      <a:pt x="106" y="50"/>
                    </a:lnTo>
                    <a:lnTo>
                      <a:pt x="108" y="46"/>
                    </a:lnTo>
                    <a:lnTo>
                      <a:pt x="108" y="46"/>
                    </a:lnTo>
                    <a:lnTo>
                      <a:pt x="112" y="48"/>
                    </a:lnTo>
                    <a:lnTo>
                      <a:pt x="114" y="52"/>
                    </a:lnTo>
                    <a:lnTo>
                      <a:pt x="114" y="52"/>
                    </a:lnTo>
                    <a:lnTo>
                      <a:pt x="116" y="58"/>
                    </a:lnTo>
                    <a:lnTo>
                      <a:pt x="116" y="62"/>
                    </a:lnTo>
                    <a:lnTo>
                      <a:pt x="116" y="62"/>
                    </a:lnTo>
                    <a:lnTo>
                      <a:pt x="124" y="70"/>
                    </a:lnTo>
                    <a:lnTo>
                      <a:pt x="124" y="70"/>
                    </a:lnTo>
                    <a:lnTo>
                      <a:pt x="130" y="70"/>
                    </a:lnTo>
                    <a:lnTo>
                      <a:pt x="130" y="70"/>
                    </a:lnTo>
                    <a:lnTo>
                      <a:pt x="136" y="58"/>
                    </a:lnTo>
                    <a:lnTo>
                      <a:pt x="136" y="58"/>
                    </a:lnTo>
                    <a:lnTo>
                      <a:pt x="138" y="50"/>
                    </a:lnTo>
                    <a:lnTo>
                      <a:pt x="138" y="50"/>
                    </a:lnTo>
                    <a:lnTo>
                      <a:pt x="136" y="44"/>
                    </a:lnTo>
                    <a:lnTo>
                      <a:pt x="134" y="22"/>
                    </a:lnTo>
                    <a:lnTo>
                      <a:pt x="132" y="14"/>
                    </a:lnTo>
                    <a:lnTo>
                      <a:pt x="130" y="12"/>
                    </a:lnTo>
                    <a:lnTo>
                      <a:pt x="130" y="12"/>
                    </a:lnTo>
                    <a:lnTo>
                      <a:pt x="126" y="12"/>
                    </a:lnTo>
                    <a:lnTo>
                      <a:pt x="122" y="12"/>
                    </a:lnTo>
                    <a:lnTo>
                      <a:pt x="122" y="12"/>
                    </a:lnTo>
                    <a:lnTo>
                      <a:pt x="118" y="14"/>
                    </a:lnTo>
                    <a:lnTo>
                      <a:pt x="112" y="16"/>
                    </a:lnTo>
                    <a:lnTo>
                      <a:pt x="112" y="16"/>
                    </a:lnTo>
                    <a:lnTo>
                      <a:pt x="112" y="14"/>
                    </a:lnTo>
                    <a:lnTo>
                      <a:pt x="112" y="12"/>
                    </a:lnTo>
                    <a:lnTo>
                      <a:pt x="108" y="12"/>
                    </a:lnTo>
                    <a:lnTo>
                      <a:pt x="108" y="12"/>
                    </a:lnTo>
                    <a:lnTo>
                      <a:pt x="104" y="14"/>
                    </a:lnTo>
                    <a:lnTo>
                      <a:pt x="102" y="16"/>
                    </a:lnTo>
                    <a:lnTo>
                      <a:pt x="100" y="14"/>
                    </a:lnTo>
                    <a:lnTo>
                      <a:pt x="100" y="14"/>
                    </a:lnTo>
                    <a:lnTo>
                      <a:pt x="96" y="14"/>
                    </a:lnTo>
                    <a:lnTo>
                      <a:pt x="96" y="14"/>
                    </a:lnTo>
                    <a:lnTo>
                      <a:pt x="94" y="12"/>
                    </a:lnTo>
                    <a:lnTo>
                      <a:pt x="96" y="12"/>
                    </a:lnTo>
                    <a:lnTo>
                      <a:pt x="96" y="10"/>
                    </a:lnTo>
                    <a:lnTo>
                      <a:pt x="96" y="10"/>
                    </a:lnTo>
                    <a:lnTo>
                      <a:pt x="92" y="10"/>
                    </a:lnTo>
                    <a:lnTo>
                      <a:pt x="92" y="10"/>
                    </a:lnTo>
                    <a:lnTo>
                      <a:pt x="90" y="10"/>
                    </a:lnTo>
                    <a:lnTo>
                      <a:pt x="88" y="12"/>
                    </a:lnTo>
                    <a:lnTo>
                      <a:pt x="90" y="12"/>
                    </a:lnTo>
                    <a:lnTo>
                      <a:pt x="90" y="12"/>
                    </a:lnTo>
                    <a:lnTo>
                      <a:pt x="90" y="14"/>
                    </a:lnTo>
                    <a:lnTo>
                      <a:pt x="90" y="16"/>
                    </a:lnTo>
                    <a:lnTo>
                      <a:pt x="90" y="18"/>
                    </a:lnTo>
                    <a:lnTo>
                      <a:pt x="86" y="16"/>
                    </a:lnTo>
                    <a:lnTo>
                      <a:pt x="86" y="16"/>
                    </a:lnTo>
                    <a:lnTo>
                      <a:pt x="86" y="14"/>
                    </a:lnTo>
                    <a:lnTo>
                      <a:pt x="88" y="12"/>
                    </a:lnTo>
                    <a:lnTo>
                      <a:pt x="88" y="12"/>
                    </a:lnTo>
                    <a:lnTo>
                      <a:pt x="82" y="14"/>
                    </a:lnTo>
                    <a:lnTo>
                      <a:pt x="76" y="12"/>
                    </a:lnTo>
                    <a:lnTo>
                      <a:pt x="76" y="12"/>
                    </a:lnTo>
                    <a:lnTo>
                      <a:pt x="74" y="18"/>
                    </a:lnTo>
                    <a:lnTo>
                      <a:pt x="74" y="18"/>
                    </a:lnTo>
                    <a:lnTo>
                      <a:pt x="72" y="18"/>
                    </a:lnTo>
                    <a:lnTo>
                      <a:pt x="68" y="16"/>
                    </a:lnTo>
                    <a:lnTo>
                      <a:pt x="68" y="16"/>
                    </a:lnTo>
                    <a:lnTo>
                      <a:pt x="64" y="18"/>
                    </a:lnTo>
                    <a:lnTo>
                      <a:pt x="58" y="18"/>
                    </a:lnTo>
                    <a:lnTo>
                      <a:pt x="58" y="18"/>
                    </a:lnTo>
                    <a:lnTo>
                      <a:pt x="54" y="14"/>
                    </a:lnTo>
                    <a:lnTo>
                      <a:pt x="54" y="14"/>
                    </a:lnTo>
                    <a:lnTo>
                      <a:pt x="46" y="16"/>
                    </a:lnTo>
                    <a:lnTo>
                      <a:pt x="38" y="16"/>
                    </a:lnTo>
                    <a:lnTo>
                      <a:pt x="38" y="14"/>
                    </a:lnTo>
                    <a:lnTo>
                      <a:pt x="38" y="14"/>
                    </a:lnTo>
                    <a:lnTo>
                      <a:pt x="30" y="12"/>
                    </a:lnTo>
                    <a:lnTo>
                      <a:pt x="30" y="12"/>
                    </a:lnTo>
                    <a:lnTo>
                      <a:pt x="28" y="8"/>
                    </a:lnTo>
                    <a:lnTo>
                      <a:pt x="28" y="8"/>
                    </a:lnTo>
                    <a:lnTo>
                      <a:pt x="22" y="6"/>
                    </a:lnTo>
                    <a:lnTo>
                      <a:pt x="18" y="6"/>
                    </a:lnTo>
                    <a:lnTo>
                      <a:pt x="10" y="8"/>
                    </a:lnTo>
                    <a:lnTo>
                      <a:pt x="6" y="2"/>
                    </a:lnTo>
                    <a:lnTo>
                      <a:pt x="6" y="2"/>
                    </a:lnTo>
                    <a:lnTo>
                      <a:pt x="4" y="0"/>
                    </a:lnTo>
                    <a:lnTo>
                      <a:pt x="0" y="2"/>
                    </a:lnTo>
                    <a:lnTo>
                      <a:pt x="0" y="2"/>
                    </a:lnTo>
                    <a:lnTo>
                      <a:pt x="0" y="6"/>
                    </a:lnTo>
                    <a:lnTo>
                      <a:pt x="0" y="12"/>
                    </a:lnTo>
                    <a:lnTo>
                      <a:pt x="0" y="12"/>
                    </a:lnTo>
                    <a:lnTo>
                      <a:pt x="4" y="18"/>
                    </a:lnTo>
                    <a:lnTo>
                      <a:pt x="4" y="22"/>
                    </a:lnTo>
                    <a:lnTo>
                      <a:pt x="2" y="24"/>
                    </a:lnTo>
                    <a:lnTo>
                      <a:pt x="2" y="24"/>
                    </a:lnTo>
                    <a:lnTo>
                      <a:pt x="0" y="28"/>
                    </a:lnTo>
                    <a:lnTo>
                      <a:pt x="0" y="34"/>
                    </a:lnTo>
                    <a:lnTo>
                      <a:pt x="0" y="34"/>
                    </a:lnTo>
                    <a:lnTo>
                      <a:pt x="0" y="40"/>
                    </a:lnTo>
                    <a:lnTo>
                      <a:pt x="2" y="42"/>
                    </a:lnTo>
                    <a:lnTo>
                      <a:pt x="2" y="42"/>
                    </a:lnTo>
                    <a:lnTo>
                      <a:pt x="6" y="48"/>
                    </a:lnTo>
                    <a:lnTo>
                      <a:pt x="6" y="168"/>
                    </a:lnTo>
                    <a:lnTo>
                      <a:pt x="102" y="168"/>
                    </a:lnTo>
                    <a:lnTo>
                      <a:pt x="106" y="166"/>
                    </a:lnTo>
                    <a:lnTo>
                      <a:pt x="106" y="168"/>
                    </a:lnTo>
                    <a:lnTo>
                      <a:pt x="118" y="168"/>
                    </a:lnTo>
                    <a:lnTo>
                      <a:pt x="120" y="172"/>
                    </a:lnTo>
                    <a:lnTo>
                      <a:pt x="126" y="170"/>
                    </a:lnTo>
                    <a:lnTo>
                      <a:pt x="126" y="162"/>
                    </a:lnTo>
                    <a:lnTo>
                      <a:pt x="132" y="160"/>
                    </a:lnTo>
                    <a:lnTo>
                      <a:pt x="136" y="152"/>
                    </a:lnTo>
                    <a:lnTo>
                      <a:pt x="140" y="152"/>
                    </a:lnTo>
                    <a:lnTo>
                      <a:pt x="148" y="14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49" name="Freeform 200"/>
              <p:cNvSpPr>
                <a:spLocks noChangeAspect="1"/>
              </p:cNvSpPr>
              <p:nvPr/>
            </p:nvSpPr>
            <p:spPr bwMode="gray">
              <a:xfrm>
                <a:off x="5234372" y="4075587"/>
                <a:ext cx="44203" cy="55929"/>
              </a:xfrm>
              <a:custGeom>
                <a:avLst/>
                <a:gdLst/>
                <a:ahLst/>
                <a:cxnLst>
                  <a:cxn ang="0">
                    <a:pos x="24" y="26"/>
                  </a:cxn>
                  <a:cxn ang="0">
                    <a:pos x="24" y="26"/>
                  </a:cxn>
                  <a:cxn ang="0">
                    <a:pos x="22" y="22"/>
                  </a:cxn>
                  <a:cxn ang="0">
                    <a:pos x="22" y="22"/>
                  </a:cxn>
                  <a:cxn ang="0">
                    <a:pos x="20" y="22"/>
                  </a:cxn>
                  <a:cxn ang="0">
                    <a:pos x="20" y="20"/>
                  </a:cxn>
                  <a:cxn ang="0">
                    <a:pos x="20" y="20"/>
                  </a:cxn>
                  <a:cxn ang="0">
                    <a:pos x="26" y="14"/>
                  </a:cxn>
                  <a:cxn ang="0">
                    <a:pos x="26" y="8"/>
                  </a:cxn>
                  <a:cxn ang="0">
                    <a:pos x="26" y="4"/>
                  </a:cxn>
                  <a:cxn ang="0">
                    <a:pos x="22" y="0"/>
                  </a:cxn>
                  <a:cxn ang="0">
                    <a:pos x="16" y="6"/>
                  </a:cxn>
                  <a:cxn ang="0">
                    <a:pos x="12" y="2"/>
                  </a:cxn>
                  <a:cxn ang="0">
                    <a:pos x="10" y="4"/>
                  </a:cxn>
                  <a:cxn ang="0">
                    <a:pos x="10" y="4"/>
                  </a:cxn>
                  <a:cxn ang="0">
                    <a:pos x="6" y="10"/>
                  </a:cxn>
                  <a:cxn ang="0">
                    <a:pos x="4" y="14"/>
                  </a:cxn>
                  <a:cxn ang="0">
                    <a:pos x="4" y="18"/>
                  </a:cxn>
                  <a:cxn ang="0">
                    <a:pos x="4" y="18"/>
                  </a:cxn>
                  <a:cxn ang="0">
                    <a:pos x="2" y="22"/>
                  </a:cxn>
                  <a:cxn ang="0">
                    <a:pos x="2" y="24"/>
                  </a:cxn>
                  <a:cxn ang="0">
                    <a:pos x="0" y="28"/>
                  </a:cxn>
                  <a:cxn ang="0">
                    <a:pos x="0" y="30"/>
                  </a:cxn>
                  <a:cxn ang="0">
                    <a:pos x="0" y="30"/>
                  </a:cxn>
                  <a:cxn ang="0">
                    <a:pos x="4" y="34"/>
                  </a:cxn>
                  <a:cxn ang="0">
                    <a:pos x="8" y="34"/>
                  </a:cxn>
                  <a:cxn ang="0">
                    <a:pos x="8" y="34"/>
                  </a:cxn>
                  <a:cxn ang="0">
                    <a:pos x="12" y="32"/>
                  </a:cxn>
                  <a:cxn ang="0">
                    <a:pos x="18" y="34"/>
                  </a:cxn>
                  <a:cxn ang="0">
                    <a:pos x="24" y="26"/>
                  </a:cxn>
                </a:cxnLst>
                <a:rect l="0" t="0" r="r" b="b"/>
                <a:pathLst>
                  <a:path w="26" h="34">
                    <a:moveTo>
                      <a:pt x="24" y="26"/>
                    </a:moveTo>
                    <a:lnTo>
                      <a:pt x="24" y="26"/>
                    </a:lnTo>
                    <a:lnTo>
                      <a:pt x="22" y="22"/>
                    </a:lnTo>
                    <a:lnTo>
                      <a:pt x="22" y="22"/>
                    </a:lnTo>
                    <a:lnTo>
                      <a:pt x="20" y="22"/>
                    </a:lnTo>
                    <a:lnTo>
                      <a:pt x="20" y="20"/>
                    </a:lnTo>
                    <a:lnTo>
                      <a:pt x="20" y="20"/>
                    </a:lnTo>
                    <a:lnTo>
                      <a:pt x="26" y="14"/>
                    </a:lnTo>
                    <a:lnTo>
                      <a:pt x="26" y="8"/>
                    </a:lnTo>
                    <a:lnTo>
                      <a:pt x="26" y="4"/>
                    </a:lnTo>
                    <a:lnTo>
                      <a:pt x="22" y="0"/>
                    </a:lnTo>
                    <a:lnTo>
                      <a:pt x="16" y="6"/>
                    </a:lnTo>
                    <a:lnTo>
                      <a:pt x="12" y="2"/>
                    </a:lnTo>
                    <a:lnTo>
                      <a:pt x="10" y="4"/>
                    </a:lnTo>
                    <a:lnTo>
                      <a:pt x="10" y="4"/>
                    </a:lnTo>
                    <a:lnTo>
                      <a:pt x="6" y="10"/>
                    </a:lnTo>
                    <a:lnTo>
                      <a:pt x="4" y="14"/>
                    </a:lnTo>
                    <a:lnTo>
                      <a:pt x="4" y="18"/>
                    </a:lnTo>
                    <a:lnTo>
                      <a:pt x="4" y="18"/>
                    </a:lnTo>
                    <a:lnTo>
                      <a:pt x="2" y="22"/>
                    </a:lnTo>
                    <a:lnTo>
                      <a:pt x="2" y="24"/>
                    </a:lnTo>
                    <a:lnTo>
                      <a:pt x="0" y="28"/>
                    </a:lnTo>
                    <a:lnTo>
                      <a:pt x="0" y="30"/>
                    </a:lnTo>
                    <a:lnTo>
                      <a:pt x="0" y="30"/>
                    </a:lnTo>
                    <a:lnTo>
                      <a:pt x="4" y="34"/>
                    </a:lnTo>
                    <a:lnTo>
                      <a:pt x="8" y="34"/>
                    </a:lnTo>
                    <a:lnTo>
                      <a:pt x="8" y="34"/>
                    </a:lnTo>
                    <a:lnTo>
                      <a:pt x="12" y="32"/>
                    </a:lnTo>
                    <a:lnTo>
                      <a:pt x="18" y="34"/>
                    </a:lnTo>
                    <a:lnTo>
                      <a:pt x="24" y="2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0" name="Freeform 207"/>
              <p:cNvSpPr>
                <a:spLocks noChangeAspect="1"/>
              </p:cNvSpPr>
              <p:nvPr/>
            </p:nvSpPr>
            <p:spPr bwMode="gray">
              <a:xfrm>
                <a:off x="4532400" y="4319043"/>
                <a:ext cx="170892" cy="230295"/>
              </a:xfrm>
              <a:custGeom>
                <a:avLst/>
                <a:gdLst/>
                <a:ahLst/>
                <a:cxnLst>
                  <a:cxn ang="0">
                    <a:pos x="12" y="136"/>
                  </a:cxn>
                  <a:cxn ang="0">
                    <a:pos x="20" y="136"/>
                  </a:cxn>
                  <a:cxn ang="0">
                    <a:pos x="20" y="132"/>
                  </a:cxn>
                  <a:cxn ang="0">
                    <a:pos x="26" y="134"/>
                  </a:cxn>
                  <a:cxn ang="0">
                    <a:pos x="30" y="134"/>
                  </a:cxn>
                  <a:cxn ang="0">
                    <a:pos x="34" y="132"/>
                  </a:cxn>
                  <a:cxn ang="0">
                    <a:pos x="40" y="132"/>
                  </a:cxn>
                  <a:cxn ang="0">
                    <a:pos x="40" y="126"/>
                  </a:cxn>
                  <a:cxn ang="0">
                    <a:pos x="48" y="128"/>
                  </a:cxn>
                  <a:cxn ang="0">
                    <a:pos x="52" y="140"/>
                  </a:cxn>
                  <a:cxn ang="0">
                    <a:pos x="70" y="130"/>
                  </a:cxn>
                  <a:cxn ang="0">
                    <a:pos x="74" y="114"/>
                  </a:cxn>
                  <a:cxn ang="0">
                    <a:pos x="76" y="100"/>
                  </a:cxn>
                  <a:cxn ang="0">
                    <a:pos x="80" y="84"/>
                  </a:cxn>
                  <a:cxn ang="0">
                    <a:pos x="86" y="74"/>
                  </a:cxn>
                  <a:cxn ang="0">
                    <a:pos x="92" y="56"/>
                  </a:cxn>
                  <a:cxn ang="0">
                    <a:pos x="92" y="36"/>
                  </a:cxn>
                  <a:cxn ang="0">
                    <a:pos x="94" y="20"/>
                  </a:cxn>
                  <a:cxn ang="0">
                    <a:pos x="100" y="0"/>
                  </a:cxn>
                  <a:cxn ang="0">
                    <a:pos x="90" y="4"/>
                  </a:cxn>
                  <a:cxn ang="0">
                    <a:pos x="84" y="2"/>
                  </a:cxn>
                  <a:cxn ang="0">
                    <a:pos x="80" y="8"/>
                  </a:cxn>
                  <a:cxn ang="0">
                    <a:pos x="74" y="12"/>
                  </a:cxn>
                  <a:cxn ang="0">
                    <a:pos x="70" y="20"/>
                  </a:cxn>
                  <a:cxn ang="0">
                    <a:pos x="72" y="26"/>
                  </a:cxn>
                  <a:cxn ang="0">
                    <a:pos x="58" y="24"/>
                  </a:cxn>
                  <a:cxn ang="0">
                    <a:pos x="52" y="22"/>
                  </a:cxn>
                  <a:cxn ang="0">
                    <a:pos x="42" y="20"/>
                  </a:cxn>
                  <a:cxn ang="0">
                    <a:pos x="32" y="30"/>
                  </a:cxn>
                  <a:cxn ang="0">
                    <a:pos x="32" y="36"/>
                  </a:cxn>
                  <a:cxn ang="0">
                    <a:pos x="38" y="34"/>
                  </a:cxn>
                  <a:cxn ang="0">
                    <a:pos x="50" y="36"/>
                  </a:cxn>
                  <a:cxn ang="0">
                    <a:pos x="46" y="46"/>
                  </a:cxn>
                  <a:cxn ang="0">
                    <a:pos x="38" y="48"/>
                  </a:cxn>
                  <a:cxn ang="0">
                    <a:pos x="38" y="58"/>
                  </a:cxn>
                  <a:cxn ang="0">
                    <a:pos x="36" y="60"/>
                  </a:cxn>
                  <a:cxn ang="0">
                    <a:pos x="40" y="62"/>
                  </a:cxn>
                  <a:cxn ang="0">
                    <a:pos x="42" y="70"/>
                  </a:cxn>
                  <a:cxn ang="0">
                    <a:pos x="42" y="78"/>
                  </a:cxn>
                  <a:cxn ang="0">
                    <a:pos x="44" y="84"/>
                  </a:cxn>
                  <a:cxn ang="0">
                    <a:pos x="42" y="88"/>
                  </a:cxn>
                  <a:cxn ang="0">
                    <a:pos x="46" y="96"/>
                  </a:cxn>
                  <a:cxn ang="0">
                    <a:pos x="44" y="104"/>
                  </a:cxn>
                  <a:cxn ang="0">
                    <a:pos x="38" y="98"/>
                  </a:cxn>
                  <a:cxn ang="0">
                    <a:pos x="36" y="96"/>
                  </a:cxn>
                  <a:cxn ang="0">
                    <a:pos x="26" y="98"/>
                  </a:cxn>
                  <a:cxn ang="0">
                    <a:pos x="22" y="94"/>
                  </a:cxn>
                  <a:cxn ang="0">
                    <a:pos x="22" y="98"/>
                  </a:cxn>
                  <a:cxn ang="0">
                    <a:pos x="14" y="98"/>
                  </a:cxn>
                  <a:cxn ang="0">
                    <a:pos x="12" y="102"/>
                  </a:cxn>
                  <a:cxn ang="0">
                    <a:pos x="12" y="106"/>
                  </a:cxn>
                  <a:cxn ang="0">
                    <a:pos x="14" y="116"/>
                  </a:cxn>
                  <a:cxn ang="0">
                    <a:pos x="14" y="122"/>
                  </a:cxn>
                  <a:cxn ang="0">
                    <a:pos x="8" y="120"/>
                  </a:cxn>
                  <a:cxn ang="0">
                    <a:pos x="2" y="120"/>
                  </a:cxn>
                  <a:cxn ang="0">
                    <a:pos x="0" y="128"/>
                  </a:cxn>
                  <a:cxn ang="0">
                    <a:pos x="6" y="134"/>
                  </a:cxn>
                  <a:cxn ang="0">
                    <a:pos x="8" y="138"/>
                  </a:cxn>
                </a:cxnLst>
                <a:rect l="0" t="0" r="r" b="b"/>
                <a:pathLst>
                  <a:path w="100" h="140">
                    <a:moveTo>
                      <a:pt x="12" y="138"/>
                    </a:moveTo>
                    <a:lnTo>
                      <a:pt x="12" y="138"/>
                    </a:lnTo>
                    <a:lnTo>
                      <a:pt x="12" y="136"/>
                    </a:lnTo>
                    <a:lnTo>
                      <a:pt x="16" y="136"/>
                    </a:lnTo>
                    <a:lnTo>
                      <a:pt x="16" y="136"/>
                    </a:lnTo>
                    <a:lnTo>
                      <a:pt x="20" y="136"/>
                    </a:lnTo>
                    <a:lnTo>
                      <a:pt x="18" y="134"/>
                    </a:lnTo>
                    <a:lnTo>
                      <a:pt x="20" y="132"/>
                    </a:lnTo>
                    <a:lnTo>
                      <a:pt x="20" y="132"/>
                    </a:lnTo>
                    <a:lnTo>
                      <a:pt x="22" y="132"/>
                    </a:lnTo>
                    <a:lnTo>
                      <a:pt x="24" y="132"/>
                    </a:lnTo>
                    <a:lnTo>
                      <a:pt x="26" y="134"/>
                    </a:lnTo>
                    <a:lnTo>
                      <a:pt x="26" y="134"/>
                    </a:lnTo>
                    <a:lnTo>
                      <a:pt x="28" y="134"/>
                    </a:lnTo>
                    <a:lnTo>
                      <a:pt x="30" y="134"/>
                    </a:lnTo>
                    <a:lnTo>
                      <a:pt x="30" y="134"/>
                    </a:lnTo>
                    <a:lnTo>
                      <a:pt x="32" y="132"/>
                    </a:lnTo>
                    <a:lnTo>
                      <a:pt x="34" y="132"/>
                    </a:lnTo>
                    <a:lnTo>
                      <a:pt x="38" y="134"/>
                    </a:lnTo>
                    <a:lnTo>
                      <a:pt x="38" y="134"/>
                    </a:lnTo>
                    <a:lnTo>
                      <a:pt x="40" y="132"/>
                    </a:lnTo>
                    <a:lnTo>
                      <a:pt x="40" y="130"/>
                    </a:lnTo>
                    <a:lnTo>
                      <a:pt x="40" y="126"/>
                    </a:lnTo>
                    <a:lnTo>
                      <a:pt x="40" y="126"/>
                    </a:lnTo>
                    <a:lnTo>
                      <a:pt x="44" y="128"/>
                    </a:lnTo>
                    <a:lnTo>
                      <a:pt x="44" y="128"/>
                    </a:lnTo>
                    <a:lnTo>
                      <a:pt x="48" y="128"/>
                    </a:lnTo>
                    <a:lnTo>
                      <a:pt x="50" y="126"/>
                    </a:lnTo>
                    <a:lnTo>
                      <a:pt x="50" y="136"/>
                    </a:lnTo>
                    <a:lnTo>
                      <a:pt x="52" y="140"/>
                    </a:lnTo>
                    <a:lnTo>
                      <a:pt x="56" y="138"/>
                    </a:lnTo>
                    <a:lnTo>
                      <a:pt x="64" y="136"/>
                    </a:lnTo>
                    <a:lnTo>
                      <a:pt x="70" y="130"/>
                    </a:lnTo>
                    <a:lnTo>
                      <a:pt x="70" y="126"/>
                    </a:lnTo>
                    <a:lnTo>
                      <a:pt x="74" y="120"/>
                    </a:lnTo>
                    <a:lnTo>
                      <a:pt x="74" y="114"/>
                    </a:lnTo>
                    <a:lnTo>
                      <a:pt x="76" y="110"/>
                    </a:lnTo>
                    <a:lnTo>
                      <a:pt x="76" y="106"/>
                    </a:lnTo>
                    <a:lnTo>
                      <a:pt x="76" y="100"/>
                    </a:lnTo>
                    <a:lnTo>
                      <a:pt x="78" y="96"/>
                    </a:lnTo>
                    <a:lnTo>
                      <a:pt x="80" y="90"/>
                    </a:lnTo>
                    <a:lnTo>
                      <a:pt x="80" y="84"/>
                    </a:lnTo>
                    <a:lnTo>
                      <a:pt x="84" y="80"/>
                    </a:lnTo>
                    <a:lnTo>
                      <a:pt x="84" y="82"/>
                    </a:lnTo>
                    <a:lnTo>
                      <a:pt x="86" y="74"/>
                    </a:lnTo>
                    <a:lnTo>
                      <a:pt x="86" y="68"/>
                    </a:lnTo>
                    <a:lnTo>
                      <a:pt x="90" y="62"/>
                    </a:lnTo>
                    <a:lnTo>
                      <a:pt x="92" y="56"/>
                    </a:lnTo>
                    <a:lnTo>
                      <a:pt x="92" y="48"/>
                    </a:lnTo>
                    <a:lnTo>
                      <a:pt x="92" y="42"/>
                    </a:lnTo>
                    <a:lnTo>
                      <a:pt x="92" y="36"/>
                    </a:lnTo>
                    <a:lnTo>
                      <a:pt x="92" y="30"/>
                    </a:lnTo>
                    <a:lnTo>
                      <a:pt x="94" y="24"/>
                    </a:lnTo>
                    <a:lnTo>
                      <a:pt x="94" y="20"/>
                    </a:lnTo>
                    <a:lnTo>
                      <a:pt x="98" y="16"/>
                    </a:lnTo>
                    <a:lnTo>
                      <a:pt x="100" y="10"/>
                    </a:lnTo>
                    <a:lnTo>
                      <a:pt x="100" y="0"/>
                    </a:lnTo>
                    <a:lnTo>
                      <a:pt x="100" y="0"/>
                    </a:lnTo>
                    <a:lnTo>
                      <a:pt x="90" y="4"/>
                    </a:lnTo>
                    <a:lnTo>
                      <a:pt x="90" y="4"/>
                    </a:lnTo>
                    <a:lnTo>
                      <a:pt x="88" y="4"/>
                    </a:lnTo>
                    <a:lnTo>
                      <a:pt x="84" y="2"/>
                    </a:lnTo>
                    <a:lnTo>
                      <a:pt x="84" y="2"/>
                    </a:lnTo>
                    <a:lnTo>
                      <a:pt x="80" y="4"/>
                    </a:lnTo>
                    <a:lnTo>
                      <a:pt x="80" y="8"/>
                    </a:lnTo>
                    <a:lnTo>
                      <a:pt x="80" y="8"/>
                    </a:lnTo>
                    <a:lnTo>
                      <a:pt x="78" y="10"/>
                    </a:lnTo>
                    <a:lnTo>
                      <a:pt x="76" y="12"/>
                    </a:lnTo>
                    <a:lnTo>
                      <a:pt x="74" y="12"/>
                    </a:lnTo>
                    <a:lnTo>
                      <a:pt x="74" y="12"/>
                    </a:lnTo>
                    <a:lnTo>
                      <a:pt x="72" y="14"/>
                    </a:lnTo>
                    <a:lnTo>
                      <a:pt x="70" y="20"/>
                    </a:lnTo>
                    <a:lnTo>
                      <a:pt x="70" y="20"/>
                    </a:lnTo>
                    <a:lnTo>
                      <a:pt x="72" y="26"/>
                    </a:lnTo>
                    <a:lnTo>
                      <a:pt x="72" y="26"/>
                    </a:lnTo>
                    <a:lnTo>
                      <a:pt x="66" y="24"/>
                    </a:lnTo>
                    <a:lnTo>
                      <a:pt x="66" y="24"/>
                    </a:lnTo>
                    <a:lnTo>
                      <a:pt x="58" y="24"/>
                    </a:lnTo>
                    <a:lnTo>
                      <a:pt x="58" y="24"/>
                    </a:lnTo>
                    <a:lnTo>
                      <a:pt x="54" y="24"/>
                    </a:lnTo>
                    <a:lnTo>
                      <a:pt x="52" y="22"/>
                    </a:lnTo>
                    <a:lnTo>
                      <a:pt x="52" y="22"/>
                    </a:lnTo>
                    <a:lnTo>
                      <a:pt x="48" y="20"/>
                    </a:lnTo>
                    <a:lnTo>
                      <a:pt x="42" y="20"/>
                    </a:lnTo>
                    <a:lnTo>
                      <a:pt x="32" y="20"/>
                    </a:lnTo>
                    <a:lnTo>
                      <a:pt x="32" y="20"/>
                    </a:lnTo>
                    <a:lnTo>
                      <a:pt x="32" y="30"/>
                    </a:lnTo>
                    <a:lnTo>
                      <a:pt x="32" y="30"/>
                    </a:lnTo>
                    <a:lnTo>
                      <a:pt x="32" y="34"/>
                    </a:lnTo>
                    <a:lnTo>
                      <a:pt x="32" y="36"/>
                    </a:lnTo>
                    <a:lnTo>
                      <a:pt x="34" y="36"/>
                    </a:lnTo>
                    <a:lnTo>
                      <a:pt x="34" y="36"/>
                    </a:lnTo>
                    <a:lnTo>
                      <a:pt x="38" y="34"/>
                    </a:lnTo>
                    <a:lnTo>
                      <a:pt x="42" y="34"/>
                    </a:lnTo>
                    <a:lnTo>
                      <a:pt x="42" y="34"/>
                    </a:lnTo>
                    <a:lnTo>
                      <a:pt x="50" y="36"/>
                    </a:lnTo>
                    <a:lnTo>
                      <a:pt x="48" y="46"/>
                    </a:lnTo>
                    <a:lnTo>
                      <a:pt x="48" y="46"/>
                    </a:lnTo>
                    <a:lnTo>
                      <a:pt x="46" y="46"/>
                    </a:lnTo>
                    <a:lnTo>
                      <a:pt x="42" y="46"/>
                    </a:lnTo>
                    <a:lnTo>
                      <a:pt x="42" y="46"/>
                    </a:lnTo>
                    <a:lnTo>
                      <a:pt x="38" y="48"/>
                    </a:lnTo>
                    <a:lnTo>
                      <a:pt x="36" y="52"/>
                    </a:lnTo>
                    <a:lnTo>
                      <a:pt x="36" y="52"/>
                    </a:lnTo>
                    <a:lnTo>
                      <a:pt x="38" y="58"/>
                    </a:lnTo>
                    <a:lnTo>
                      <a:pt x="38" y="58"/>
                    </a:lnTo>
                    <a:lnTo>
                      <a:pt x="36" y="58"/>
                    </a:lnTo>
                    <a:lnTo>
                      <a:pt x="36" y="60"/>
                    </a:lnTo>
                    <a:lnTo>
                      <a:pt x="36" y="60"/>
                    </a:lnTo>
                    <a:lnTo>
                      <a:pt x="36" y="60"/>
                    </a:lnTo>
                    <a:lnTo>
                      <a:pt x="40" y="62"/>
                    </a:lnTo>
                    <a:lnTo>
                      <a:pt x="42" y="66"/>
                    </a:lnTo>
                    <a:lnTo>
                      <a:pt x="42" y="66"/>
                    </a:lnTo>
                    <a:lnTo>
                      <a:pt x="42" y="70"/>
                    </a:lnTo>
                    <a:lnTo>
                      <a:pt x="42" y="74"/>
                    </a:lnTo>
                    <a:lnTo>
                      <a:pt x="42" y="74"/>
                    </a:lnTo>
                    <a:lnTo>
                      <a:pt x="42" y="78"/>
                    </a:lnTo>
                    <a:lnTo>
                      <a:pt x="44" y="80"/>
                    </a:lnTo>
                    <a:lnTo>
                      <a:pt x="44" y="80"/>
                    </a:lnTo>
                    <a:lnTo>
                      <a:pt x="44" y="84"/>
                    </a:lnTo>
                    <a:lnTo>
                      <a:pt x="42" y="86"/>
                    </a:lnTo>
                    <a:lnTo>
                      <a:pt x="42" y="86"/>
                    </a:lnTo>
                    <a:lnTo>
                      <a:pt x="42" y="88"/>
                    </a:lnTo>
                    <a:lnTo>
                      <a:pt x="42" y="88"/>
                    </a:lnTo>
                    <a:lnTo>
                      <a:pt x="46" y="90"/>
                    </a:lnTo>
                    <a:lnTo>
                      <a:pt x="46" y="96"/>
                    </a:lnTo>
                    <a:lnTo>
                      <a:pt x="46" y="96"/>
                    </a:lnTo>
                    <a:lnTo>
                      <a:pt x="44" y="102"/>
                    </a:lnTo>
                    <a:lnTo>
                      <a:pt x="44" y="104"/>
                    </a:lnTo>
                    <a:lnTo>
                      <a:pt x="42" y="102"/>
                    </a:lnTo>
                    <a:lnTo>
                      <a:pt x="42" y="102"/>
                    </a:lnTo>
                    <a:lnTo>
                      <a:pt x="38" y="98"/>
                    </a:lnTo>
                    <a:lnTo>
                      <a:pt x="38" y="96"/>
                    </a:lnTo>
                    <a:lnTo>
                      <a:pt x="36" y="96"/>
                    </a:lnTo>
                    <a:lnTo>
                      <a:pt x="36" y="96"/>
                    </a:lnTo>
                    <a:lnTo>
                      <a:pt x="30" y="96"/>
                    </a:lnTo>
                    <a:lnTo>
                      <a:pt x="26" y="98"/>
                    </a:lnTo>
                    <a:lnTo>
                      <a:pt x="26" y="98"/>
                    </a:lnTo>
                    <a:lnTo>
                      <a:pt x="26" y="96"/>
                    </a:lnTo>
                    <a:lnTo>
                      <a:pt x="22" y="94"/>
                    </a:lnTo>
                    <a:lnTo>
                      <a:pt x="22" y="94"/>
                    </a:lnTo>
                    <a:lnTo>
                      <a:pt x="20" y="94"/>
                    </a:lnTo>
                    <a:lnTo>
                      <a:pt x="20" y="94"/>
                    </a:lnTo>
                    <a:lnTo>
                      <a:pt x="22" y="98"/>
                    </a:lnTo>
                    <a:lnTo>
                      <a:pt x="20" y="98"/>
                    </a:lnTo>
                    <a:lnTo>
                      <a:pt x="20" y="98"/>
                    </a:lnTo>
                    <a:lnTo>
                      <a:pt x="14" y="98"/>
                    </a:lnTo>
                    <a:lnTo>
                      <a:pt x="12" y="98"/>
                    </a:lnTo>
                    <a:lnTo>
                      <a:pt x="12" y="102"/>
                    </a:lnTo>
                    <a:lnTo>
                      <a:pt x="12" y="102"/>
                    </a:lnTo>
                    <a:lnTo>
                      <a:pt x="14" y="104"/>
                    </a:lnTo>
                    <a:lnTo>
                      <a:pt x="12" y="106"/>
                    </a:lnTo>
                    <a:lnTo>
                      <a:pt x="12" y="106"/>
                    </a:lnTo>
                    <a:lnTo>
                      <a:pt x="12" y="108"/>
                    </a:lnTo>
                    <a:lnTo>
                      <a:pt x="12" y="110"/>
                    </a:lnTo>
                    <a:lnTo>
                      <a:pt x="14" y="116"/>
                    </a:lnTo>
                    <a:lnTo>
                      <a:pt x="14" y="116"/>
                    </a:lnTo>
                    <a:lnTo>
                      <a:pt x="16" y="120"/>
                    </a:lnTo>
                    <a:lnTo>
                      <a:pt x="14" y="122"/>
                    </a:lnTo>
                    <a:lnTo>
                      <a:pt x="12" y="122"/>
                    </a:lnTo>
                    <a:lnTo>
                      <a:pt x="12" y="122"/>
                    </a:lnTo>
                    <a:lnTo>
                      <a:pt x="8" y="120"/>
                    </a:lnTo>
                    <a:lnTo>
                      <a:pt x="4" y="118"/>
                    </a:lnTo>
                    <a:lnTo>
                      <a:pt x="4" y="118"/>
                    </a:lnTo>
                    <a:lnTo>
                      <a:pt x="2" y="120"/>
                    </a:lnTo>
                    <a:lnTo>
                      <a:pt x="0" y="124"/>
                    </a:lnTo>
                    <a:lnTo>
                      <a:pt x="0" y="128"/>
                    </a:lnTo>
                    <a:lnTo>
                      <a:pt x="0" y="128"/>
                    </a:lnTo>
                    <a:lnTo>
                      <a:pt x="2" y="130"/>
                    </a:lnTo>
                    <a:lnTo>
                      <a:pt x="6" y="132"/>
                    </a:lnTo>
                    <a:lnTo>
                      <a:pt x="6" y="134"/>
                    </a:lnTo>
                    <a:lnTo>
                      <a:pt x="8" y="134"/>
                    </a:lnTo>
                    <a:lnTo>
                      <a:pt x="8" y="134"/>
                    </a:lnTo>
                    <a:lnTo>
                      <a:pt x="8" y="138"/>
                    </a:lnTo>
                    <a:lnTo>
                      <a:pt x="12" y="13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1" name="Freeform 214"/>
              <p:cNvSpPr>
                <a:spLocks noChangeAspect="1" noEditPoints="1"/>
              </p:cNvSpPr>
              <p:nvPr/>
            </p:nvSpPr>
            <p:spPr bwMode="gray">
              <a:xfrm>
                <a:off x="4593544" y="3769623"/>
                <a:ext cx="241442" cy="450722"/>
              </a:xfrm>
              <a:custGeom>
                <a:avLst/>
                <a:gdLst/>
                <a:ahLst/>
                <a:cxnLst>
                  <a:cxn ang="0">
                    <a:pos x="18" y="182"/>
                  </a:cxn>
                  <a:cxn ang="0">
                    <a:pos x="18" y="188"/>
                  </a:cxn>
                  <a:cxn ang="0">
                    <a:pos x="22" y="194"/>
                  </a:cxn>
                  <a:cxn ang="0">
                    <a:pos x="22" y="202"/>
                  </a:cxn>
                  <a:cxn ang="0">
                    <a:pos x="18" y="208"/>
                  </a:cxn>
                  <a:cxn ang="0">
                    <a:pos x="22" y="218"/>
                  </a:cxn>
                  <a:cxn ang="0">
                    <a:pos x="24" y="226"/>
                  </a:cxn>
                  <a:cxn ang="0">
                    <a:pos x="24" y="232"/>
                  </a:cxn>
                  <a:cxn ang="0">
                    <a:pos x="12" y="232"/>
                  </a:cxn>
                  <a:cxn ang="0">
                    <a:pos x="6" y="238"/>
                  </a:cxn>
                  <a:cxn ang="0">
                    <a:pos x="6" y="242"/>
                  </a:cxn>
                  <a:cxn ang="0">
                    <a:pos x="18" y="260"/>
                  </a:cxn>
                  <a:cxn ang="0">
                    <a:pos x="22" y="274"/>
                  </a:cxn>
                  <a:cxn ang="0">
                    <a:pos x="32" y="268"/>
                  </a:cxn>
                  <a:cxn ang="0">
                    <a:pos x="38" y="270"/>
                  </a:cxn>
                  <a:cxn ang="0">
                    <a:pos x="60" y="266"/>
                  </a:cxn>
                  <a:cxn ang="0">
                    <a:pos x="70" y="256"/>
                  </a:cxn>
                  <a:cxn ang="0">
                    <a:pos x="74" y="254"/>
                  </a:cxn>
                  <a:cxn ang="0">
                    <a:pos x="72" y="246"/>
                  </a:cxn>
                  <a:cxn ang="0">
                    <a:pos x="78" y="242"/>
                  </a:cxn>
                  <a:cxn ang="0">
                    <a:pos x="86" y="240"/>
                  </a:cxn>
                  <a:cxn ang="0">
                    <a:pos x="94" y="236"/>
                  </a:cxn>
                  <a:cxn ang="0">
                    <a:pos x="100" y="230"/>
                  </a:cxn>
                  <a:cxn ang="0">
                    <a:pos x="108" y="226"/>
                  </a:cxn>
                  <a:cxn ang="0">
                    <a:pos x="112" y="220"/>
                  </a:cxn>
                  <a:cxn ang="0">
                    <a:pos x="118" y="216"/>
                  </a:cxn>
                  <a:cxn ang="0">
                    <a:pos x="118" y="210"/>
                  </a:cxn>
                  <a:cxn ang="0">
                    <a:pos x="116" y="204"/>
                  </a:cxn>
                  <a:cxn ang="0">
                    <a:pos x="116" y="198"/>
                  </a:cxn>
                  <a:cxn ang="0">
                    <a:pos x="114" y="192"/>
                  </a:cxn>
                  <a:cxn ang="0">
                    <a:pos x="118" y="186"/>
                  </a:cxn>
                  <a:cxn ang="0">
                    <a:pos x="112" y="182"/>
                  </a:cxn>
                  <a:cxn ang="0">
                    <a:pos x="106" y="184"/>
                  </a:cxn>
                  <a:cxn ang="0">
                    <a:pos x="106" y="178"/>
                  </a:cxn>
                  <a:cxn ang="0">
                    <a:pos x="110" y="174"/>
                  </a:cxn>
                  <a:cxn ang="0">
                    <a:pos x="112" y="168"/>
                  </a:cxn>
                  <a:cxn ang="0">
                    <a:pos x="116" y="160"/>
                  </a:cxn>
                  <a:cxn ang="0">
                    <a:pos x="118" y="152"/>
                  </a:cxn>
                  <a:cxn ang="0">
                    <a:pos x="122" y="146"/>
                  </a:cxn>
                  <a:cxn ang="0">
                    <a:pos x="122" y="140"/>
                  </a:cxn>
                  <a:cxn ang="0">
                    <a:pos x="126" y="134"/>
                  </a:cxn>
                  <a:cxn ang="0">
                    <a:pos x="132" y="132"/>
                  </a:cxn>
                  <a:cxn ang="0">
                    <a:pos x="142" y="132"/>
                  </a:cxn>
                  <a:cxn ang="0">
                    <a:pos x="12" y="10"/>
                  </a:cxn>
                  <a:cxn ang="0">
                    <a:pos x="24" y="50"/>
                  </a:cxn>
                  <a:cxn ang="0">
                    <a:pos x="26" y="58"/>
                  </a:cxn>
                  <a:cxn ang="0">
                    <a:pos x="22" y="72"/>
                  </a:cxn>
                  <a:cxn ang="0">
                    <a:pos x="0" y="146"/>
                  </a:cxn>
                  <a:cxn ang="0">
                    <a:pos x="2" y="160"/>
                  </a:cxn>
                  <a:cxn ang="0">
                    <a:pos x="6" y="160"/>
                  </a:cxn>
                  <a:cxn ang="0">
                    <a:pos x="14" y="168"/>
                  </a:cxn>
                  <a:cxn ang="0">
                    <a:pos x="24" y="168"/>
                  </a:cxn>
                  <a:cxn ang="0">
                    <a:pos x="24" y="174"/>
                  </a:cxn>
                  <a:cxn ang="0">
                    <a:pos x="20" y="172"/>
                  </a:cxn>
                  <a:cxn ang="0">
                    <a:pos x="10" y="174"/>
                  </a:cxn>
                  <a:cxn ang="0">
                    <a:pos x="2" y="160"/>
                  </a:cxn>
                </a:cxnLst>
                <a:rect l="0" t="0" r="r" b="b"/>
                <a:pathLst>
                  <a:path w="142" h="274">
                    <a:moveTo>
                      <a:pt x="8" y="174"/>
                    </a:moveTo>
                    <a:lnTo>
                      <a:pt x="8" y="174"/>
                    </a:lnTo>
                    <a:lnTo>
                      <a:pt x="18" y="182"/>
                    </a:lnTo>
                    <a:lnTo>
                      <a:pt x="18" y="182"/>
                    </a:lnTo>
                    <a:lnTo>
                      <a:pt x="18" y="186"/>
                    </a:lnTo>
                    <a:lnTo>
                      <a:pt x="18" y="188"/>
                    </a:lnTo>
                    <a:lnTo>
                      <a:pt x="18" y="190"/>
                    </a:lnTo>
                    <a:lnTo>
                      <a:pt x="18" y="190"/>
                    </a:lnTo>
                    <a:lnTo>
                      <a:pt x="22" y="194"/>
                    </a:lnTo>
                    <a:lnTo>
                      <a:pt x="22" y="198"/>
                    </a:lnTo>
                    <a:lnTo>
                      <a:pt x="22" y="198"/>
                    </a:lnTo>
                    <a:lnTo>
                      <a:pt x="22" y="202"/>
                    </a:lnTo>
                    <a:lnTo>
                      <a:pt x="22" y="202"/>
                    </a:lnTo>
                    <a:lnTo>
                      <a:pt x="20" y="204"/>
                    </a:lnTo>
                    <a:lnTo>
                      <a:pt x="18" y="208"/>
                    </a:lnTo>
                    <a:lnTo>
                      <a:pt x="18" y="208"/>
                    </a:lnTo>
                    <a:lnTo>
                      <a:pt x="20" y="214"/>
                    </a:lnTo>
                    <a:lnTo>
                      <a:pt x="22" y="218"/>
                    </a:lnTo>
                    <a:lnTo>
                      <a:pt x="22" y="218"/>
                    </a:lnTo>
                    <a:lnTo>
                      <a:pt x="22" y="222"/>
                    </a:lnTo>
                    <a:lnTo>
                      <a:pt x="24" y="226"/>
                    </a:lnTo>
                    <a:lnTo>
                      <a:pt x="24" y="226"/>
                    </a:lnTo>
                    <a:lnTo>
                      <a:pt x="24" y="230"/>
                    </a:lnTo>
                    <a:lnTo>
                      <a:pt x="24" y="232"/>
                    </a:lnTo>
                    <a:lnTo>
                      <a:pt x="24" y="232"/>
                    </a:lnTo>
                    <a:lnTo>
                      <a:pt x="18" y="232"/>
                    </a:lnTo>
                    <a:lnTo>
                      <a:pt x="12" y="232"/>
                    </a:lnTo>
                    <a:lnTo>
                      <a:pt x="8" y="234"/>
                    </a:lnTo>
                    <a:lnTo>
                      <a:pt x="8" y="234"/>
                    </a:lnTo>
                    <a:lnTo>
                      <a:pt x="6" y="238"/>
                    </a:lnTo>
                    <a:lnTo>
                      <a:pt x="6" y="240"/>
                    </a:lnTo>
                    <a:lnTo>
                      <a:pt x="6" y="242"/>
                    </a:lnTo>
                    <a:lnTo>
                      <a:pt x="6" y="242"/>
                    </a:lnTo>
                    <a:lnTo>
                      <a:pt x="16" y="254"/>
                    </a:lnTo>
                    <a:lnTo>
                      <a:pt x="16" y="254"/>
                    </a:lnTo>
                    <a:lnTo>
                      <a:pt x="18" y="260"/>
                    </a:lnTo>
                    <a:lnTo>
                      <a:pt x="20" y="266"/>
                    </a:lnTo>
                    <a:lnTo>
                      <a:pt x="16" y="274"/>
                    </a:lnTo>
                    <a:lnTo>
                      <a:pt x="22" y="274"/>
                    </a:lnTo>
                    <a:lnTo>
                      <a:pt x="28" y="274"/>
                    </a:lnTo>
                    <a:lnTo>
                      <a:pt x="32" y="268"/>
                    </a:lnTo>
                    <a:lnTo>
                      <a:pt x="32" y="268"/>
                    </a:lnTo>
                    <a:lnTo>
                      <a:pt x="34" y="270"/>
                    </a:lnTo>
                    <a:lnTo>
                      <a:pt x="38" y="270"/>
                    </a:lnTo>
                    <a:lnTo>
                      <a:pt x="38" y="270"/>
                    </a:lnTo>
                    <a:lnTo>
                      <a:pt x="54" y="268"/>
                    </a:lnTo>
                    <a:lnTo>
                      <a:pt x="54" y="268"/>
                    </a:lnTo>
                    <a:lnTo>
                      <a:pt x="60" y="266"/>
                    </a:lnTo>
                    <a:lnTo>
                      <a:pt x="64" y="260"/>
                    </a:lnTo>
                    <a:lnTo>
                      <a:pt x="64" y="260"/>
                    </a:lnTo>
                    <a:lnTo>
                      <a:pt x="70" y="256"/>
                    </a:lnTo>
                    <a:lnTo>
                      <a:pt x="74" y="254"/>
                    </a:lnTo>
                    <a:lnTo>
                      <a:pt x="74" y="254"/>
                    </a:lnTo>
                    <a:lnTo>
                      <a:pt x="74" y="254"/>
                    </a:lnTo>
                    <a:lnTo>
                      <a:pt x="72" y="252"/>
                    </a:lnTo>
                    <a:lnTo>
                      <a:pt x="70" y="250"/>
                    </a:lnTo>
                    <a:lnTo>
                      <a:pt x="72" y="246"/>
                    </a:lnTo>
                    <a:lnTo>
                      <a:pt x="72" y="246"/>
                    </a:lnTo>
                    <a:lnTo>
                      <a:pt x="74" y="244"/>
                    </a:lnTo>
                    <a:lnTo>
                      <a:pt x="78" y="242"/>
                    </a:lnTo>
                    <a:lnTo>
                      <a:pt x="84" y="242"/>
                    </a:lnTo>
                    <a:lnTo>
                      <a:pt x="86" y="240"/>
                    </a:lnTo>
                    <a:lnTo>
                      <a:pt x="86" y="240"/>
                    </a:lnTo>
                    <a:lnTo>
                      <a:pt x="90" y="238"/>
                    </a:lnTo>
                    <a:lnTo>
                      <a:pt x="94" y="236"/>
                    </a:lnTo>
                    <a:lnTo>
                      <a:pt x="94" y="236"/>
                    </a:lnTo>
                    <a:lnTo>
                      <a:pt x="96" y="236"/>
                    </a:lnTo>
                    <a:lnTo>
                      <a:pt x="98" y="234"/>
                    </a:lnTo>
                    <a:lnTo>
                      <a:pt x="100" y="230"/>
                    </a:lnTo>
                    <a:lnTo>
                      <a:pt x="100" y="230"/>
                    </a:lnTo>
                    <a:lnTo>
                      <a:pt x="108" y="226"/>
                    </a:lnTo>
                    <a:lnTo>
                      <a:pt x="108" y="226"/>
                    </a:lnTo>
                    <a:lnTo>
                      <a:pt x="110" y="224"/>
                    </a:lnTo>
                    <a:lnTo>
                      <a:pt x="112" y="220"/>
                    </a:lnTo>
                    <a:lnTo>
                      <a:pt x="112" y="220"/>
                    </a:lnTo>
                    <a:lnTo>
                      <a:pt x="114" y="218"/>
                    </a:lnTo>
                    <a:lnTo>
                      <a:pt x="116" y="216"/>
                    </a:lnTo>
                    <a:lnTo>
                      <a:pt x="118" y="216"/>
                    </a:lnTo>
                    <a:lnTo>
                      <a:pt x="118" y="216"/>
                    </a:lnTo>
                    <a:lnTo>
                      <a:pt x="118" y="214"/>
                    </a:lnTo>
                    <a:lnTo>
                      <a:pt x="118" y="210"/>
                    </a:lnTo>
                    <a:lnTo>
                      <a:pt x="118" y="210"/>
                    </a:lnTo>
                    <a:lnTo>
                      <a:pt x="114" y="206"/>
                    </a:lnTo>
                    <a:lnTo>
                      <a:pt x="116" y="204"/>
                    </a:lnTo>
                    <a:lnTo>
                      <a:pt x="116" y="204"/>
                    </a:lnTo>
                    <a:lnTo>
                      <a:pt x="116" y="198"/>
                    </a:lnTo>
                    <a:lnTo>
                      <a:pt x="116" y="198"/>
                    </a:lnTo>
                    <a:lnTo>
                      <a:pt x="114" y="194"/>
                    </a:lnTo>
                    <a:lnTo>
                      <a:pt x="114" y="194"/>
                    </a:lnTo>
                    <a:lnTo>
                      <a:pt x="114" y="192"/>
                    </a:lnTo>
                    <a:lnTo>
                      <a:pt x="116" y="190"/>
                    </a:lnTo>
                    <a:lnTo>
                      <a:pt x="118" y="188"/>
                    </a:lnTo>
                    <a:lnTo>
                      <a:pt x="118" y="186"/>
                    </a:lnTo>
                    <a:lnTo>
                      <a:pt x="118" y="186"/>
                    </a:lnTo>
                    <a:lnTo>
                      <a:pt x="114" y="184"/>
                    </a:lnTo>
                    <a:lnTo>
                      <a:pt x="112" y="182"/>
                    </a:lnTo>
                    <a:lnTo>
                      <a:pt x="112" y="182"/>
                    </a:lnTo>
                    <a:lnTo>
                      <a:pt x="108" y="184"/>
                    </a:lnTo>
                    <a:lnTo>
                      <a:pt x="106" y="184"/>
                    </a:lnTo>
                    <a:lnTo>
                      <a:pt x="106" y="182"/>
                    </a:lnTo>
                    <a:lnTo>
                      <a:pt x="106" y="182"/>
                    </a:lnTo>
                    <a:lnTo>
                      <a:pt x="106" y="178"/>
                    </a:lnTo>
                    <a:lnTo>
                      <a:pt x="106" y="176"/>
                    </a:lnTo>
                    <a:lnTo>
                      <a:pt x="106" y="176"/>
                    </a:lnTo>
                    <a:lnTo>
                      <a:pt x="110" y="174"/>
                    </a:lnTo>
                    <a:lnTo>
                      <a:pt x="110" y="170"/>
                    </a:lnTo>
                    <a:lnTo>
                      <a:pt x="110" y="170"/>
                    </a:lnTo>
                    <a:lnTo>
                      <a:pt x="112" y="168"/>
                    </a:lnTo>
                    <a:lnTo>
                      <a:pt x="114" y="166"/>
                    </a:lnTo>
                    <a:lnTo>
                      <a:pt x="114" y="166"/>
                    </a:lnTo>
                    <a:lnTo>
                      <a:pt x="116" y="160"/>
                    </a:lnTo>
                    <a:lnTo>
                      <a:pt x="118" y="156"/>
                    </a:lnTo>
                    <a:lnTo>
                      <a:pt x="118" y="156"/>
                    </a:lnTo>
                    <a:lnTo>
                      <a:pt x="118" y="152"/>
                    </a:lnTo>
                    <a:lnTo>
                      <a:pt x="120" y="150"/>
                    </a:lnTo>
                    <a:lnTo>
                      <a:pt x="120" y="150"/>
                    </a:lnTo>
                    <a:lnTo>
                      <a:pt x="122" y="146"/>
                    </a:lnTo>
                    <a:lnTo>
                      <a:pt x="122" y="142"/>
                    </a:lnTo>
                    <a:lnTo>
                      <a:pt x="122" y="142"/>
                    </a:lnTo>
                    <a:lnTo>
                      <a:pt x="122" y="140"/>
                    </a:lnTo>
                    <a:lnTo>
                      <a:pt x="122" y="138"/>
                    </a:lnTo>
                    <a:lnTo>
                      <a:pt x="126" y="134"/>
                    </a:lnTo>
                    <a:lnTo>
                      <a:pt x="126" y="134"/>
                    </a:lnTo>
                    <a:lnTo>
                      <a:pt x="126" y="132"/>
                    </a:lnTo>
                    <a:lnTo>
                      <a:pt x="128" y="132"/>
                    </a:lnTo>
                    <a:lnTo>
                      <a:pt x="132" y="132"/>
                    </a:lnTo>
                    <a:lnTo>
                      <a:pt x="132" y="132"/>
                    </a:lnTo>
                    <a:lnTo>
                      <a:pt x="138" y="134"/>
                    </a:lnTo>
                    <a:lnTo>
                      <a:pt x="142" y="132"/>
                    </a:lnTo>
                    <a:lnTo>
                      <a:pt x="142" y="70"/>
                    </a:lnTo>
                    <a:lnTo>
                      <a:pt x="26" y="0"/>
                    </a:lnTo>
                    <a:lnTo>
                      <a:pt x="12" y="10"/>
                    </a:lnTo>
                    <a:lnTo>
                      <a:pt x="20" y="44"/>
                    </a:lnTo>
                    <a:lnTo>
                      <a:pt x="20" y="44"/>
                    </a:lnTo>
                    <a:lnTo>
                      <a:pt x="24" y="50"/>
                    </a:lnTo>
                    <a:lnTo>
                      <a:pt x="26" y="54"/>
                    </a:lnTo>
                    <a:lnTo>
                      <a:pt x="26" y="58"/>
                    </a:lnTo>
                    <a:lnTo>
                      <a:pt x="26" y="58"/>
                    </a:lnTo>
                    <a:lnTo>
                      <a:pt x="22" y="64"/>
                    </a:lnTo>
                    <a:lnTo>
                      <a:pt x="22" y="72"/>
                    </a:lnTo>
                    <a:lnTo>
                      <a:pt x="22" y="72"/>
                    </a:lnTo>
                    <a:lnTo>
                      <a:pt x="20" y="102"/>
                    </a:lnTo>
                    <a:lnTo>
                      <a:pt x="22" y="128"/>
                    </a:lnTo>
                    <a:lnTo>
                      <a:pt x="0" y="146"/>
                    </a:lnTo>
                    <a:lnTo>
                      <a:pt x="0" y="160"/>
                    </a:lnTo>
                    <a:lnTo>
                      <a:pt x="8" y="174"/>
                    </a:lnTo>
                    <a:close/>
                    <a:moveTo>
                      <a:pt x="2" y="160"/>
                    </a:moveTo>
                    <a:lnTo>
                      <a:pt x="2" y="160"/>
                    </a:lnTo>
                    <a:lnTo>
                      <a:pt x="6" y="160"/>
                    </a:lnTo>
                    <a:lnTo>
                      <a:pt x="6" y="160"/>
                    </a:lnTo>
                    <a:lnTo>
                      <a:pt x="6" y="164"/>
                    </a:lnTo>
                    <a:lnTo>
                      <a:pt x="6" y="164"/>
                    </a:lnTo>
                    <a:lnTo>
                      <a:pt x="14" y="168"/>
                    </a:lnTo>
                    <a:lnTo>
                      <a:pt x="14" y="168"/>
                    </a:lnTo>
                    <a:lnTo>
                      <a:pt x="24" y="168"/>
                    </a:lnTo>
                    <a:lnTo>
                      <a:pt x="24" y="168"/>
                    </a:lnTo>
                    <a:lnTo>
                      <a:pt x="24" y="174"/>
                    </a:lnTo>
                    <a:lnTo>
                      <a:pt x="24" y="174"/>
                    </a:lnTo>
                    <a:lnTo>
                      <a:pt x="24" y="174"/>
                    </a:lnTo>
                    <a:lnTo>
                      <a:pt x="22" y="174"/>
                    </a:lnTo>
                    <a:lnTo>
                      <a:pt x="22" y="174"/>
                    </a:lnTo>
                    <a:lnTo>
                      <a:pt x="20" y="172"/>
                    </a:lnTo>
                    <a:lnTo>
                      <a:pt x="20" y="172"/>
                    </a:lnTo>
                    <a:lnTo>
                      <a:pt x="14" y="172"/>
                    </a:lnTo>
                    <a:lnTo>
                      <a:pt x="10" y="174"/>
                    </a:lnTo>
                    <a:lnTo>
                      <a:pt x="10" y="174"/>
                    </a:lnTo>
                    <a:lnTo>
                      <a:pt x="2" y="160"/>
                    </a:lnTo>
                    <a:lnTo>
                      <a:pt x="2" y="1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2" name="Freeform 215"/>
              <p:cNvSpPr>
                <a:spLocks noChangeAspect="1"/>
              </p:cNvSpPr>
              <p:nvPr/>
            </p:nvSpPr>
            <p:spPr bwMode="gray">
              <a:xfrm>
                <a:off x="4596680" y="4124936"/>
                <a:ext cx="302587" cy="213846"/>
              </a:xfrm>
              <a:custGeom>
                <a:avLst/>
                <a:gdLst/>
                <a:ahLst/>
                <a:cxnLst>
                  <a:cxn ang="0">
                    <a:pos x="64" y="106"/>
                  </a:cxn>
                  <a:cxn ang="0">
                    <a:pos x="70" y="98"/>
                  </a:cxn>
                  <a:cxn ang="0">
                    <a:pos x="76" y="90"/>
                  </a:cxn>
                  <a:cxn ang="0">
                    <a:pos x="86" y="92"/>
                  </a:cxn>
                  <a:cxn ang="0">
                    <a:pos x="94" y="98"/>
                  </a:cxn>
                  <a:cxn ang="0">
                    <a:pos x="106" y="100"/>
                  </a:cxn>
                  <a:cxn ang="0">
                    <a:pos x="114" y="102"/>
                  </a:cxn>
                  <a:cxn ang="0">
                    <a:pos x="122" y="100"/>
                  </a:cxn>
                  <a:cxn ang="0">
                    <a:pos x="126" y="96"/>
                  </a:cxn>
                  <a:cxn ang="0">
                    <a:pos x="132" y="100"/>
                  </a:cxn>
                  <a:cxn ang="0">
                    <a:pos x="142" y="98"/>
                  </a:cxn>
                  <a:cxn ang="0">
                    <a:pos x="142" y="94"/>
                  </a:cxn>
                  <a:cxn ang="0">
                    <a:pos x="146" y="94"/>
                  </a:cxn>
                  <a:cxn ang="0">
                    <a:pos x="150" y="94"/>
                  </a:cxn>
                  <a:cxn ang="0">
                    <a:pos x="156" y="88"/>
                  </a:cxn>
                  <a:cxn ang="0">
                    <a:pos x="166" y="88"/>
                  </a:cxn>
                  <a:cxn ang="0">
                    <a:pos x="170" y="90"/>
                  </a:cxn>
                  <a:cxn ang="0">
                    <a:pos x="178" y="88"/>
                  </a:cxn>
                  <a:cxn ang="0">
                    <a:pos x="174" y="84"/>
                  </a:cxn>
                  <a:cxn ang="0">
                    <a:pos x="174" y="76"/>
                  </a:cxn>
                  <a:cxn ang="0">
                    <a:pos x="166" y="68"/>
                  </a:cxn>
                  <a:cxn ang="0">
                    <a:pos x="160" y="58"/>
                  </a:cxn>
                  <a:cxn ang="0">
                    <a:pos x="154" y="56"/>
                  </a:cxn>
                  <a:cxn ang="0">
                    <a:pos x="148" y="52"/>
                  </a:cxn>
                  <a:cxn ang="0">
                    <a:pos x="140" y="50"/>
                  </a:cxn>
                  <a:cxn ang="0">
                    <a:pos x="138" y="48"/>
                  </a:cxn>
                  <a:cxn ang="0">
                    <a:pos x="130" y="38"/>
                  </a:cxn>
                  <a:cxn ang="0">
                    <a:pos x="130" y="32"/>
                  </a:cxn>
                  <a:cxn ang="0">
                    <a:pos x="126" y="22"/>
                  </a:cxn>
                  <a:cxn ang="0">
                    <a:pos x="124" y="16"/>
                  </a:cxn>
                  <a:cxn ang="0">
                    <a:pos x="116" y="0"/>
                  </a:cxn>
                  <a:cxn ang="0">
                    <a:pos x="112" y="2"/>
                  </a:cxn>
                  <a:cxn ang="0">
                    <a:pos x="108" y="8"/>
                  </a:cxn>
                  <a:cxn ang="0">
                    <a:pos x="98" y="14"/>
                  </a:cxn>
                  <a:cxn ang="0">
                    <a:pos x="94" y="20"/>
                  </a:cxn>
                  <a:cxn ang="0">
                    <a:pos x="88" y="22"/>
                  </a:cxn>
                  <a:cxn ang="0">
                    <a:pos x="82" y="26"/>
                  </a:cxn>
                  <a:cxn ang="0">
                    <a:pos x="70" y="30"/>
                  </a:cxn>
                  <a:cxn ang="0">
                    <a:pos x="70" y="36"/>
                  </a:cxn>
                  <a:cxn ang="0">
                    <a:pos x="72" y="38"/>
                  </a:cxn>
                  <a:cxn ang="0">
                    <a:pos x="62" y="44"/>
                  </a:cxn>
                  <a:cxn ang="0">
                    <a:pos x="52" y="52"/>
                  </a:cxn>
                  <a:cxn ang="0">
                    <a:pos x="32" y="54"/>
                  </a:cxn>
                  <a:cxn ang="0">
                    <a:pos x="20" y="58"/>
                  </a:cxn>
                  <a:cxn ang="0">
                    <a:pos x="10" y="66"/>
                  </a:cxn>
                  <a:cxn ang="0">
                    <a:pos x="4" y="76"/>
                  </a:cxn>
                  <a:cxn ang="0">
                    <a:pos x="2" y="82"/>
                  </a:cxn>
                  <a:cxn ang="0">
                    <a:pos x="6" y="88"/>
                  </a:cxn>
                  <a:cxn ang="0">
                    <a:pos x="12" y="102"/>
                  </a:cxn>
                  <a:cxn ang="0">
                    <a:pos x="18" y="112"/>
                  </a:cxn>
                  <a:cxn ang="0">
                    <a:pos x="26" y="120"/>
                  </a:cxn>
                  <a:cxn ang="0">
                    <a:pos x="36" y="130"/>
                  </a:cxn>
                  <a:cxn ang="0">
                    <a:pos x="42" y="126"/>
                  </a:cxn>
                  <a:cxn ang="0">
                    <a:pos x="46" y="120"/>
                  </a:cxn>
                  <a:cxn ang="0">
                    <a:pos x="52" y="122"/>
                  </a:cxn>
                  <a:cxn ang="0">
                    <a:pos x="62" y="118"/>
                  </a:cxn>
                </a:cxnLst>
                <a:rect l="0" t="0" r="r" b="b"/>
                <a:pathLst>
                  <a:path w="178" h="130">
                    <a:moveTo>
                      <a:pt x="62" y="118"/>
                    </a:moveTo>
                    <a:lnTo>
                      <a:pt x="64" y="106"/>
                    </a:lnTo>
                    <a:lnTo>
                      <a:pt x="64" y="106"/>
                    </a:lnTo>
                    <a:lnTo>
                      <a:pt x="66" y="104"/>
                    </a:lnTo>
                    <a:lnTo>
                      <a:pt x="70" y="102"/>
                    </a:lnTo>
                    <a:lnTo>
                      <a:pt x="70" y="98"/>
                    </a:lnTo>
                    <a:lnTo>
                      <a:pt x="70" y="98"/>
                    </a:lnTo>
                    <a:lnTo>
                      <a:pt x="72" y="94"/>
                    </a:lnTo>
                    <a:lnTo>
                      <a:pt x="76" y="90"/>
                    </a:lnTo>
                    <a:lnTo>
                      <a:pt x="76" y="90"/>
                    </a:lnTo>
                    <a:lnTo>
                      <a:pt x="80" y="90"/>
                    </a:lnTo>
                    <a:lnTo>
                      <a:pt x="86" y="92"/>
                    </a:lnTo>
                    <a:lnTo>
                      <a:pt x="86" y="92"/>
                    </a:lnTo>
                    <a:lnTo>
                      <a:pt x="90" y="96"/>
                    </a:lnTo>
                    <a:lnTo>
                      <a:pt x="94" y="98"/>
                    </a:lnTo>
                    <a:lnTo>
                      <a:pt x="94" y="98"/>
                    </a:lnTo>
                    <a:lnTo>
                      <a:pt x="100" y="100"/>
                    </a:lnTo>
                    <a:lnTo>
                      <a:pt x="106" y="100"/>
                    </a:lnTo>
                    <a:lnTo>
                      <a:pt x="106" y="100"/>
                    </a:lnTo>
                    <a:lnTo>
                      <a:pt x="114" y="102"/>
                    </a:lnTo>
                    <a:lnTo>
                      <a:pt x="114" y="102"/>
                    </a:lnTo>
                    <a:lnTo>
                      <a:pt x="122" y="104"/>
                    </a:lnTo>
                    <a:lnTo>
                      <a:pt x="122" y="104"/>
                    </a:lnTo>
                    <a:lnTo>
                      <a:pt x="122" y="100"/>
                    </a:lnTo>
                    <a:lnTo>
                      <a:pt x="124" y="96"/>
                    </a:lnTo>
                    <a:lnTo>
                      <a:pt x="126" y="96"/>
                    </a:lnTo>
                    <a:lnTo>
                      <a:pt x="126" y="96"/>
                    </a:lnTo>
                    <a:lnTo>
                      <a:pt x="128" y="96"/>
                    </a:lnTo>
                    <a:lnTo>
                      <a:pt x="130" y="98"/>
                    </a:lnTo>
                    <a:lnTo>
                      <a:pt x="132" y="100"/>
                    </a:lnTo>
                    <a:lnTo>
                      <a:pt x="134" y="98"/>
                    </a:lnTo>
                    <a:lnTo>
                      <a:pt x="134" y="98"/>
                    </a:lnTo>
                    <a:lnTo>
                      <a:pt x="142" y="98"/>
                    </a:lnTo>
                    <a:lnTo>
                      <a:pt x="142" y="98"/>
                    </a:lnTo>
                    <a:lnTo>
                      <a:pt x="142" y="96"/>
                    </a:lnTo>
                    <a:lnTo>
                      <a:pt x="142" y="94"/>
                    </a:lnTo>
                    <a:lnTo>
                      <a:pt x="144" y="92"/>
                    </a:lnTo>
                    <a:lnTo>
                      <a:pt x="144" y="92"/>
                    </a:lnTo>
                    <a:lnTo>
                      <a:pt x="146" y="94"/>
                    </a:lnTo>
                    <a:lnTo>
                      <a:pt x="146" y="94"/>
                    </a:lnTo>
                    <a:lnTo>
                      <a:pt x="148" y="96"/>
                    </a:lnTo>
                    <a:lnTo>
                      <a:pt x="150" y="94"/>
                    </a:lnTo>
                    <a:lnTo>
                      <a:pt x="150" y="94"/>
                    </a:lnTo>
                    <a:lnTo>
                      <a:pt x="152" y="90"/>
                    </a:lnTo>
                    <a:lnTo>
                      <a:pt x="156" y="88"/>
                    </a:lnTo>
                    <a:lnTo>
                      <a:pt x="156" y="88"/>
                    </a:lnTo>
                    <a:lnTo>
                      <a:pt x="166" y="88"/>
                    </a:lnTo>
                    <a:lnTo>
                      <a:pt x="166" y="88"/>
                    </a:lnTo>
                    <a:lnTo>
                      <a:pt x="170" y="90"/>
                    </a:lnTo>
                    <a:lnTo>
                      <a:pt x="170" y="90"/>
                    </a:lnTo>
                    <a:lnTo>
                      <a:pt x="170" y="90"/>
                    </a:lnTo>
                    <a:lnTo>
                      <a:pt x="178" y="90"/>
                    </a:lnTo>
                    <a:lnTo>
                      <a:pt x="178" y="90"/>
                    </a:lnTo>
                    <a:lnTo>
                      <a:pt x="178" y="88"/>
                    </a:lnTo>
                    <a:lnTo>
                      <a:pt x="176" y="84"/>
                    </a:lnTo>
                    <a:lnTo>
                      <a:pt x="176" y="84"/>
                    </a:lnTo>
                    <a:lnTo>
                      <a:pt x="174" y="84"/>
                    </a:lnTo>
                    <a:lnTo>
                      <a:pt x="174" y="82"/>
                    </a:lnTo>
                    <a:lnTo>
                      <a:pt x="174" y="76"/>
                    </a:lnTo>
                    <a:lnTo>
                      <a:pt x="174" y="76"/>
                    </a:lnTo>
                    <a:lnTo>
                      <a:pt x="170" y="70"/>
                    </a:lnTo>
                    <a:lnTo>
                      <a:pt x="166" y="68"/>
                    </a:lnTo>
                    <a:lnTo>
                      <a:pt x="166" y="68"/>
                    </a:lnTo>
                    <a:lnTo>
                      <a:pt x="162" y="66"/>
                    </a:lnTo>
                    <a:lnTo>
                      <a:pt x="160" y="64"/>
                    </a:lnTo>
                    <a:lnTo>
                      <a:pt x="160" y="58"/>
                    </a:lnTo>
                    <a:lnTo>
                      <a:pt x="160" y="58"/>
                    </a:lnTo>
                    <a:lnTo>
                      <a:pt x="156" y="56"/>
                    </a:lnTo>
                    <a:lnTo>
                      <a:pt x="154" y="56"/>
                    </a:lnTo>
                    <a:lnTo>
                      <a:pt x="154" y="56"/>
                    </a:lnTo>
                    <a:lnTo>
                      <a:pt x="150" y="54"/>
                    </a:lnTo>
                    <a:lnTo>
                      <a:pt x="148" y="52"/>
                    </a:lnTo>
                    <a:lnTo>
                      <a:pt x="148" y="52"/>
                    </a:lnTo>
                    <a:lnTo>
                      <a:pt x="144" y="50"/>
                    </a:lnTo>
                    <a:lnTo>
                      <a:pt x="140" y="50"/>
                    </a:lnTo>
                    <a:lnTo>
                      <a:pt x="140" y="50"/>
                    </a:lnTo>
                    <a:lnTo>
                      <a:pt x="140" y="48"/>
                    </a:lnTo>
                    <a:lnTo>
                      <a:pt x="138" y="48"/>
                    </a:lnTo>
                    <a:lnTo>
                      <a:pt x="136" y="44"/>
                    </a:lnTo>
                    <a:lnTo>
                      <a:pt x="136" y="44"/>
                    </a:lnTo>
                    <a:lnTo>
                      <a:pt x="130" y="38"/>
                    </a:lnTo>
                    <a:lnTo>
                      <a:pt x="130" y="36"/>
                    </a:lnTo>
                    <a:lnTo>
                      <a:pt x="130" y="32"/>
                    </a:lnTo>
                    <a:lnTo>
                      <a:pt x="130" y="32"/>
                    </a:lnTo>
                    <a:lnTo>
                      <a:pt x="130" y="26"/>
                    </a:lnTo>
                    <a:lnTo>
                      <a:pt x="126" y="22"/>
                    </a:lnTo>
                    <a:lnTo>
                      <a:pt x="126" y="22"/>
                    </a:lnTo>
                    <a:lnTo>
                      <a:pt x="124" y="20"/>
                    </a:lnTo>
                    <a:lnTo>
                      <a:pt x="124" y="16"/>
                    </a:lnTo>
                    <a:lnTo>
                      <a:pt x="124" y="16"/>
                    </a:lnTo>
                    <a:lnTo>
                      <a:pt x="124" y="10"/>
                    </a:lnTo>
                    <a:lnTo>
                      <a:pt x="124" y="8"/>
                    </a:lnTo>
                    <a:lnTo>
                      <a:pt x="116" y="0"/>
                    </a:lnTo>
                    <a:lnTo>
                      <a:pt x="116" y="0"/>
                    </a:lnTo>
                    <a:lnTo>
                      <a:pt x="114" y="0"/>
                    </a:lnTo>
                    <a:lnTo>
                      <a:pt x="112" y="2"/>
                    </a:lnTo>
                    <a:lnTo>
                      <a:pt x="110" y="4"/>
                    </a:lnTo>
                    <a:lnTo>
                      <a:pt x="110" y="4"/>
                    </a:lnTo>
                    <a:lnTo>
                      <a:pt x="108" y="8"/>
                    </a:lnTo>
                    <a:lnTo>
                      <a:pt x="106" y="10"/>
                    </a:lnTo>
                    <a:lnTo>
                      <a:pt x="106" y="10"/>
                    </a:lnTo>
                    <a:lnTo>
                      <a:pt x="98" y="14"/>
                    </a:lnTo>
                    <a:lnTo>
                      <a:pt x="98" y="14"/>
                    </a:lnTo>
                    <a:lnTo>
                      <a:pt x="96" y="18"/>
                    </a:lnTo>
                    <a:lnTo>
                      <a:pt x="94" y="20"/>
                    </a:lnTo>
                    <a:lnTo>
                      <a:pt x="92" y="20"/>
                    </a:lnTo>
                    <a:lnTo>
                      <a:pt x="92" y="20"/>
                    </a:lnTo>
                    <a:lnTo>
                      <a:pt x="88" y="22"/>
                    </a:lnTo>
                    <a:lnTo>
                      <a:pt x="84" y="24"/>
                    </a:lnTo>
                    <a:lnTo>
                      <a:pt x="84" y="24"/>
                    </a:lnTo>
                    <a:lnTo>
                      <a:pt x="82" y="26"/>
                    </a:lnTo>
                    <a:lnTo>
                      <a:pt x="76" y="26"/>
                    </a:lnTo>
                    <a:lnTo>
                      <a:pt x="72" y="28"/>
                    </a:lnTo>
                    <a:lnTo>
                      <a:pt x="70" y="30"/>
                    </a:lnTo>
                    <a:lnTo>
                      <a:pt x="70" y="30"/>
                    </a:lnTo>
                    <a:lnTo>
                      <a:pt x="68" y="34"/>
                    </a:lnTo>
                    <a:lnTo>
                      <a:pt x="70" y="36"/>
                    </a:lnTo>
                    <a:lnTo>
                      <a:pt x="72" y="38"/>
                    </a:lnTo>
                    <a:lnTo>
                      <a:pt x="72" y="38"/>
                    </a:lnTo>
                    <a:lnTo>
                      <a:pt x="72" y="38"/>
                    </a:lnTo>
                    <a:lnTo>
                      <a:pt x="68" y="40"/>
                    </a:lnTo>
                    <a:lnTo>
                      <a:pt x="62" y="44"/>
                    </a:lnTo>
                    <a:lnTo>
                      <a:pt x="62" y="44"/>
                    </a:lnTo>
                    <a:lnTo>
                      <a:pt x="58" y="50"/>
                    </a:lnTo>
                    <a:lnTo>
                      <a:pt x="52" y="52"/>
                    </a:lnTo>
                    <a:lnTo>
                      <a:pt x="52" y="52"/>
                    </a:lnTo>
                    <a:lnTo>
                      <a:pt x="36" y="54"/>
                    </a:lnTo>
                    <a:lnTo>
                      <a:pt x="36" y="54"/>
                    </a:lnTo>
                    <a:lnTo>
                      <a:pt x="32" y="54"/>
                    </a:lnTo>
                    <a:lnTo>
                      <a:pt x="30" y="52"/>
                    </a:lnTo>
                    <a:lnTo>
                      <a:pt x="26" y="58"/>
                    </a:lnTo>
                    <a:lnTo>
                      <a:pt x="20" y="58"/>
                    </a:lnTo>
                    <a:lnTo>
                      <a:pt x="14" y="58"/>
                    </a:lnTo>
                    <a:lnTo>
                      <a:pt x="14" y="58"/>
                    </a:lnTo>
                    <a:lnTo>
                      <a:pt x="10" y="66"/>
                    </a:lnTo>
                    <a:lnTo>
                      <a:pt x="8" y="72"/>
                    </a:lnTo>
                    <a:lnTo>
                      <a:pt x="4" y="76"/>
                    </a:lnTo>
                    <a:lnTo>
                      <a:pt x="4" y="76"/>
                    </a:lnTo>
                    <a:lnTo>
                      <a:pt x="0" y="80"/>
                    </a:lnTo>
                    <a:lnTo>
                      <a:pt x="0" y="80"/>
                    </a:lnTo>
                    <a:lnTo>
                      <a:pt x="2" y="82"/>
                    </a:lnTo>
                    <a:lnTo>
                      <a:pt x="2" y="82"/>
                    </a:lnTo>
                    <a:lnTo>
                      <a:pt x="4" y="84"/>
                    </a:lnTo>
                    <a:lnTo>
                      <a:pt x="6" y="88"/>
                    </a:lnTo>
                    <a:lnTo>
                      <a:pt x="6" y="88"/>
                    </a:lnTo>
                    <a:lnTo>
                      <a:pt x="12" y="102"/>
                    </a:lnTo>
                    <a:lnTo>
                      <a:pt x="12" y="102"/>
                    </a:lnTo>
                    <a:lnTo>
                      <a:pt x="16" y="106"/>
                    </a:lnTo>
                    <a:lnTo>
                      <a:pt x="18" y="112"/>
                    </a:lnTo>
                    <a:lnTo>
                      <a:pt x="18" y="112"/>
                    </a:lnTo>
                    <a:lnTo>
                      <a:pt x="24" y="116"/>
                    </a:lnTo>
                    <a:lnTo>
                      <a:pt x="26" y="120"/>
                    </a:lnTo>
                    <a:lnTo>
                      <a:pt x="26" y="120"/>
                    </a:lnTo>
                    <a:lnTo>
                      <a:pt x="32" y="126"/>
                    </a:lnTo>
                    <a:lnTo>
                      <a:pt x="36" y="130"/>
                    </a:lnTo>
                    <a:lnTo>
                      <a:pt x="36" y="130"/>
                    </a:lnTo>
                    <a:lnTo>
                      <a:pt x="38" y="130"/>
                    </a:lnTo>
                    <a:lnTo>
                      <a:pt x="40" y="128"/>
                    </a:lnTo>
                    <a:lnTo>
                      <a:pt x="42" y="126"/>
                    </a:lnTo>
                    <a:lnTo>
                      <a:pt x="42" y="126"/>
                    </a:lnTo>
                    <a:lnTo>
                      <a:pt x="42" y="122"/>
                    </a:lnTo>
                    <a:lnTo>
                      <a:pt x="46" y="120"/>
                    </a:lnTo>
                    <a:lnTo>
                      <a:pt x="46" y="120"/>
                    </a:lnTo>
                    <a:lnTo>
                      <a:pt x="50" y="122"/>
                    </a:lnTo>
                    <a:lnTo>
                      <a:pt x="52" y="122"/>
                    </a:lnTo>
                    <a:lnTo>
                      <a:pt x="52" y="122"/>
                    </a:lnTo>
                    <a:lnTo>
                      <a:pt x="62" y="118"/>
                    </a:lnTo>
                    <a:lnTo>
                      <a:pt x="62" y="11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3" name="Freeform 236"/>
              <p:cNvSpPr>
                <a:spLocks noChangeAspect="1"/>
              </p:cNvSpPr>
              <p:nvPr/>
            </p:nvSpPr>
            <p:spPr bwMode="gray">
              <a:xfrm>
                <a:off x="4469687" y="4055847"/>
                <a:ext cx="188137" cy="305964"/>
              </a:xfrm>
              <a:custGeom>
                <a:avLst/>
                <a:gdLst/>
                <a:ahLst/>
                <a:cxnLst>
                  <a:cxn ang="0">
                    <a:pos x="2" y="148"/>
                  </a:cxn>
                  <a:cxn ang="0">
                    <a:pos x="8" y="148"/>
                  </a:cxn>
                  <a:cxn ang="0">
                    <a:pos x="8" y="150"/>
                  </a:cxn>
                  <a:cxn ang="0">
                    <a:pos x="10" y="156"/>
                  </a:cxn>
                  <a:cxn ang="0">
                    <a:pos x="16" y="158"/>
                  </a:cxn>
                  <a:cxn ang="0">
                    <a:pos x="22" y="170"/>
                  </a:cxn>
                  <a:cxn ang="0">
                    <a:pos x="45" y="182"/>
                  </a:cxn>
                  <a:cxn ang="0">
                    <a:pos x="51" y="180"/>
                  </a:cxn>
                  <a:cxn ang="0">
                    <a:pos x="57" y="180"/>
                  </a:cxn>
                  <a:cxn ang="0">
                    <a:pos x="65" y="180"/>
                  </a:cxn>
                  <a:cxn ang="0">
                    <a:pos x="79" y="180"/>
                  </a:cxn>
                  <a:cxn ang="0">
                    <a:pos x="89" y="182"/>
                  </a:cxn>
                  <a:cxn ang="0">
                    <a:pos x="95" y="184"/>
                  </a:cxn>
                  <a:cxn ang="0">
                    <a:pos x="109" y="186"/>
                  </a:cxn>
                  <a:cxn ang="0">
                    <a:pos x="107" y="180"/>
                  </a:cxn>
                  <a:cxn ang="0">
                    <a:pos x="111" y="172"/>
                  </a:cxn>
                  <a:cxn ang="0">
                    <a:pos x="101" y="162"/>
                  </a:cxn>
                  <a:cxn ang="0">
                    <a:pos x="93" y="154"/>
                  </a:cxn>
                  <a:cxn ang="0">
                    <a:pos x="87" y="144"/>
                  </a:cxn>
                  <a:cxn ang="0">
                    <a:pos x="79" y="126"/>
                  </a:cxn>
                  <a:cxn ang="0">
                    <a:pos x="75" y="122"/>
                  </a:cxn>
                  <a:cxn ang="0">
                    <a:pos x="79" y="118"/>
                  </a:cxn>
                  <a:cxn ang="0">
                    <a:pos x="89" y="100"/>
                  </a:cxn>
                  <a:cxn ang="0">
                    <a:pos x="91" y="86"/>
                  </a:cxn>
                  <a:cxn ang="0">
                    <a:pos x="79" y="68"/>
                  </a:cxn>
                  <a:cxn ang="0">
                    <a:pos x="79" y="64"/>
                  </a:cxn>
                  <a:cxn ang="0">
                    <a:pos x="85" y="58"/>
                  </a:cxn>
                  <a:cxn ang="0">
                    <a:pos x="97" y="58"/>
                  </a:cxn>
                  <a:cxn ang="0">
                    <a:pos x="97" y="52"/>
                  </a:cxn>
                  <a:cxn ang="0">
                    <a:pos x="95" y="44"/>
                  </a:cxn>
                  <a:cxn ang="0">
                    <a:pos x="91" y="34"/>
                  </a:cxn>
                  <a:cxn ang="0">
                    <a:pos x="95" y="28"/>
                  </a:cxn>
                  <a:cxn ang="0">
                    <a:pos x="95" y="20"/>
                  </a:cxn>
                  <a:cxn ang="0">
                    <a:pos x="91" y="14"/>
                  </a:cxn>
                  <a:cxn ang="0">
                    <a:pos x="91" y="8"/>
                  </a:cxn>
                  <a:cxn ang="0">
                    <a:pos x="81" y="12"/>
                  </a:cxn>
                  <a:cxn ang="0">
                    <a:pos x="85" y="16"/>
                  </a:cxn>
                  <a:cxn ang="0">
                    <a:pos x="79" y="28"/>
                  </a:cxn>
                  <a:cxn ang="0">
                    <a:pos x="75" y="32"/>
                  </a:cxn>
                  <a:cxn ang="0">
                    <a:pos x="69" y="40"/>
                  </a:cxn>
                  <a:cxn ang="0">
                    <a:pos x="69" y="42"/>
                  </a:cxn>
                  <a:cxn ang="0">
                    <a:pos x="67" y="50"/>
                  </a:cxn>
                  <a:cxn ang="0">
                    <a:pos x="63" y="56"/>
                  </a:cxn>
                  <a:cxn ang="0">
                    <a:pos x="65" y="62"/>
                  </a:cxn>
                  <a:cxn ang="0">
                    <a:pos x="63" y="66"/>
                  </a:cxn>
                  <a:cxn ang="0">
                    <a:pos x="51" y="72"/>
                  </a:cxn>
                  <a:cxn ang="0">
                    <a:pos x="49" y="80"/>
                  </a:cxn>
                  <a:cxn ang="0">
                    <a:pos x="45" y="88"/>
                  </a:cxn>
                  <a:cxn ang="0">
                    <a:pos x="41" y="96"/>
                  </a:cxn>
                  <a:cxn ang="0">
                    <a:pos x="37" y="102"/>
                  </a:cxn>
                  <a:cxn ang="0">
                    <a:pos x="37" y="112"/>
                  </a:cxn>
                  <a:cxn ang="0">
                    <a:pos x="35" y="114"/>
                  </a:cxn>
                  <a:cxn ang="0">
                    <a:pos x="28" y="122"/>
                  </a:cxn>
                  <a:cxn ang="0">
                    <a:pos x="26" y="116"/>
                  </a:cxn>
                  <a:cxn ang="0">
                    <a:pos x="24" y="114"/>
                  </a:cxn>
                  <a:cxn ang="0">
                    <a:pos x="18" y="112"/>
                  </a:cxn>
                  <a:cxn ang="0">
                    <a:pos x="8" y="116"/>
                  </a:cxn>
                  <a:cxn ang="0">
                    <a:pos x="4" y="118"/>
                  </a:cxn>
                  <a:cxn ang="0">
                    <a:pos x="0" y="128"/>
                  </a:cxn>
                  <a:cxn ang="0">
                    <a:pos x="0" y="132"/>
                  </a:cxn>
                  <a:cxn ang="0">
                    <a:pos x="2" y="136"/>
                  </a:cxn>
                </a:cxnLst>
                <a:rect l="0" t="0" r="r" b="b"/>
                <a:pathLst>
                  <a:path w="111" h="186">
                    <a:moveTo>
                      <a:pt x="0" y="146"/>
                    </a:moveTo>
                    <a:lnTo>
                      <a:pt x="0" y="146"/>
                    </a:lnTo>
                    <a:lnTo>
                      <a:pt x="2" y="148"/>
                    </a:lnTo>
                    <a:lnTo>
                      <a:pt x="2" y="150"/>
                    </a:lnTo>
                    <a:lnTo>
                      <a:pt x="2" y="150"/>
                    </a:lnTo>
                    <a:lnTo>
                      <a:pt x="8" y="148"/>
                    </a:lnTo>
                    <a:lnTo>
                      <a:pt x="8" y="148"/>
                    </a:lnTo>
                    <a:lnTo>
                      <a:pt x="8" y="148"/>
                    </a:lnTo>
                    <a:lnTo>
                      <a:pt x="8" y="150"/>
                    </a:lnTo>
                    <a:lnTo>
                      <a:pt x="8" y="150"/>
                    </a:lnTo>
                    <a:lnTo>
                      <a:pt x="8" y="154"/>
                    </a:lnTo>
                    <a:lnTo>
                      <a:pt x="10" y="156"/>
                    </a:lnTo>
                    <a:lnTo>
                      <a:pt x="18" y="154"/>
                    </a:lnTo>
                    <a:lnTo>
                      <a:pt x="18" y="154"/>
                    </a:lnTo>
                    <a:lnTo>
                      <a:pt x="16" y="158"/>
                    </a:lnTo>
                    <a:lnTo>
                      <a:pt x="16" y="158"/>
                    </a:lnTo>
                    <a:lnTo>
                      <a:pt x="20" y="170"/>
                    </a:lnTo>
                    <a:lnTo>
                      <a:pt x="22" y="170"/>
                    </a:lnTo>
                    <a:lnTo>
                      <a:pt x="22" y="170"/>
                    </a:lnTo>
                    <a:lnTo>
                      <a:pt x="20" y="182"/>
                    </a:lnTo>
                    <a:lnTo>
                      <a:pt x="45" y="182"/>
                    </a:lnTo>
                    <a:lnTo>
                      <a:pt x="45" y="182"/>
                    </a:lnTo>
                    <a:lnTo>
                      <a:pt x="47" y="182"/>
                    </a:lnTo>
                    <a:lnTo>
                      <a:pt x="51" y="180"/>
                    </a:lnTo>
                    <a:lnTo>
                      <a:pt x="51" y="180"/>
                    </a:lnTo>
                    <a:lnTo>
                      <a:pt x="55" y="180"/>
                    </a:lnTo>
                    <a:lnTo>
                      <a:pt x="57" y="180"/>
                    </a:lnTo>
                    <a:lnTo>
                      <a:pt x="59" y="180"/>
                    </a:lnTo>
                    <a:lnTo>
                      <a:pt x="59" y="180"/>
                    </a:lnTo>
                    <a:lnTo>
                      <a:pt x="65" y="180"/>
                    </a:lnTo>
                    <a:lnTo>
                      <a:pt x="69" y="180"/>
                    </a:lnTo>
                    <a:lnTo>
                      <a:pt x="79" y="180"/>
                    </a:lnTo>
                    <a:lnTo>
                      <a:pt x="79" y="180"/>
                    </a:lnTo>
                    <a:lnTo>
                      <a:pt x="85" y="180"/>
                    </a:lnTo>
                    <a:lnTo>
                      <a:pt x="89" y="182"/>
                    </a:lnTo>
                    <a:lnTo>
                      <a:pt x="89" y="182"/>
                    </a:lnTo>
                    <a:lnTo>
                      <a:pt x="91" y="184"/>
                    </a:lnTo>
                    <a:lnTo>
                      <a:pt x="95" y="184"/>
                    </a:lnTo>
                    <a:lnTo>
                      <a:pt x="95" y="184"/>
                    </a:lnTo>
                    <a:lnTo>
                      <a:pt x="103" y="184"/>
                    </a:lnTo>
                    <a:lnTo>
                      <a:pt x="103" y="184"/>
                    </a:lnTo>
                    <a:lnTo>
                      <a:pt x="109" y="186"/>
                    </a:lnTo>
                    <a:lnTo>
                      <a:pt x="109" y="186"/>
                    </a:lnTo>
                    <a:lnTo>
                      <a:pt x="107" y="180"/>
                    </a:lnTo>
                    <a:lnTo>
                      <a:pt x="107" y="180"/>
                    </a:lnTo>
                    <a:lnTo>
                      <a:pt x="109" y="174"/>
                    </a:lnTo>
                    <a:lnTo>
                      <a:pt x="111" y="172"/>
                    </a:lnTo>
                    <a:lnTo>
                      <a:pt x="111" y="172"/>
                    </a:lnTo>
                    <a:lnTo>
                      <a:pt x="107" y="168"/>
                    </a:lnTo>
                    <a:lnTo>
                      <a:pt x="101" y="162"/>
                    </a:lnTo>
                    <a:lnTo>
                      <a:pt x="101" y="162"/>
                    </a:lnTo>
                    <a:lnTo>
                      <a:pt x="99" y="158"/>
                    </a:lnTo>
                    <a:lnTo>
                      <a:pt x="93" y="154"/>
                    </a:lnTo>
                    <a:lnTo>
                      <a:pt x="93" y="154"/>
                    </a:lnTo>
                    <a:lnTo>
                      <a:pt x="91" y="148"/>
                    </a:lnTo>
                    <a:lnTo>
                      <a:pt x="87" y="144"/>
                    </a:lnTo>
                    <a:lnTo>
                      <a:pt x="87" y="144"/>
                    </a:lnTo>
                    <a:lnTo>
                      <a:pt x="81" y="130"/>
                    </a:lnTo>
                    <a:lnTo>
                      <a:pt x="81" y="130"/>
                    </a:lnTo>
                    <a:lnTo>
                      <a:pt x="79" y="126"/>
                    </a:lnTo>
                    <a:lnTo>
                      <a:pt x="77" y="124"/>
                    </a:lnTo>
                    <a:lnTo>
                      <a:pt x="77" y="124"/>
                    </a:lnTo>
                    <a:lnTo>
                      <a:pt x="75" y="122"/>
                    </a:lnTo>
                    <a:lnTo>
                      <a:pt x="75" y="122"/>
                    </a:lnTo>
                    <a:lnTo>
                      <a:pt x="79" y="118"/>
                    </a:lnTo>
                    <a:lnTo>
                      <a:pt x="79" y="118"/>
                    </a:lnTo>
                    <a:lnTo>
                      <a:pt x="83" y="114"/>
                    </a:lnTo>
                    <a:lnTo>
                      <a:pt x="85" y="108"/>
                    </a:lnTo>
                    <a:lnTo>
                      <a:pt x="89" y="100"/>
                    </a:lnTo>
                    <a:lnTo>
                      <a:pt x="93" y="92"/>
                    </a:lnTo>
                    <a:lnTo>
                      <a:pt x="93" y="92"/>
                    </a:lnTo>
                    <a:lnTo>
                      <a:pt x="91" y="86"/>
                    </a:lnTo>
                    <a:lnTo>
                      <a:pt x="89" y="80"/>
                    </a:lnTo>
                    <a:lnTo>
                      <a:pt x="89" y="80"/>
                    </a:lnTo>
                    <a:lnTo>
                      <a:pt x="79" y="68"/>
                    </a:lnTo>
                    <a:lnTo>
                      <a:pt x="79" y="68"/>
                    </a:lnTo>
                    <a:lnTo>
                      <a:pt x="79" y="66"/>
                    </a:lnTo>
                    <a:lnTo>
                      <a:pt x="79" y="64"/>
                    </a:lnTo>
                    <a:lnTo>
                      <a:pt x="81" y="60"/>
                    </a:lnTo>
                    <a:lnTo>
                      <a:pt x="81" y="60"/>
                    </a:lnTo>
                    <a:lnTo>
                      <a:pt x="85" y="58"/>
                    </a:lnTo>
                    <a:lnTo>
                      <a:pt x="91" y="58"/>
                    </a:lnTo>
                    <a:lnTo>
                      <a:pt x="97" y="58"/>
                    </a:lnTo>
                    <a:lnTo>
                      <a:pt x="97" y="58"/>
                    </a:lnTo>
                    <a:lnTo>
                      <a:pt x="97" y="56"/>
                    </a:lnTo>
                    <a:lnTo>
                      <a:pt x="97" y="52"/>
                    </a:lnTo>
                    <a:lnTo>
                      <a:pt x="97" y="52"/>
                    </a:lnTo>
                    <a:lnTo>
                      <a:pt x="95" y="48"/>
                    </a:lnTo>
                    <a:lnTo>
                      <a:pt x="95" y="44"/>
                    </a:lnTo>
                    <a:lnTo>
                      <a:pt x="95" y="44"/>
                    </a:lnTo>
                    <a:lnTo>
                      <a:pt x="93" y="40"/>
                    </a:lnTo>
                    <a:lnTo>
                      <a:pt x="91" y="34"/>
                    </a:lnTo>
                    <a:lnTo>
                      <a:pt x="91" y="34"/>
                    </a:lnTo>
                    <a:lnTo>
                      <a:pt x="93" y="30"/>
                    </a:lnTo>
                    <a:lnTo>
                      <a:pt x="95" y="28"/>
                    </a:lnTo>
                    <a:lnTo>
                      <a:pt x="95" y="28"/>
                    </a:lnTo>
                    <a:lnTo>
                      <a:pt x="95" y="24"/>
                    </a:lnTo>
                    <a:lnTo>
                      <a:pt x="95" y="24"/>
                    </a:lnTo>
                    <a:lnTo>
                      <a:pt x="95" y="20"/>
                    </a:lnTo>
                    <a:lnTo>
                      <a:pt x="91" y="16"/>
                    </a:lnTo>
                    <a:lnTo>
                      <a:pt x="91" y="16"/>
                    </a:lnTo>
                    <a:lnTo>
                      <a:pt x="91" y="14"/>
                    </a:lnTo>
                    <a:lnTo>
                      <a:pt x="91" y="12"/>
                    </a:lnTo>
                    <a:lnTo>
                      <a:pt x="91" y="8"/>
                    </a:lnTo>
                    <a:lnTo>
                      <a:pt x="91" y="8"/>
                    </a:lnTo>
                    <a:lnTo>
                      <a:pt x="81" y="0"/>
                    </a:lnTo>
                    <a:lnTo>
                      <a:pt x="81" y="12"/>
                    </a:lnTo>
                    <a:lnTo>
                      <a:pt x="81" y="12"/>
                    </a:lnTo>
                    <a:lnTo>
                      <a:pt x="83" y="14"/>
                    </a:lnTo>
                    <a:lnTo>
                      <a:pt x="85" y="16"/>
                    </a:lnTo>
                    <a:lnTo>
                      <a:pt x="85" y="16"/>
                    </a:lnTo>
                    <a:lnTo>
                      <a:pt x="83" y="24"/>
                    </a:lnTo>
                    <a:lnTo>
                      <a:pt x="81" y="28"/>
                    </a:lnTo>
                    <a:lnTo>
                      <a:pt x="79" y="28"/>
                    </a:lnTo>
                    <a:lnTo>
                      <a:pt x="79" y="28"/>
                    </a:lnTo>
                    <a:lnTo>
                      <a:pt x="77" y="30"/>
                    </a:lnTo>
                    <a:lnTo>
                      <a:pt x="75" y="32"/>
                    </a:lnTo>
                    <a:lnTo>
                      <a:pt x="75" y="32"/>
                    </a:lnTo>
                    <a:lnTo>
                      <a:pt x="73" y="36"/>
                    </a:lnTo>
                    <a:lnTo>
                      <a:pt x="69" y="40"/>
                    </a:lnTo>
                    <a:lnTo>
                      <a:pt x="69" y="40"/>
                    </a:lnTo>
                    <a:lnTo>
                      <a:pt x="69" y="42"/>
                    </a:lnTo>
                    <a:lnTo>
                      <a:pt x="69" y="42"/>
                    </a:lnTo>
                    <a:lnTo>
                      <a:pt x="69" y="46"/>
                    </a:lnTo>
                    <a:lnTo>
                      <a:pt x="69" y="46"/>
                    </a:lnTo>
                    <a:lnTo>
                      <a:pt x="67" y="50"/>
                    </a:lnTo>
                    <a:lnTo>
                      <a:pt x="65" y="52"/>
                    </a:lnTo>
                    <a:lnTo>
                      <a:pt x="65" y="52"/>
                    </a:lnTo>
                    <a:lnTo>
                      <a:pt x="63" y="56"/>
                    </a:lnTo>
                    <a:lnTo>
                      <a:pt x="63" y="58"/>
                    </a:lnTo>
                    <a:lnTo>
                      <a:pt x="63" y="58"/>
                    </a:lnTo>
                    <a:lnTo>
                      <a:pt x="65" y="62"/>
                    </a:lnTo>
                    <a:lnTo>
                      <a:pt x="65" y="64"/>
                    </a:lnTo>
                    <a:lnTo>
                      <a:pt x="63" y="66"/>
                    </a:lnTo>
                    <a:lnTo>
                      <a:pt x="63" y="66"/>
                    </a:lnTo>
                    <a:lnTo>
                      <a:pt x="53" y="70"/>
                    </a:lnTo>
                    <a:lnTo>
                      <a:pt x="53" y="70"/>
                    </a:lnTo>
                    <a:lnTo>
                      <a:pt x="51" y="72"/>
                    </a:lnTo>
                    <a:lnTo>
                      <a:pt x="49" y="76"/>
                    </a:lnTo>
                    <a:lnTo>
                      <a:pt x="49" y="76"/>
                    </a:lnTo>
                    <a:lnTo>
                      <a:pt x="49" y="80"/>
                    </a:lnTo>
                    <a:lnTo>
                      <a:pt x="47" y="84"/>
                    </a:lnTo>
                    <a:lnTo>
                      <a:pt x="47" y="84"/>
                    </a:lnTo>
                    <a:lnTo>
                      <a:pt x="45" y="88"/>
                    </a:lnTo>
                    <a:lnTo>
                      <a:pt x="45" y="92"/>
                    </a:lnTo>
                    <a:lnTo>
                      <a:pt x="45" y="92"/>
                    </a:lnTo>
                    <a:lnTo>
                      <a:pt x="41" y="96"/>
                    </a:lnTo>
                    <a:lnTo>
                      <a:pt x="39" y="98"/>
                    </a:lnTo>
                    <a:lnTo>
                      <a:pt x="39" y="98"/>
                    </a:lnTo>
                    <a:lnTo>
                      <a:pt x="37" y="102"/>
                    </a:lnTo>
                    <a:lnTo>
                      <a:pt x="35" y="108"/>
                    </a:lnTo>
                    <a:lnTo>
                      <a:pt x="35" y="108"/>
                    </a:lnTo>
                    <a:lnTo>
                      <a:pt x="37" y="112"/>
                    </a:lnTo>
                    <a:lnTo>
                      <a:pt x="37" y="112"/>
                    </a:lnTo>
                    <a:lnTo>
                      <a:pt x="35" y="114"/>
                    </a:lnTo>
                    <a:lnTo>
                      <a:pt x="35" y="114"/>
                    </a:lnTo>
                    <a:lnTo>
                      <a:pt x="32" y="116"/>
                    </a:lnTo>
                    <a:lnTo>
                      <a:pt x="30" y="120"/>
                    </a:lnTo>
                    <a:lnTo>
                      <a:pt x="28" y="122"/>
                    </a:lnTo>
                    <a:lnTo>
                      <a:pt x="24" y="122"/>
                    </a:lnTo>
                    <a:lnTo>
                      <a:pt x="24" y="122"/>
                    </a:lnTo>
                    <a:lnTo>
                      <a:pt x="26" y="116"/>
                    </a:lnTo>
                    <a:lnTo>
                      <a:pt x="24" y="114"/>
                    </a:lnTo>
                    <a:lnTo>
                      <a:pt x="24" y="114"/>
                    </a:lnTo>
                    <a:lnTo>
                      <a:pt x="24" y="114"/>
                    </a:lnTo>
                    <a:lnTo>
                      <a:pt x="18" y="112"/>
                    </a:lnTo>
                    <a:lnTo>
                      <a:pt x="18" y="112"/>
                    </a:lnTo>
                    <a:lnTo>
                      <a:pt x="18" y="112"/>
                    </a:lnTo>
                    <a:lnTo>
                      <a:pt x="14" y="114"/>
                    </a:lnTo>
                    <a:lnTo>
                      <a:pt x="14" y="114"/>
                    </a:lnTo>
                    <a:lnTo>
                      <a:pt x="8" y="116"/>
                    </a:lnTo>
                    <a:lnTo>
                      <a:pt x="6" y="116"/>
                    </a:lnTo>
                    <a:lnTo>
                      <a:pt x="4" y="118"/>
                    </a:lnTo>
                    <a:lnTo>
                      <a:pt x="4" y="118"/>
                    </a:lnTo>
                    <a:lnTo>
                      <a:pt x="2" y="124"/>
                    </a:lnTo>
                    <a:lnTo>
                      <a:pt x="2" y="126"/>
                    </a:lnTo>
                    <a:lnTo>
                      <a:pt x="0" y="128"/>
                    </a:lnTo>
                    <a:lnTo>
                      <a:pt x="0" y="128"/>
                    </a:lnTo>
                    <a:lnTo>
                      <a:pt x="0" y="128"/>
                    </a:lnTo>
                    <a:lnTo>
                      <a:pt x="0" y="132"/>
                    </a:lnTo>
                    <a:lnTo>
                      <a:pt x="0" y="132"/>
                    </a:lnTo>
                    <a:lnTo>
                      <a:pt x="0" y="134"/>
                    </a:lnTo>
                    <a:lnTo>
                      <a:pt x="2" y="136"/>
                    </a:lnTo>
                    <a:lnTo>
                      <a:pt x="0" y="142"/>
                    </a:lnTo>
                    <a:lnTo>
                      <a:pt x="0" y="14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4" name="Freeform 238"/>
              <p:cNvSpPr>
                <a:spLocks noChangeAspect="1"/>
              </p:cNvSpPr>
              <p:nvPr/>
            </p:nvSpPr>
            <p:spPr bwMode="gray">
              <a:xfrm>
                <a:off x="4943166" y="4506569"/>
                <a:ext cx="51738" cy="55929"/>
              </a:xfrm>
              <a:custGeom>
                <a:avLst/>
                <a:gdLst/>
                <a:ahLst/>
                <a:cxnLst>
                  <a:cxn ang="0">
                    <a:pos x="0" y="2"/>
                  </a:cxn>
                  <a:cxn ang="0">
                    <a:pos x="0" y="2"/>
                  </a:cxn>
                  <a:cxn ang="0">
                    <a:pos x="2" y="2"/>
                  </a:cxn>
                  <a:cxn ang="0">
                    <a:pos x="4" y="0"/>
                  </a:cxn>
                  <a:cxn ang="0">
                    <a:pos x="6" y="2"/>
                  </a:cxn>
                  <a:cxn ang="0">
                    <a:pos x="6" y="2"/>
                  </a:cxn>
                  <a:cxn ang="0">
                    <a:pos x="8" y="8"/>
                  </a:cxn>
                  <a:cxn ang="0">
                    <a:pos x="8" y="8"/>
                  </a:cxn>
                  <a:cxn ang="0">
                    <a:pos x="12" y="6"/>
                  </a:cxn>
                  <a:cxn ang="0">
                    <a:pos x="12" y="6"/>
                  </a:cxn>
                  <a:cxn ang="0">
                    <a:pos x="14" y="4"/>
                  </a:cxn>
                  <a:cxn ang="0">
                    <a:pos x="14" y="2"/>
                  </a:cxn>
                  <a:cxn ang="0">
                    <a:pos x="14" y="0"/>
                  </a:cxn>
                  <a:cxn ang="0">
                    <a:pos x="16" y="0"/>
                  </a:cxn>
                  <a:cxn ang="0">
                    <a:pos x="16" y="0"/>
                  </a:cxn>
                  <a:cxn ang="0">
                    <a:pos x="22" y="2"/>
                  </a:cxn>
                  <a:cxn ang="0">
                    <a:pos x="24" y="2"/>
                  </a:cxn>
                  <a:cxn ang="0">
                    <a:pos x="24" y="2"/>
                  </a:cxn>
                  <a:cxn ang="0">
                    <a:pos x="24" y="6"/>
                  </a:cxn>
                  <a:cxn ang="0">
                    <a:pos x="24" y="8"/>
                  </a:cxn>
                  <a:cxn ang="0">
                    <a:pos x="26" y="12"/>
                  </a:cxn>
                  <a:cxn ang="0">
                    <a:pos x="26" y="12"/>
                  </a:cxn>
                  <a:cxn ang="0">
                    <a:pos x="30" y="12"/>
                  </a:cxn>
                  <a:cxn ang="0">
                    <a:pos x="30" y="12"/>
                  </a:cxn>
                  <a:cxn ang="0">
                    <a:pos x="30" y="12"/>
                  </a:cxn>
                  <a:cxn ang="0">
                    <a:pos x="28" y="18"/>
                  </a:cxn>
                  <a:cxn ang="0">
                    <a:pos x="28" y="18"/>
                  </a:cxn>
                  <a:cxn ang="0">
                    <a:pos x="22" y="22"/>
                  </a:cxn>
                  <a:cxn ang="0">
                    <a:pos x="20" y="30"/>
                  </a:cxn>
                  <a:cxn ang="0">
                    <a:pos x="20" y="30"/>
                  </a:cxn>
                  <a:cxn ang="0">
                    <a:pos x="14" y="34"/>
                  </a:cxn>
                  <a:cxn ang="0">
                    <a:pos x="14" y="34"/>
                  </a:cxn>
                  <a:cxn ang="0">
                    <a:pos x="8" y="32"/>
                  </a:cxn>
                  <a:cxn ang="0">
                    <a:pos x="8" y="32"/>
                  </a:cxn>
                  <a:cxn ang="0">
                    <a:pos x="8" y="10"/>
                  </a:cxn>
                  <a:cxn ang="0">
                    <a:pos x="8" y="10"/>
                  </a:cxn>
                  <a:cxn ang="0">
                    <a:pos x="2" y="8"/>
                  </a:cxn>
                  <a:cxn ang="0">
                    <a:pos x="2" y="8"/>
                  </a:cxn>
                  <a:cxn ang="0">
                    <a:pos x="0" y="4"/>
                  </a:cxn>
                  <a:cxn ang="0">
                    <a:pos x="0" y="2"/>
                  </a:cxn>
                </a:cxnLst>
                <a:rect l="0" t="0" r="r" b="b"/>
                <a:pathLst>
                  <a:path w="30" h="34">
                    <a:moveTo>
                      <a:pt x="0" y="2"/>
                    </a:moveTo>
                    <a:lnTo>
                      <a:pt x="0" y="2"/>
                    </a:lnTo>
                    <a:lnTo>
                      <a:pt x="2" y="2"/>
                    </a:lnTo>
                    <a:lnTo>
                      <a:pt x="4" y="0"/>
                    </a:lnTo>
                    <a:lnTo>
                      <a:pt x="6" y="2"/>
                    </a:lnTo>
                    <a:lnTo>
                      <a:pt x="6" y="2"/>
                    </a:lnTo>
                    <a:lnTo>
                      <a:pt x="8" y="8"/>
                    </a:lnTo>
                    <a:lnTo>
                      <a:pt x="8" y="8"/>
                    </a:lnTo>
                    <a:lnTo>
                      <a:pt x="12" y="6"/>
                    </a:lnTo>
                    <a:lnTo>
                      <a:pt x="12" y="6"/>
                    </a:lnTo>
                    <a:lnTo>
                      <a:pt x="14" y="4"/>
                    </a:lnTo>
                    <a:lnTo>
                      <a:pt x="14" y="2"/>
                    </a:lnTo>
                    <a:lnTo>
                      <a:pt x="14" y="0"/>
                    </a:lnTo>
                    <a:lnTo>
                      <a:pt x="16" y="0"/>
                    </a:lnTo>
                    <a:lnTo>
                      <a:pt x="16" y="0"/>
                    </a:lnTo>
                    <a:lnTo>
                      <a:pt x="22" y="2"/>
                    </a:lnTo>
                    <a:lnTo>
                      <a:pt x="24" y="2"/>
                    </a:lnTo>
                    <a:lnTo>
                      <a:pt x="24" y="2"/>
                    </a:lnTo>
                    <a:lnTo>
                      <a:pt x="24" y="6"/>
                    </a:lnTo>
                    <a:lnTo>
                      <a:pt x="24" y="8"/>
                    </a:lnTo>
                    <a:lnTo>
                      <a:pt x="26" y="12"/>
                    </a:lnTo>
                    <a:lnTo>
                      <a:pt x="26" y="12"/>
                    </a:lnTo>
                    <a:lnTo>
                      <a:pt x="30" y="12"/>
                    </a:lnTo>
                    <a:lnTo>
                      <a:pt x="30" y="12"/>
                    </a:lnTo>
                    <a:lnTo>
                      <a:pt x="30" y="12"/>
                    </a:lnTo>
                    <a:lnTo>
                      <a:pt x="28" y="18"/>
                    </a:lnTo>
                    <a:lnTo>
                      <a:pt x="28" y="18"/>
                    </a:lnTo>
                    <a:lnTo>
                      <a:pt x="22" y="22"/>
                    </a:lnTo>
                    <a:lnTo>
                      <a:pt x="20" y="30"/>
                    </a:lnTo>
                    <a:lnTo>
                      <a:pt x="20" y="30"/>
                    </a:lnTo>
                    <a:lnTo>
                      <a:pt x="14" y="34"/>
                    </a:lnTo>
                    <a:lnTo>
                      <a:pt x="14" y="34"/>
                    </a:lnTo>
                    <a:lnTo>
                      <a:pt x="8" y="32"/>
                    </a:lnTo>
                    <a:lnTo>
                      <a:pt x="8" y="32"/>
                    </a:lnTo>
                    <a:lnTo>
                      <a:pt x="8" y="10"/>
                    </a:lnTo>
                    <a:lnTo>
                      <a:pt x="8" y="10"/>
                    </a:lnTo>
                    <a:lnTo>
                      <a:pt x="2" y="8"/>
                    </a:lnTo>
                    <a:lnTo>
                      <a:pt x="2" y="8"/>
                    </a:lnTo>
                    <a:lnTo>
                      <a:pt x="0" y="4"/>
                    </a:lnTo>
                    <a:lnTo>
                      <a:pt x="0" y="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5" name="Freeform 240"/>
              <p:cNvSpPr>
                <a:spLocks noChangeAspect="1"/>
              </p:cNvSpPr>
              <p:nvPr/>
            </p:nvSpPr>
            <p:spPr bwMode="gray">
              <a:xfrm>
                <a:off x="4151423" y="3986758"/>
                <a:ext cx="166188" cy="161207"/>
              </a:xfrm>
              <a:custGeom>
                <a:avLst/>
                <a:gdLst/>
                <a:ahLst/>
                <a:cxnLst>
                  <a:cxn ang="0">
                    <a:pos x="64" y="70"/>
                  </a:cxn>
                  <a:cxn ang="0">
                    <a:pos x="64" y="72"/>
                  </a:cxn>
                  <a:cxn ang="0">
                    <a:pos x="44" y="72"/>
                  </a:cxn>
                  <a:cxn ang="0">
                    <a:pos x="40" y="74"/>
                  </a:cxn>
                  <a:cxn ang="0">
                    <a:pos x="40" y="78"/>
                  </a:cxn>
                  <a:cxn ang="0">
                    <a:pos x="42" y="88"/>
                  </a:cxn>
                  <a:cxn ang="0">
                    <a:pos x="40" y="96"/>
                  </a:cxn>
                  <a:cxn ang="0">
                    <a:pos x="30" y="98"/>
                  </a:cxn>
                  <a:cxn ang="0">
                    <a:pos x="28" y="96"/>
                  </a:cxn>
                  <a:cxn ang="0">
                    <a:pos x="28" y="90"/>
                  </a:cxn>
                  <a:cxn ang="0">
                    <a:pos x="18" y="94"/>
                  </a:cxn>
                  <a:cxn ang="0">
                    <a:pos x="12" y="88"/>
                  </a:cxn>
                  <a:cxn ang="0">
                    <a:pos x="0" y="88"/>
                  </a:cxn>
                  <a:cxn ang="0">
                    <a:pos x="0" y="78"/>
                  </a:cxn>
                  <a:cxn ang="0">
                    <a:pos x="2" y="76"/>
                  </a:cxn>
                  <a:cxn ang="0">
                    <a:pos x="4" y="72"/>
                  </a:cxn>
                  <a:cxn ang="0">
                    <a:pos x="4" y="68"/>
                  </a:cxn>
                  <a:cxn ang="0">
                    <a:pos x="4" y="62"/>
                  </a:cxn>
                  <a:cxn ang="0">
                    <a:pos x="6" y="60"/>
                  </a:cxn>
                  <a:cxn ang="0">
                    <a:pos x="10" y="56"/>
                  </a:cxn>
                  <a:cxn ang="0">
                    <a:pos x="12" y="58"/>
                  </a:cxn>
                  <a:cxn ang="0">
                    <a:pos x="16" y="48"/>
                  </a:cxn>
                  <a:cxn ang="0">
                    <a:pos x="18" y="42"/>
                  </a:cxn>
                  <a:cxn ang="0">
                    <a:pos x="20" y="40"/>
                  </a:cxn>
                  <a:cxn ang="0">
                    <a:pos x="32" y="36"/>
                  </a:cxn>
                  <a:cxn ang="0">
                    <a:pos x="34" y="34"/>
                  </a:cxn>
                  <a:cxn ang="0">
                    <a:pos x="36" y="30"/>
                  </a:cxn>
                  <a:cxn ang="0">
                    <a:pos x="42" y="22"/>
                  </a:cxn>
                  <a:cxn ang="0">
                    <a:pos x="46" y="20"/>
                  </a:cxn>
                  <a:cxn ang="0">
                    <a:pos x="48" y="18"/>
                  </a:cxn>
                  <a:cxn ang="0">
                    <a:pos x="50" y="12"/>
                  </a:cxn>
                  <a:cxn ang="0">
                    <a:pos x="54" y="8"/>
                  </a:cxn>
                  <a:cxn ang="0">
                    <a:pos x="58" y="8"/>
                  </a:cxn>
                  <a:cxn ang="0">
                    <a:pos x="60" y="4"/>
                  </a:cxn>
                  <a:cxn ang="0">
                    <a:pos x="64" y="0"/>
                  </a:cxn>
                  <a:cxn ang="0">
                    <a:pos x="66" y="2"/>
                  </a:cxn>
                  <a:cxn ang="0">
                    <a:pos x="68" y="2"/>
                  </a:cxn>
                  <a:cxn ang="0">
                    <a:pos x="70" y="2"/>
                  </a:cxn>
                  <a:cxn ang="0">
                    <a:pos x="74" y="6"/>
                  </a:cxn>
                  <a:cxn ang="0">
                    <a:pos x="76" y="18"/>
                  </a:cxn>
                  <a:cxn ang="0">
                    <a:pos x="86" y="28"/>
                  </a:cxn>
                  <a:cxn ang="0">
                    <a:pos x="92" y="42"/>
                  </a:cxn>
                  <a:cxn ang="0">
                    <a:pos x="96" y="42"/>
                  </a:cxn>
                  <a:cxn ang="0">
                    <a:pos x="96" y="42"/>
                  </a:cxn>
                  <a:cxn ang="0">
                    <a:pos x="94" y="48"/>
                  </a:cxn>
                  <a:cxn ang="0">
                    <a:pos x="98" y="62"/>
                  </a:cxn>
                  <a:cxn ang="0">
                    <a:pos x="98" y="66"/>
                  </a:cxn>
                  <a:cxn ang="0">
                    <a:pos x="92" y="68"/>
                  </a:cxn>
                  <a:cxn ang="0">
                    <a:pos x="92" y="70"/>
                  </a:cxn>
                  <a:cxn ang="0">
                    <a:pos x="90" y="72"/>
                  </a:cxn>
                  <a:cxn ang="0">
                    <a:pos x="86" y="72"/>
                  </a:cxn>
                  <a:cxn ang="0">
                    <a:pos x="80" y="72"/>
                  </a:cxn>
                  <a:cxn ang="0">
                    <a:pos x="74" y="70"/>
                  </a:cxn>
                </a:cxnLst>
                <a:rect l="0" t="0" r="r" b="b"/>
                <a:pathLst>
                  <a:path w="98" h="98">
                    <a:moveTo>
                      <a:pt x="74" y="70"/>
                    </a:moveTo>
                    <a:lnTo>
                      <a:pt x="64" y="70"/>
                    </a:lnTo>
                    <a:lnTo>
                      <a:pt x="64" y="72"/>
                    </a:lnTo>
                    <a:lnTo>
                      <a:pt x="64" y="72"/>
                    </a:lnTo>
                    <a:lnTo>
                      <a:pt x="54" y="72"/>
                    </a:lnTo>
                    <a:lnTo>
                      <a:pt x="44" y="72"/>
                    </a:lnTo>
                    <a:lnTo>
                      <a:pt x="44" y="72"/>
                    </a:lnTo>
                    <a:lnTo>
                      <a:pt x="40" y="74"/>
                    </a:lnTo>
                    <a:lnTo>
                      <a:pt x="40" y="78"/>
                    </a:lnTo>
                    <a:lnTo>
                      <a:pt x="40" y="78"/>
                    </a:lnTo>
                    <a:lnTo>
                      <a:pt x="40" y="84"/>
                    </a:lnTo>
                    <a:lnTo>
                      <a:pt x="42" y="88"/>
                    </a:lnTo>
                    <a:lnTo>
                      <a:pt x="42" y="88"/>
                    </a:lnTo>
                    <a:lnTo>
                      <a:pt x="40" y="96"/>
                    </a:lnTo>
                    <a:lnTo>
                      <a:pt x="40" y="96"/>
                    </a:lnTo>
                    <a:lnTo>
                      <a:pt x="30" y="98"/>
                    </a:lnTo>
                    <a:lnTo>
                      <a:pt x="30" y="98"/>
                    </a:lnTo>
                    <a:lnTo>
                      <a:pt x="28" y="96"/>
                    </a:lnTo>
                    <a:lnTo>
                      <a:pt x="28" y="94"/>
                    </a:lnTo>
                    <a:lnTo>
                      <a:pt x="28" y="90"/>
                    </a:lnTo>
                    <a:lnTo>
                      <a:pt x="22" y="90"/>
                    </a:lnTo>
                    <a:lnTo>
                      <a:pt x="18" y="94"/>
                    </a:lnTo>
                    <a:lnTo>
                      <a:pt x="12" y="92"/>
                    </a:lnTo>
                    <a:lnTo>
                      <a:pt x="12" y="88"/>
                    </a:lnTo>
                    <a:lnTo>
                      <a:pt x="0" y="88"/>
                    </a:lnTo>
                    <a:lnTo>
                      <a:pt x="0" y="88"/>
                    </a:lnTo>
                    <a:lnTo>
                      <a:pt x="0" y="82"/>
                    </a:lnTo>
                    <a:lnTo>
                      <a:pt x="0" y="78"/>
                    </a:lnTo>
                    <a:lnTo>
                      <a:pt x="2" y="76"/>
                    </a:lnTo>
                    <a:lnTo>
                      <a:pt x="2" y="76"/>
                    </a:lnTo>
                    <a:lnTo>
                      <a:pt x="4" y="74"/>
                    </a:lnTo>
                    <a:lnTo>
                      <a:pt x="4" y="72"/>
                    </a:lnTo>
                    <a:lnTo>
                      <a:pt x="4" y="68"/>
                    </a:lnTo>
                    <a:lnTo>
                      <a:pt x="4" y="68"/>
                    </a:lnTo>
                    <a:lnTo>
                      <a:pt x="4" y="64"/>
                    </a:lnTo>
                    <a:lnTo>
                      <a:pt x="4" y="62"/>
                    </a:lnTo>
                    <a:lnTo>
                      <a:pt x="4" y="62"/>
                    </a:lnTo>
                    <a:lnTo>
                      <a:pt x="6" y="60"/>
                    </a:lnTo>
                    <a:lnTo>
                      <a:pt x="10" y="56"/>
                    </a:lnTo>
                    <a:lnTo>
                      <a:pt x="10" y="56"/>
                    </a:lnTo>
                    <a:lnTo>
                      <a:pt x="12" y="58"/>
                    </a:lnTo>
                    <a:lnTo>
                      <a:pt x="12" y="58"/>
                    </a:lnTo>
                    <a:lnTo>
                      <a:pt x="12" y="58"/>
                    </a:lnTo>
                    <a:lnTo>
                      <a:pt x="16" y="48"/>
                    </a:lnTo>
                    <a:lnTo>
                      <a:pt x="16" y="48"/>
                    </a:lnTo>
                    <a:lnTo>
                      <a:pt x="18" y="42"/>
                    </a:lnTo>
                    <a:lnTo>
                      <a:pt x="20" y="40"/>
                    </a:lnTo>
                    <a:lnTo>
                      <a:pt x="20" y="40"/>
                    </a:lnTo>
                    <a:lnTo>
                      <a:pt x="26" y="38"/>
                    </a:lnTo>
                    <a:lnTo>
                      <a:pt x="32" y="36"/>
                    </a:lnTo>
                    <a:lnTo>
                      <a:pt x="32" y="36"/>
                    </a:lnTo>
                    <a:lnTo>
                      <a:pt x="34" y="34"/>
                    </a:lnTo>
                    <a:lnTo>
                      <a:pt x="36" y="30"/>
                    </a:lnTo>
                    <a:lnTo>
                      <a:pt x="36" y="30"/>
                    </a:lnTo>
                    <a:lnTo>
                      <a:pt x="38" y="26"/>
                    </a:lnTo>
                    <a:lnTo>
                      <a:pt x="42" y="22"/>
                    </a:lnTo>
                    <a:lnTo>
                      <a:pt x="42" y="22"/>
                    </a:lnTo>
                    <a:lnTo>
                      <a:pt x="46" y="20"/>
                    </a:lnTo>
                    <a:lnTo>
                      <a:pt x="48" y="18"/>
                    </a:lnTo>
                    <a:lnTo>
                      <a:pt x="48" y="18"/>
                    </a:lnTo>
                    <a:lnTo>
                      <a:pt x="48" y="18"/>
                    </a:lnTo>
                    <a:lnTo>
                      <a:pt x="50" y="12"/>
                    </a:lnTo>
                    <a:lnTo>
                      <a:pt x="50" y="10"/>
                    </a:lnTo>
                    <a:lnTo>
                      <a:pt x="54" y="8"/>
                    </a:lnTo>
                    <a:lnTo>
                      <a:pt x="54" y="8"/>
                    </a:lnTo>
                    <a:lnTo>
                      <a:pt x="58" y="8"/>
                    </a:lnTo>
                    <a:lnTo>
                      <a:pt x="60" y="4"/>
                    </a:lnTo>
                    <a:lnTo>
                      <a:pt x="60" y="4"/>
                    </a:lnTo>
                    <a:lnTo>
                      <a:pt x="62" y="0"/>
                    </a:lnTo>
                    <a:lnTo>
                      <a:pt x="64" y="0"/>
                    </a:lnTo>
                    <a:lnTo>
                      <a:pt x="66" y="2"/>
                    </a:lnTo>
                    <a:lnTo>
                      <a:pt x="66" y="2"/>
                    </a:lnTo>
                    <a:lnTo>
                      <a:pt x="66" y="2"/>
                    </a:lnTo>
                    <a:lnTo>
                      <a:pt x="68" y="2"/>
                    </a:lnTo>
                    <a:lnTo>
                      <a:pt x="70" y="0"/>
                    </a:lnTo>
                    <a:lnTo>
                      <a:pt x="70" y="2"/>
                    </a:lnTo>
                    <a:lnTo>
                      <a:pt x="70" y="2"/>
                    </a:lnTo>
                    <a:lnTo>
                      <a:pt x="74" y="6"/>
                    </a:lnTo>
                    <a:lnTo>
                      <a:pt x="72" y="12"/>
                    </a:lnTo>
                    <a:lnTo>
                      <a:pt x="76" y="18"/>
                    </a:lnTo>
                    <a:lnTo>
                      <a:pt x="86" y="24"/>
                    </a:lnTo>
                    <a:lnTo>
                      <a:pt x="86" y="28"/>
                    </a:lnTo>
                    <a:lnTo>
                      <a:pt x="92" y="42"/>
                    </a:lnTo>
                    <a:lnTo>
                      <a:pt x="92" y="42"/>
                    </a:lnTo>
                    <a:lnTo>
                      <a:pt x="94" y="40"/>
                    </a:lnTo>
                    <a:lnTo>
                      <a:pt x="96" y="42"/>
                    </a:lnTo>
                    <a:lnTo>
                      <a:pt x="96" y="42"/>
                    </a:lnTo>
                    <a:lnTo>
                      <a:pt x="96" y="42"/>
                    </a:lnTo>
                    <a:lnTo>
                      <a:pt x="96" y="46"/>
                    </a:lnTo>
                    <a:lnTo>
                      <a:pt x="94" y="48"/>
                    </a:lnTo>
                    <a:lnTo>
                      <a:pt x="98" y="62"/>
                    </a:lnTo>
                    <a:lnTo>
                      <a:pt x="98" y="62"/>
                    </a:lnTo>
                    <a:lnTo>
                      <a:pt x="98" y="62"/>
                    </a:lnTo>
                    <a:lnTo>
                      <a:pt x="98" y="66"/>
                    </a:lnTo>
                    <a:lnTo>
                      <a:pt x="98" y="66"/>
                    </a:lnTo>
                    <a:lnTo>
                      <a:pt x="92" y="68"/>
                    </a:lnTo>
                    <a:lnTo>
                      <a:pt x="92" y="68"/>
                    </a:lnTo>
                    <a:lnTo>
                      <a:pt x="92" y="70"/>
                    </a:lnTo>
                    <a:lnTo>
                      <a:pt x="92" y="72"/>
                    </a:lnTo>
                    <a:lnTo>
                      <a:pt x="90" y="72"/>
                    </a:lnTo>
                    <a:lnTo>
                      <a:pt x="90" y="72"/>
                    </a:lnTo>
                    <a:lnTo>
                      <a:pt x="86" y="72"/>
                    </a:lnTo>
                    <a:lnTo>
                      <a:pt x="86" y="72"/>
                    </a:lnTo>
                    <a:lnTo>
                      <a:pt x="80" y="72"/>
                    </a:lnTo>
                    <a:lnTo>
                      <a:pt x="80" y="72"/>
                    </a:lnTo>
                    <a:lnTo>
                      <a:pt x="74" y="70"/>
                    </a:lnTo>
                    <a:lnTo>
                      <a:pt x="74" y="7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6" name="Freeform 247"/>
              <p:cNvSpPr>
                <a:spLocks noChangeAspect="1"/>
              </p:cNvSpPr>
              <p:nvPr/>
            </p:nvSpPr>
            <p:spPr bwMode="gray">
              <a:xfrm>
                <a:off x="4726808" y="4921101"/>
                <a:ext cx="224197" cy="253325"/>
              </a:xfrm>
              <a:custGeom>
                <a:avLst/>
                <a:gdLst/>
                <a:ahLst/>
                <a:cxnLst>
                  <a:cxn ang="0">
                    <a:pos x="4" y="128"/>
                  </a:cxn>
                  <a:cxn ang="0">
                    <a:pos x="10" y="134"/>
                  </a:cxn>
                  <a:cxn ang="0">
                    <a:pos x="10" y="146"/>
                  </a:cxn>
                  <a:cxn ang="0">
                    <a:pos x="14" y="154"/>
                  </a:cxn>
                  <a:cxn ang="0">
                    <a:pos x="16" y="154"/>
                  </a:cxn>
                  <a:cxn ang="0">
                    <a:pos x="20" y="152"/>
                  </a:cxn>
                  <a:cxn ang="0">
                    <a:pos x="32" y="146"/>
                  </a:cxn>
                  <a:cxn ang="0">
                    <a:pos x="46" y="136"/>
                  </a:cxn>
                  <a:cxn ang="0">
                    <a:pos x="48" y="130"/>
                  </a:cxn>
                  <a:cxn ang="0">
                    <a:pos x="54" y="128"/>
                  </a:cxn>
                  <a:cxn ang="0">
                    <a:pos x="58" y="132"/>
                  </a:cxn>
                  <a:cxn ang="0">
                    <a:pos x="64" y="132"/>
                  </a:cxn>
                  <a:cxn ang="0">
                    <a:pos x="70" y="132"/>
                  </a:cxn>
                  <a:cxn ang="0">
                    <a:pos x="78" y="134"/>
                  </a:cxn>
                  <a:cxn ang="0">
                    <a:pos x="82" y="132"/>
                  </a:cxn>
                  <a:cxn ang="0">
                    <a:pos x="84" y="112"/>
                  </a:cxn>
                  <a:cxn ang="0">
                    <a:pos x="90" y="108"/>
                  </a:cxn>
                  <a:cxn ang="0">
                    <a:pos x="94" y="96"/>
                  </a:cxn>
                  <a:cxn ang="0">
                    <a:pos x="100" y="90"/>
                  </a:cxn>
                  <a:cxn ang="0">
                    <a:pos x="106" y="86"/>
                  </a:cxn>
                  <a:cxn ang="0">
                    <a:pos x="118" y="80"/>
                  </a:cxn>
                  <a:cxn ang="0">
                    <a:pos x="122" y="78"/>
                  </a:cxn>
                  <a:cxn ang="0">
                    <a:pos x="128" y="76"/>
                  </a:cxn>
                  <a:cxn ang="0">
                    <a:pos x="132" y="72"/>
                  </a:cxn>
                  <a:cxn ang="0">
                    <a:pos x="126" y="68"/>
                  </a:cxn>
                  <a:cxn ang="0">
                    <a:pos x="122" y="66"/>
                  </a:cxn>
                  <a:cxn ang="0">
                    <a:pos x="116" y="64"/>
                  </a:cxn>
                  <a:cxn ang="0">
                    <a:pos x="116" y="62"/>
                  </a:cxn>
                  <a:cxn ang="0">
                    <a:pos x="116" y="52"/>
                  </a:cxn>
                  <a:cxn ang="0">
                    <a:pos x="112" y="48"/>
                  </a:cxn>
                  <a:cxn ang="0">
                    <a:pos x="110" y="44"/>
                  </a:cxn>
                  <a:cxn ang="0">
                    <a:pos x="106" y="36"/>
                  </a:cxn>
                  <a:cxn ang="0">
                    <a:pos x="100" y="32"/>
                  </a:cxn>
                  <a:cxn ang="0">
                    <a:pos x="98" y="28"/>
                  </a:cxn>
                  <a:cxn ang="0">
                    <a:pos x="94" y="30"/>
                  </a:cxn>
                  <a:cxn ang="0">
                    <a:pos x="92" y="28"/>
                  </a:cxn>
                  <a:cxn ang="0">
                    <a:pos x="90" y="26"/>
                  </a:cxn>
                  <a:cxn ang="0">
                    <a:pos x="82" y="16"/>
                  </a:cxn>
                  <a:cxn ang="0">
                    <a:pos x="78" y="8"/>
                  </a:cxn>
                  <a:cxn ang="0">
                    <a:pos x="76" y="4"/>
                  </a:cxn>
                  <a:cxn ang="0">
                    <a:pos x="72" y="0"/>
                  </a:cxn>
                  <a:cxn ang="0">
                    <a:pos x="68" y="2"/>
                  </a:cxn>
                  <a:cxn ang="0">
                    <a:pos x="62" y="2"/>
                  </a:cxn>
                  <a:cxn ang="0">
                    <a:pos x="60" y="6"/>
                  </a:cxn>
                  <a:cxn ang="0">
                    <a:pos x="26" y="8"/>
                  </a:cxn>
                  <a:cxn ang="0">
                    <a:pos x="0" y="66"/>
                  </a:cxn>
                </a:cxnLst>
                <a:rect l="0" t="0" r="r" b="b"/>
                <a:pathLst>
                  <a:path w="132" h="154">
                    <a:moveTo>
                      <a:pt x="0" y="126"/>
                    </a:moveTo>
                    <a:lnTo>
                      <a:pt x="0" y="126"/>
                    </a:lnTo>
                    <a:lnTo>
                      <a:pt x="4" y="128"/>
                    </a:lnTo>
                    <a:lnTo>
                      <a:pt x="6" y="130"/>
                    </a:lnTo>
                    <a:lnTo>
                      <a:pt x="10" y="134"/>
                    </a:lnTo>
                    <a:lnTo>
                      <a:pt x="10" y="134"/>
                    </a:lnTo>
                    <a:lnTo>
                      <a:pt x="12" y="142"/>
                    </a:lnTo>
                    <a:lnTo>
                      <a:pt x="10" y="146"/>
                    </a:lnTo>
                    <a:lnTo>
                      <a:pt x="10" y="146"/>
                    </a:lnTo>
                    <a:lnTo>
                      <a:pt x="10" y="152"/>
                    </a:lnTo>
                    <a:lnTo>
                      <a:pt x="12" y="154"/>
                    </a:lnTo>
                    <a:lnTo>
                      <a:pt x="14" y="154"/>
                    </a:lnTo>
                    <a:lnTo>
                      <a:pt x="14" y="154"/>
                    </a:lnTo>
                    <a:lnTo>
                      <a:pt x="16" y="154"/>
                    </a:lnTo>
                    <a:lnTo>
                      <a:pt x="16" y="154"/>
                    </a:lnTo>
                    <a:lnTo>
                      <a:pt x="18" y="152"/>
                    </a:lnTo>
                    <a:lnTo>
                      <a:pt x="20" y="152"/>
                    </a:lnTo>
                    <a:lnTo>
                      <a:pt x="20" y="152"/>
                    </a:lnTo>
                    <a:lnTo>
                      <a:pt x="28" y="148"/>
                    </a:lnTo>
                    <a:lnTo>
                      <a:pt x="32" y="146"/>
                    </a:lnTo>
                    <a:lnTo>
                      <a:pt x="32" y="146"/>
                    </a:lnTo>
                    <a:lnTo>
                      <a:pt x="40" y="142"/>
                    </a:lnTo>
                    <a:lnTo>
                      <a:pt x="44" y="138"/>
                    </a:lnTo>
                    <a:lnTo>
                      <a:pt x="46" y="136"/>
                    </a:lnTo>
                    <a:lnTo>
                      <a:pt x="46" y="136"/>
                    </a:lnTo>
                    <a:lnTo>
                      <a:pt x="46" y="132"/>
                    </a:lnTo>
                    <a:lnTo>
                      <a:pt x="48" y="130"/>
                    </a:lnTo>
                    <a:lnTo>
                      <a:pt x="50" y="128"/>
                    </a:lnTo>
                    <a:lnTo>
                      <a:pt x="50" y="128"/>
                    </a:lnTo>
                    <a:lnTo>
                      <a:pt x="54" y="128"/>
                    </a:lnTo>
                    <a:lnTo>
                      <a:pt x="56" y="132"/>
                    </a:lnTo>
                    <a:lnTo>
                      <a:pt x="56" y="132"/>
                    </a:lnTo>
                    <a:lnTo>
                      <a:pt x="58" y="132"/>
                    </a:lnTo>
                    <a:lnTo>
                      <a:pt x="60" y="130"/>
                    </a:lnTo>
                    <a:lnTo>
                      <a:pt x="62" y="130"/>
                    </a:lnTo>
                    <a:lnTo>
                      <a:pt x="64" y="132"/>
                    </a:lnTo>
                    <a:lnTo>
                      <a:pt x="64" y="132"/>
                    </a:lnTo>
                    <a:lnTo>
                      <a:pt x="66" y="132"/>
                    </a:lnTo>
                    <a:lnTo>
                      <a:pt x="70" y="132"/>
                    </a:lnTo>
                    <a:lnTo>
                      <a:pt x="74" y="132"/>
                    </a:lnTo>
                    <a:lnTo>
                      <a:pt x="74" y="132"/>
                    </a:lnTo>
                    <a:lnTo>
                      <a:pt x="78" y="134"/>
                    </a:lnTo>
                    <a:lnTo>
                      <a:pt x="80" y="134"/>
                    </a:lnTo>
                    <a:lnTo>
                      <a:pt x="82" y="132"/>
                    </a:lnTo>
                    <a:lnTo>
                      <a:pt x="82" y="132"/>
                    </a:lnTo>
                    <a:lnTo>
                      <a:pt x="82" y="112"/>
                    </a:lnTo>
                    <a:lnTo>
                      <a:pt x="82" y="112"/>
                    </a:lnTo>
                    <a:lnTo>
                      <a:pt x="84" y="112"/>
                    </a:lnTo>
                    <a:lnTo>
                      <a:pt x="90" y="110"/>
                    </a:lnTo>
                    <a:lnTo>
                      <a:pt x="90" y="110"/>
                    </a:lnTo>
                    <a:lnTo>
                      <a:pt x="90" y="108"/>
                    </a:lnTo>
                    <a:lnTo>
                      <a:pt x="92" y="104"/>
                    </a:lnTo>
                    <a:lnTo>
                      <a:pt x="92" y="98"/>
                    </a:lnTo>
                    <a:lnTo>
                      <a:pt x="94" y="96"/>
                    </a:lnTo>
                    <a:lnTo>
                      <a:pt x="94" y="96"/>
                    </a:lnTo>
                    <a:lnTo>
                      <a:pt x="98" y="94"/>
                    </a:lnTo>
                    <a:lnTo>
                      <a:pt x="100" y="90"/>
                    </a:lnTo>
                    <a:lnTo>
                      <a:pt x="102" y="88"/>
                    </a:lnTo>
                    <a:lnTo>
                      <a:pt x="106" y="86"/>
                    </a:lnTo>
                    <a:lnTo>
                      <a:pt x="106" y="86"/>
                    </a:lnTo>
                    <a:lnTo>
                      <a:pt x="112" y="84"/>
                    </a:lnTo>
                    <a:lnTo>
                      <a:pt x="118" y="80"/>
                    </a:lnTo>
                    <a:lnTo>
                      <a:pt x="118" y="80"/>
                    </a:lnTo>
                    <a:lnTo>
                      <a:pt x="120" y="80"/>
                    </a:lnTo>
                    <a:lnTo>
                      <a:pt x="120" y="78"/>
                    </a:lnTo>
                    <a:lnTo>
                      <a:pt x="122" y="78"/>
                    </a:lnTo>
                    <a:lnTo>
                      <a:pt x="124" y="78"/>
                    </a:lnTo>
                    <a:lnTo>
                      <a:pt x="124" y="78"/>
                    </a:lnTo>
                    <a:lnTo>
                      <a:pt x="128" y="76"/>
                    </a:lnTo>
                    <a:lnTo>
                      <a:pt x="130" y="74"/>
                    </a:lnTo>
                    <a:lnTo>
                      <a:pt x="132" y="72"/>
                    </a:lnTo>
                    <a:lnTo>
                      <a:pt x="132" y="72"/>
                    </a:lnTo>
                    <a:lnTo>
                      <a:pt x="130" y="70"/>
                    </a:lnTo>
                    <a:lnTo>
                      <a:pt x="126" y="68"/>
                    </a:lnTo>
                    <a:lnTo>
                      <a:pt x="126" y="68"/>
                    </a:lnTo>
                    <a:lnTo>
                      <a:pt x="124" y="66"/>
                    </a:lnTo>
                    <a:lnTo>
                      <a:pt x="124" y="66"/>
                    </a:lnTo>
                    <a:lnTo>
                      <a:pt x="122" y="66"/>
                    </a:lnTo>
                    <a:lnTo>
                      <a:pt x="120" y="66"/>
                    </a:lnTo>
                    <a:lnTo>
                      <a:pt x="120" y="66"/>
                    </a:lnTo>
                    <a:lnTo>
                      <a:pt x="116" y="64"/>
                    </a:lnTo>
                    <a:lnTo>
                      <a:pt x="116" y="64"/>
                    </a:lnTo>
                    <a:lnTo>
                      <a:pt x="116" y="62"/>
                    </a:lnTo>
                    <a:lnTo>
                      <a:pt x="116" y="62"/>
                    </a:lnTo>
                    <a:lnTo>
                      <a:pt x="114" y="56"/>
                    </a:lnTo>
                    <a:lnTo>
                      <a:pt x="116" y="52"/>
                    </a:lnTo>
                    <a:lnTo>
                      <a:pt x="116" y="52"/>
                    </a:lnTo>
                    <a:lnTo>
                      <a:pt x="116" y="50"/>
                    </a:lnTo>
                    <a:lnTo>
                      <a:pt x="114" y="50"/>
                    </a:lnTo>
                    <a:lnTo>
                      <a:pt x="112" y="48"/>
                    </a:lnTo>
                    <a:lnTo>
                      <a:pt x="112" y="48"/>
                    </a:lnTo>
                    <a:lnTo>
                      <a:pt x="112" y="48"/>
                    </a:lnTo>
                    <a:lnTo>
                      <a:pt x="110" y="44"/>
                    </a:lnTo>
                    <a:lnTo>
                      <a:pt x="108" y="42"/>
                    </a:lnTo>
                    <a:lnTo>
                      <a:pt x="108" y="42"/>
                    </a:lnTo>
                    <a:lnTo>
                      <a:pt x="106" y="36"/>
                    </a:lnTo>
                    <a:lnTo>
                      <a:pt x="106" y="36"/>
                    </a:lnTo>
                    <a:lnTo>
                      <a:pt x="102" y="34"/>
                    </a:lnTo>
                    <a:lnTo>
                      <a:pt x="100" y="32"/>
                    </a:lnTo>
                    <a:lnTo>
                      <a:pt x="98" y="30"/>
                    </a:lnTo>
                    <a:lnTo>
                      <a:pt x="98" y="30"/>
                    </a:lnTo>
                    <a:lnTo>
                      <a:pt x="98" y="28"/>
                    </a:lnTo>
                    <a:lnTo>
                      <a:pt x="98" y="30"/>
                    </a:lnTo>
                    <a:lnTo>
                      <a:pt x="96" y="30"/>
                    </a:lnTo>
                    <a:lnTo>
                      <a:pt x="94" y="30"/>
                    </a:lnTo>
                    <a:lnTo>
                      <a:pt x="94" y="30"/>
                    </a:lnTo>
                    <a:lnTo>
                      <a:pt x="92" y="30"/>
                    </a:lnTo>
                    <a:lnTo>
                      <a:pt x="92" y="28"/>
                    </a:lnTo>
                    <a:lnTo>
                      <a:pt x="90" y="26"/>
                    </a:lnTo>
                    <a:lnTo>
                      <a:pt x="90" y="26"/>
                    </a:lnTo>
                    <a:lnTo>
                      <a:pt x="90" y="26"/>
                    </a:lnTo>
                    <a:lnTo>
                      <a:pt x="84" y="20"/>
                    </a:lnTo>
                    <a:lnTo>
                      <a:pt x="82" y="16"/>
                    </a:lnTo>
                    <a:lnTo>
                      <a:pt x="82" y="16"/>
                    </a:lnTo>
                    <a:lnTo>
                      <a:pt x="82" y="12"/>
                    </a:lnTo>
                    <a:lnTo>
                      <a:pt x="80" y="10"/>
                    </a:lnTo>
                    <a:lnTo>
                      <a:pt x="78" y="8"/>
                    </a:lnTo>
                    <a:lnTo>
                      <a:pt x="78" y="8"/>
                    </a:lnTo>
                    <a:lnTo>
                      <a:pt x="76" y="6"/>
                    </a:lnTo>
                    <a:lnTo>
                      <a:pt x="76" y="4"/>
                    </a:lnTo>
                    <a:lnTo>
                      <a:pt x="74" y="0"/>
                    </a:lnTo>
                    <a:lnTo>
                      <a:pt x="74" y="0"/>
                    </a:lnTo>
                    <a:lnTo>
                      <a:pt x="72" y="0"/>
                    </a:lnTo>
                    <a:lnTo>
                      <a:pt x="70" y="0"/>
                    </a:lnTo>
                    <a:lnTo>
                      <a:pt x="68" y="2"/>
                    </a:lnTo>
                    <a:lnTo>
                      <a:pt x="68" y="2"/>
                    </a:lnTo>
                    <a:lnTo>
                      <a:pt x="66" y="4"/>
                    </a:lnTo>
                    <a:lnTo>
                      <a:pt x="64" y="4"/>
                    </a:lnTo>
                    <a:lnTo>
                      <a:pt x="62" y="2"/>
                    </a:lnTo>
                    <a:lnTo>
                      <a:pt x="60" y="4"/>
                    </a:lnTo>
                    <a:lnTo>
                      <a:pt x="60" y="4"/>
                    </a:lnTo>
                    <a:lnTo>
                      <a:pt x="60" y="6"/>
                    </a:lnTo>
                    <a:lnTo>
                      <a:pt x="58" y="6"/>
                    </a:lnTo>
                    <a:lnTo>
                      <a:pt x="56" y="6"/>
                    </a:lnTo>
                    <a:lnTo>
                      <a:pt x="26" y="8"/>
                    </a:lnTo>
                    <a:lnTo>
                      <a:pt x="16" y="8"/>
                    </a:lnTo>
                    <a:lnTo>
                      <a:pt x="16" y="66"/>
                    </a:lnTo>
                    <a:lnTo>
                      <a:pt x="0" y="66"/>
                    </a:lnTo>
                    <a:lnTo>
                      <a:pt x="0" y="12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7" name="Freeform 251"/>
              <p:cNvSpPr>
                <a:spLocks noChangeAspect="1"/>
              </p:cNvSpPr>
              <p:nvPr/>
            </p:nvSpPr>
            <p:spPr bwMode="gray">
              <a:xfrm>
                <a:off x="4297228" y="4075587"/>
                <a:ext cx="64280" cy="187527"/>
              </a:xfrm>
              <a:custGeom>
                <a:avLst/>
                <a:gdLst/>
                <a:ahLst/>
                <a:cxnLst>
                  <a:cxn ang="0">
                    <a:pos x="26" y="106"/>
                  </a:cxn>
                  <a:cxn ang="0">
                    <a:pos x="28" y="96"/>
                  </a:cxn>
                  <a:cxn ang="0">
                    <a:pos x="26" y="86"/>
                  </a:cxn>
                  <a:cxn ang="0">
                    <a:pos x="24" y="82"/>
                  </a:cxn>
                  <a:cxn ang="0">
                    <a:pos x="26" y="72"/>
                  </a:cxn>
                  <a:cxn ang="0">
                    <a:pos x="26" y="68"/>
                  </a:cxn>
                  <a:cxn ang="0">
                    <a:pos x="26" y="62"/>
                  </a:cxn>
                  <a:cxn ang="0">
                    <a:pos x="28" y="62"/>
                  </a:cxn>
                  <a:cxn ang="0">
                    <a:pos x="30" y="62"/>
                  </a:cxn>
                  <a:cxn ang="0">
                    <a:pos x="30" y="58"/>
                  </a:cxn>
                  <a:cxn ang="0">
                    <a:pos x="32" y="52"/>
                  </a:cxn>
                  <a:cxn ang="0">
                    <a:pos x="34" y="48"/>
                  </a:cxn>
                  <a:cxn ang="0">
                    <a:pos x="34" y="44"/>
                  </a:cxn>
                  <a:cxn ang="0">
                    <a:pos x="36" y="38"/>
                  </a:cxn>
                  <a:cxn ang="0">
                    <a:pos x="38" y="38"/>
                  </a:cxn>
                  <a:cxn ang="0">
                    <a:pos x="36" y="34"/>
                  </a:cxn>
                  <a:cxn ang="0">
                    <a:pos x="36" y="30"/>
                  </a:cxn>
                  <a:cxn ang="0">
                    <a:pos x="36" y="22"/>
                  </a:cxn>
                  <a:cxn ang="0">
                    <a:pos x="32" y="20"/>
                  </a:cxn>
                  <a:cxn ang="0">
                    <a:pos x="34" y="18"/>
                  </a:cxn>
                  <a:cxn ang="0">
                    <a:pos x="34" y="12"/>
                  </a:cxn>
                  <a:cxn ang="0">
                    <a:pos x="26" y="6"/>
                  </a:cxn>
                  <a:cxn ang="0">
                    <a:pos x="26" y="4"/>
                  </a:cxn>
                  <a:cxn ang="0">
                    <a:pos x="24" y="2"/>
                  </a:cxn>
                  <a:cxn ang="0">
                    <a:pos x="18" y="0"/>
                  </a:cxn>
                  <a:cxn ang="0">
                    <a:pos x="12" y="8"/>
                  </a:cxn>
                  <a:cxn ang="0">
                    <a:pos x="12" y="12"/>
                  </a:cxn>
                  <a:cxn ang="0">
                    <a:pos x="6" y="14"/>
                  </a:cxn>
                  <a:cxn ang="0">
                    <a:pos x="6" y="16"/>
                  </a:cxn>
                  <a:cxn ang="0">
                    <a:pos x="4" y="18"/>
                  </a:cxn>
                  <a:cxn ang="0">
                    <a:pos x="0" y="18"/>
                  </a:cxn>
                  <a:cxn ang="0">
                    <a:pos x="10" y="36"/>
                  </a:cxn>
                  <a:cxn ang="0">
                    <a:pos x="10" y="38"/>
                  </a:cxn>
                  <a:cxn ang="0">
                    <a:pos x="10" y="44"/>
                  </a:cxn>
                  <a:cxn ang="0">
                    <a:pos x="12" y="52"/>
                  </a:cxn>
                  <a:cxn ang="0">
                    <a:pos x="12" y="54"/>
                  </a:cxn>
                  <a:cxn ang="0">
                    <a:pos x="12" y="62"/>
                  </a:cxn>
                  <a:cxn ang="0">
                    <a:pos x="12" y="74"/>
                  </a:cxn>
                  <a:cxn ang="0">
                    <a:pos x="12" y="80"/>
                  </a:cxn>
                  <a:cxn ang="0">
                    <a:pos x="12" y="84"/>
                  </a:cxn>
                  <a:cxn ang="0">
                    <a:pos x="10" y="94"/>
                  </a:cxn>
                  <a:cxn ang="0">
                    <a:pos x="12" y="100"/>
                  </a:cxn>
                  <a:cxn ang="0">
                    <a:pos x="12" y="102"/>
                  </a:cxn>
                  <a:cxn ang="0">
                    <a:pos x="12" y="106"/>
                  </a:cxn>
                  <a:cxn ang="0">
                    <a:pos x="14" y="114"/>
                  </a:cxn>
                  <a:cxn ang="0">
                    <a:pos x="16" y="114"/>
                  </a:cxn>
                  <a:cxn ang="0">
                    <a:pos x="18" y="108"/>
                  </a:cxn>
                  <a:cxn ang="0">
                    <a:pos x="26" y="106"/>
                  </a:cxn>
                </a:cxnLst>
                <a:rect l="0" t="0" r="r" b="b"/>
                <a:pathLst>
                  <a:path w="38" h="114">
                    <a:moveTo>
                      <a:pt x="26" y="106"/>
                    </a:moveTo>
                    <a:lnTo>
                      <a:pt x="26" y="106"/>
                    </a:lnTo>
                    <a:lnTo>
                      <a:pt x="28" y="96"/>
                    </a:lnTo>
                    <a:lnTo>
                      <a:pt x="28" y="96"/>
                    </a:lnTo>
                    <a:lnTo>
                      <a:pt x="28" y="90"/>
                    </a:lnTo>
                    <a:lnTo>
                      <a:pt x="26" y="86"/>
                    </a:lnTo>
                    <a:lnTo>
                      <a:pt x="26" y="86"/>
                    </a:lnTo>
                    <a:lnTo>
                      <a:pt x="24" y="82"/>
                    </a:lnTo>
                    <a:lnTo>
                      <a:pt x="26" y="76"/>
                    </a:lnTo>
                    <a:lnTo>
                      <a:pt x="26" y="72"/>
                    </a:lnTo>
                    <a:lnTo>
                      <a:pt x="26" y="68"/>
                    </a:lnTo>
                    <a:lnTo>
                      <a:pt x="26" y="68"/>
                    </a:lnTo>
                    <a:lnTo>
                      <a:pt x="26" y="64"/>
                    </a:lnTo>
                    <a:lnTo>
                      <a:pt x="26" y="62"/>
                    </a:lnTo>
                    <a:lnTo>
                      <a:pt x="28" y="62"/>
                    </a:lnTo>
                    <a:lnTo>
                      <a:pt x="28" y="62"/>
                    </a:lnTo>
                    <a:lnTo>
                      <a:pt x="30" y="62"/>
                    </a:lnTo>
                    <a:lnTo>
                      <a:pt x="30" y="62"/>
                    </a:lnTo>
                    <a:lnTo>
                      <a:pt x="30" y="58"/>
                    </a:lnTo>
                    <a:lnTo>
                      <a:pt x="30" y="58"/>
                    </a:lnTo>
                    <a:lnTo>
                      <a:pt x="30" y="54"/>
                    </a:lnTo>
                    <a:lnTo>
                      <a:pt x="32" y="52"/>
                    </a:lnTo>
                    <a:lnTo>
                      <a:pt x="32" y="52"/>
                    </a:lnTo>
                    <a:lnTo>
                      <a:pt x="34" y="48"/>
                    </a:lnTo>
                    <a:lnTo>
                      <a:pt x="34" y="44"/>
                    </a:lnTo>
                    <a:lnTo>
                      <a:pt x="34" y="44"/>
                    </a:lnTo>
                    <a:lnTo>
                      <a:pt x="34" y="40"/>
                    </a:lnTo>
                    <a:lnTo>
                      <a:pt x="36" y="38"/>
                    </a:lnTo>
                    <a:lnTo>
                      <a:pt x="36" y="38"/>
                    </a:lnTo>
                    <a:lnTo>
                      <a:pt x="38" y="38"/>
                    </a:lnTo>
                    <a:lnTo>
                      <a:pt x="36" y="36"/>
                    </a:lnTo>
                    <a:lnTo>
                      <a:pt x="36" y="34"/>
                    </a:lnTo>
                    <a:lnTo>
                      <a:pt x="36" y="30"/>
                    </a:lnTo>
                    <a:lnTo>
                      <a:pt x="36" y="30"/>
                    </a:lnTo>
                    <a:lnTo>
                      <a:pt x="38" y="26"/>
                    </a:lnTo>
                    <a:lnTo>
                      <a:pt x="36" y="22"/>
                    </a:lnTo>
                    <a:lnTo>
                      <a:pt x="36" y="22"/>
                    </a:lnTo>
                    <a:lnTo>
                      <a:pt x="32" y="20"/>
                    </a:lnTo>
                    <a:lnTo>
                      <a:pt x="34" y="18"/>
                    </a:lnTo>
                    <a:lnTo>
                      <a:pt x="34" y="18"/>
                    </a:lnTo>
                    <a:lnTo>
                      <a:pt x="34" y="16"/>
                    </a:lnTo>
                    <a:lnTo>
                      <a:pt x="34" y="12"/>
                    </a:lnTo>
                    <a:lnTo>
                      <a:pt x="34" y="10"/>
                    </a:lnTo>
                    <a:lnTo>
                      <a:pt x="26" y="6"/>
                    </a:lnTo>
                    <a:lnTo>
                      <a:pt x="26" y="6"/>
                    </a:lnTo>
                    <a:lnTo>
                      <a:pt x="26" y="4"/>
                    </a:lnTo>
                    <a:lnTo>
                      <a:pt x="24" y="2"/>
                    </a:lnTo>
                    <a:lnTo>
                      <a:pt x="24" y="2"/>
                    </a:lnTo>
                    <a:lnTo>
                      <a:pt x="20" y="0"/>
                    </a:lnTo>
                    <a:lnTo>
                      <a:pt x="18" y="0"/>
                    </a:lnTo>
                    <a:lnTo>
                      <a:pt x="12" y="8"/>
                    </a:lnTo>
                    <a:lnTo>
                      <a:pt x="12" y="8"/>
                    </a:lnTo>
                    <a:lnTo>
                      <a:pt x="12" y="8"/>
                    </a:lnTo>
                    <a:lnTo>
                      <a:pt x="12" y="12"/>
                    </a:lnTo>
                    <a:lnTo>
                      <a:pt x="12" y="12"/>
                    </a:lnTo>
                    <a:lnTo>
                      <a:pt x="6" y="14"/>
                    </a:lnTo>
                    <a:lnTo>
                      <a:pt x="6" y="14"/>
                    </a:lnTo>
                    <a:lnTo>
                      <a:pt x="6" y="16"/>
                    </a:lnTo>
                    <a:lnTo>
                      <a:pt x="6" y="18"/>
                    </a:lnTo>
                    <a:lnTo>
                      <a:pt x="4" y="18"/>
                    </a:lnTo>
                    <a:lnTo>
                      <a:pt x="4" y="18"/>
                    </a:lnTo>
                    <a:lnTo>
                      <a:pt x="0" y="18"/>
                    </a:lnTo>
                    <a:lnTo>
                      <a:pt x="0" y="32"/>
                    </a:lnTo>
                    <a:lnTo>
                      <a:pt x="10" y="36"/>
                    </a:lnTo>
                    <a:lnTo>
                      <a:pt x="10" y="36"/>
                    </a:lnTo>
                    <a:lnTo>
                      <a:pt x="10" y="38"/>
                    </a:lnTo>
                    <a:lnTo>
                      <a:pt x="10" y="44"/>
                    </a:lnTo>
                    <a:lnTo>
                      <a:pt x="10" y="44"/>
                    </a:lnTo>
                    <a:lnTo>
                      <a:pt x="10" y="50"/>
                    </a:lnTo>
                    <a:lnTo>
                      <a:pt x="12" y="52"/>
                    </a:lnTo>
                    <a:lnTo>
                      <a:pt x="12" y="52"/>
                    </a:lnTo>
                    <a:lnTo>
                      <a:pt x="12" y="54"/>
                    </a:lnTo>
                    <a:lnTo>
                      <a:pt x="12" y="62"/>
                    </a:lnTo>
                    <a:lnTo>
                      <a:pt x="12" y="62"/>
                    </a:lnTo>
                    <a:lnTo>
                      <a:pt x="10" y="68"/>
                    </a:lnTo>
                    <a:lnTo>
                      <a:pt x="12" y="74"/>
                    </a:lnTo>
                    <a:lnTo>
                      <a:pt x="12" y="74"/>
                    </a:lnTo>
                    <a:lnTo>
                      <a:pt x="12" y="80"/>
                    </a:lnTo>
                    <a:lnTo>
                      <a:pt x="12" y="84"/>
                    </a:lnTo>
                    <a:lnTo>
                      <a:pt x="12" y="84"/>
                    </a:lnTo>
                    <a:lnTo>
                      <a:pt x="10" y="90"/>
                    </a:lnTo>
                    <a:lnTo>
                      <a:pt x="10" y="94"/>
                    </a:lnTo>
                    <a:lnTo>
                      <a:pt x="10" y="94"/>
                    </a:lnTo>
                    <a:lnTo>
                      <a:pt x="12" y="100"/>
                    </a:lnTo>
                    <a:lnTo>
                      <a:pt x="12" y="102"/>
                    </a:lnTo>
                    <a:lnTo>
                      <a:pt x="12" y="102"/>
                    </a:lnTo>
                    <a:lnTo>
                      <a:pt x="12" y="106"/>
                    </a:lnTo>
                    <a:lnTo>
                      <a:pt x="12" y="106"/>
                    </a:lnTo>
                    <a:lnTo>
                      <a:pt x="14" y="112"/>
                    </a:lnTo>
                    <a:lnTo>
                      <a:pt x="14" y="114"/>
                    </a:lnTo>
                    <a:lnTo>
                      <a:pt x="16" y="114"/>
                    </a:lnTo>
                    <a:lnTo>
                      <a:pt x="16" y="114"/>
                    </a:lnTo>
                    <a:lnTo>
                      <a:pt x="18" y="108"/>
                    </a:lnTo>
                    <a:lnTo>
                      <a:pt x="18" y="108"/>
                    </a:lnTo>
                    <a:lnTo>
                      <a:pt x="26" y="106"/>
                    </a:lnTo>
                    <a:lnTo>
                      <a:pt x="26" y="106"/>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8" name="Freeform 261"/>
              <p:cNvSpPr>
                <a:spLocks noChangeAspect="1" noEditPoints="1"/>
              </p:cNvSpPr>
              <p:nvPr/>
            </p:nvSpPr>
            <p:spPr bwMode="gray">
              <a:xfrm>
                <a:off x="4549646" y="4536178"/>
                <a:ext cx="285341" cy="388213"/>
              </a:xfrm>
              <a:custGeom>
                <a:avLst/>
                <a:gdLst/>
                <a:ahLst/>
                <a:cxnLst>
                  <a:cxn ang="0">
                    <a:pos x="12" y="12"/>
                  </a:cxn>
                  <a:cxn ang="0">
                    <a:pos x="14" y="4"/>
                  </a:cxn>
                  <a:cxn ang="0">
                    <a:pos x="12" y="0"/>
                  </a:cxn>
                  <a:cxn ang="0">
                    <a:pos x="10" y="4"/>
                  </a:cxn>
                  <a:cxn ang="0">
                    <a:pos x="2" y="4"/>
                  </a:cxn>
                  <a:cxn ang="0">
                    <a:pos x="2" y="14"/>
                  </a:cxn>
                  <a:cxn ang="0">
                    <a:pos x="10" y="32"/>
                  </a:cxn>
                  <a:cxn ang="0">
                    <a:pos x="14" y="48"/>
                  </a:cxn>
                  <a:cxn ang="0">
                    <a:pos x="18" y="56"/>
                  </a:cxn>
                  <a:cxn ang="0">
                    <a:pos x="22" y="64"/>
                  </a:cxn>
                  <a:cxn ang="0">
                    <a:pos x="24" y="74"/>
                  </a:cxn>
                  <a:cxn ang="0">
                    <a:pos x="22" y="76"/>
                  </a:cxn>
                  <a:cxn ang="0">
                    <a:pos x="20" y="82"/>
                  </a:cxn>
                  <a:cxn ang="0">
                    <a:pos x="22" y="96"/>
                  </a:cxn>
                  <a:cxn ang="0">
                    <a:pos x="26" y="110"/>
                  </a:cxn>
                  <a:cxn ang="0">
                    <a:pos x="26" y="138"/>
                  </a:cxn>
                  <a:cxn ang="0">
                    <a:pos x="18" y="146"/>
                  </a:cxn>
                  <a:cxn ang="0">
                    <a:pos x="16" y="156"/>
                  </a:cxn>
                  <a:cxn ang="0">
                    <a:pos x="10" y="168"/>
                  </a:cxn>
                  <a:cxn ang="0">
                    <a:pos x="8" y="180"/>
                  </a:cxn>
                  <a:cxn ang="0">
                    <a:pos x="2" y="192"/>
                  </a:cxn>
                  <a:cxn ang="0">
                    <a:pos x="2" y="210"/>
                  </a:cxn>
                  <a:cxn ang="0">
                    <a:pos x="0" y="214"/>
                  </a:cxn>
                  <a:cxn ang="0">
                    <a:pos x="10" y="220"/>
                  </a:cxn>
                  <a:cxn ang="0">
                    <a:pos x="16" y="218"/>
                  </a:cxn>
                  <a:cxn ang="0">
                    <a:pos x="26" y="220"/>
                  </a:cxn>
                  <a:cxn ang="0">
                    <a:pos x="88" y="226"/>
                  </a:cxn>
                  <a:cxn ang="0">
                    <a:pos x="92" y="230"/>
                  </a:cxn>
                  <a:cxn ang="0">
                    <a:pos x="100" y="230"/>
                  </a:cxn>
                  <a:cxn ang="0">
                    <a:pos x="106" y="232"/>
                  </a:cxn>
                  <a:cxn ang="0">
                    <a:pos x="112" y="232"/>
                  </a:cxn>
                  <a:cxn ang="0">
                    <a:pos x="154" y="230"/>
                  </a:cxn>
                  <a:cxn ang="0">
                    <a:pos x="150" y="224"/>
                  </a:cxn>
                  <a:cxn ang="0">
                    <a:pos x="140" y="210"/>
                  </a:cxn>
                  <a:cxn ang="0">
                    <a:pos x="136" y="142"/>
                  </a:cxn>
                  <a:cxn ang="0">
                    <a:pos x="166" y="138"/>
                  </a:cxn>
                  <a:cxn ang="0">
                    <a:pos x="168" y="122"/>
                  </a:cxn>
                  <a:cxn ang="0">
                    <a:pos x="166" y="112"/>
                  </a:cxn>
                  <a:cxn ang="0">
                    <a:pos x="150" y="114"/>
                  </a:cxn>
                  <a:cxn ang="0">
                    <a:pos x="144" y="112"/>
                  </a:cxn>
                  <a:cxn ang="0">
                    <a:pos x="142" y="100"/>
                  </a:cxn>
                  <a:cxn ang="0">
                    <a:pos x="142" y="88"/>
                  </a:cxn>
                  <a:cxn ang="0">
                    <a:pos x="138" y="80"/>
                  </a:cxn>
                  <a:cxn ang="0">
                    <a:pos x="136" y="72"/>
                  </a:cxn>
                  <a:cxn ang="0">
                    <a:pos x="136" y="64"/>
                  </a:cxn>
                  <a:cxn ang="0">
                    <a:pos x="134" y="54"/>
                  </a:cxn>
                  <a:cxn ang="0">
                    <a:pos x="122" y="46"/>
                  </a:cxn>
                  <a:cxn ang="0">
                    <a:pos x="114" y="46"/>
                  </a:cxn>
                  <a:cxn ang="0">
                    <a:pos x="106" y="46"/>
                  </a:cxn>
                  <a:cxn ang="0">
                    <a:pos x="106" y="56"/>
                  </a:cxn>
                  <a:cxn ang="0">
                    <a:pos x="100" y="58"/>
                  </a:cxn>
                  <a:cxn ang="0">
                    <a:pos x="96" y="62"/>
                  </a:cxn>
                  <a:cxn ang="0">
                    <a:pos x="84" y="60"/>
                  </a:cxn>
                  <a:cxn ang="0">
                    <a:pos x="80" y="52"/>
                  </a:cxn>
                  <a:cxn ang="0">
                    <a:pos x="78" y="38"/>
                  </a:cxn>
                  <a:cxn ang="0">
                    <a:pos x="48" y="26"/>
                  </a:cxn>
                  <a:cxn ang="0">
                    <a:pos x="26" y="24"/>
                  </a:cxn>
                  <a:cxn ang="0">
                    <a:pos x="12" y="32"/>
                  </a:cxn>
                </a:cxnLst>
                <a:rect l="0" t="0" r="r" b="b"/>
                <a:pathLst>
                  <a:path w="168" h="236">
                    <a:moveTo>
                      <a:pt x="6" y="16"/>
                    </a:moveTo>
                    <a:lnTo>
                      <a:pt x="12" y="12"/>
                    </a:lnTo>
                    <a:lnTo>
                      <a:pt x="12" y="12"/>
                    </a:lnTo>
                    <a:lnTo>
                      <a:pt x="12" y="12"/>
                    </a:lnTo>
                    <a:lnTo>
                      <a:pt x="12" y="8"/>
                    </a:lnTo>
                    <a:lnTo>
                      <a:pt x="12" y="8"/>
                    </a:lnTo>
                    <a:lnTo>
                      <a:pt x="12" y="6"/>
                    </a:lnTo>
                    <a:lnTo>
                      <a:pt x="14" y="4"/>
                    </a:lnTo>
                    <a:lnTo>
                      <a:pt x="16" y="2"/>
                    </a:lnTo>
                    <a:lnTo>
                      <a:pt x="16" y="2"/>
                    </a:lnTo>
                    <a:lnTo>
                      <a:pt x="14" y="0"/>
                    </a:lnTo>
                    <a:lnTo>
                      <a:pt x="12" y="0"/>
                    </a:lnTo>
                    <a:lnTo>
                      <a:pt x="10" y="0"/>
                    </a:lnTo>
                    <a:lnTo>
                      <a:pt x="10" y="0"/>
                    </a:lnTo>
                    <a:lnTo>
                      <a:pt x="8" y="4"/>
                    </a:lnTo>
                    <a:lnTo>
                      <a:pt x="10" y="4"/>
                    </a:lnTo>
                    <a:lnTo>
                      <a:pt x="10" y="4"/>
                    </a:lnTo>
                    <a:lnTo>
                      <a:pt x="6" y="4"/>
                    </a:lnTo>
                    <a:lnTo>
                      <a:pt x="6" y="4"/>
                    </a:lnTo>
                    <a:lnTo>
                      <a:pt x="2" y="4"/>
                    </a:lnTo>
                    <a:lnTo>
                      <a:pt x="2" y="6"/>
                    </a:lnTo>
                    <a:lnTo>
                      <a:pt x="2" y="6"/>
                    </a:lnTo>
                    <a:lnTo>
                      <a:pt x="2" y="10"/>
                    </a:lnTo>
                    <a:lnTo>
                      <a:pt x="2" y="14"/>
                    </a:lnTo>
                    <a:lnTo>
                      <a:pt x="2" y="14"/>
                    </a:lnTo>
                    <a:lnTo>
                      <a:pt x="6" y="16"/>
                    </a:lnTo>
                    <a:lnTo>
                      <a:pt x="6" y="16"/>
                    </a:lnTo>
                    <a:close/>
                    <a:moveTo>
                      <a:pt x="10" y="32"/>
                    </a:moveTo>
                    <a:lnTo>
                      <a:pt x="10" y="32"/>
                    </a:lnTo>
                    <a:lnTo>
                      <a:pt x="10" y="38"/>
                    </a:lnTo>
                    <a:lnTo>
                      <a:pt x="10" y="38"/>
                    </a:lnTo>
                    <a:lnTo>
                      <a:pt x="14" y="48"/>
                    </a:lnTo>
                    <a:lnTo>
                      <a:pt x="14" y="48"/>
                    </a:lnTo>
                    <a:lnTo>
                      <a:pt x="18" y="52"/>
                    </a:lnTo>
                    <a:lnTo>
                      <a:pt x="18" y="52"/>
                    </a:lnTo>
                    <a:lnTo>
                      <a:pt x="18" y="56"/>
                    </a:lnTo>
                    <a:lnTo>
                      <a:pt x="18" y="60"/>
                    </a:lnTo>
                    <a:lnTo>
                      <a:pt x="18" y="60"/>
                    </a:lnTo>
                    <a:lnTo>
                      <a:pt x="22" y="64"/>
                    </a:lnTo>
                    <a:lnTo>
                      <a:pt x="22" y="64"/>
                    </a:lnTo>
                    <a:lnTo>
                      <a:pt x="22" y="66"/>
                    </a:lnTo>
                    <a:lnTo>
                      <a:pt x="20" y="70"/>
                    </a:lnTo>
                    <a:lnTo>
                      <a:pt x="20" y="70"/>
                    </a:lnTo>
                    <a:lnTo>
                      <a:pt x="24" y="74"/>
                    </a:lnTo>
                    <a:lnTo>
                      <a:pt x="24" y="74"/>
                    </a:lnTo>
                    <a:lnTo>
                      <a:pt x="24" y="76"/>
                    </a:lnTo>
                    <a:lnTo>
                      <a:pt x="22" y="76"/>
                    </a:lnTo>
                    <a:lnTo>
                      <a:pt x="22" y="76"/>
                    </a:lnTo>
                    <a:lnTo>
                      <a:pt x="22" y="78"/>
                    </a:lnTo>
                    <a:lnTo>
                      <a:pt x="22" y="80"/>
                    </a:lnTo>
                    <a:lnTo>
                      <a:pt x="22" y="80"/>
                    </a:lnTo>
                    <a:lnTo>
                      <a:pt x="20" y="82"/>
                    </a:lnTo>
                    <a:lnTo>
                      <a:pt x="20" y="82"/>
                    </a:lnTo>
                    <a:lnTo>
                      <a:pt x="20" y="92"/>
                    </a:lnTo>
                    <a:lnTo>
                      <a:pt x="22" y="96"/>
                    </a:lnTo>
                    <a:lnTo>
                      <a:pt x="22" y="96"/>
                    </a:lnTo>
                    <a:lnTo>
                      <a:pt x="22" y="100"/>
                    </a:lnTo>
                    <a:lnTo>
                      <a:pt x="20" y="102"/>
                    </a:lnTo>
                    <a:lnTo>
                      <a:pt x="20" y="102"/>
                    </a:lnTo>
                    <a:lnTo>
                      <a:pt x="26" y="110"/>
                    </a:lnTo>
                    <a:lnTo>
                      <a:pt x="26" y="110"/>
                    </a:lnTo>
                    <a:lnTo>
                      <a:pt x="28" y="116"/>
                    </a:lnTo>
                    <a:lnTo>
                      <a:pt x="28" y="124"/>
                    </a:lnTo>
                    <a:lnTo>
                      <a:pt x="26" y="138"/>
                    </a:lnTo>
                    <a:lnTo>
                      <a:pt x="26" y="138"/>
                    </a:lnTo>
                    <a:lnTo>
                      <a:pt x="22" y="144"/>
                    </a:lnTo>
                    <a:lnTo>
                      <a:pt x="18" y="146"/>
                    </a:lnTo>
                    <a:lnTo>
                      <a:pt x="18" y="146"/>
                    </a:lnTo>
                    <a:lnTo>
                      <a:pt x="18" y="150"/>
                    </a:lnTo>
                    <a:lnTo>
                      <a:pt x="18" y="152"/>
                    </a:lnTo>
                    <a:lnTo>
                      <a:pt x="18" y="152"/>
                    </a:lnTo>
                    <a:lnTo>
                      <a:pt x="16" y="156"/>
                    </a:lnTo>
                    <a:lnTo>
                      <a:pt x="12" y="158"/>
                    </a:lnTo>
                    <a:lnTo>
                      <a:pt x="12" y="158"/>
                    </a:lnTo>
                    <a:lnTo>
                      <a:pt x="10" y="164"/>
                    </a:lnTo>
                    <a:lnTo>
                      <a:pt x="10" y="168"/>
                    </a:lnTo>
                    <a:lnTo>
                      <a:pt x="10" y="178"/>
                    </a:lnTo>
                    <a:lnTo>
                      <a:pt x="10" y="178"/>
                    </a:lnTo>
                    <a:lnTo>
                      <a:pt x="8" y="180"/>
                    </a:lnTo>
                    <a:lnTo>
                      <a:pt x="8" y="180"/>
                    </a:lnTo>
                    <a:lnTo>
                      <a:pt x="6" y="182"/>
                    </a:lnTo>
                    <a:lnTo>
                      <a:pt x="6" y="186"/>
                    </a:lnTo>
                    <a:lnTo>
                      <a:pt x="6" y="186"/>
                    </a:lnTo>
                    <a:lnTo>
                      <a:pt x="2" y="192"/>
                    </a:lnTo>
                    <a:lnTo>
                      <a:pt x="0" y="198"/>
                    </a:lnTo>
                    <a:lnTo>
                      <a:pt x="0" y="198"/>
                    </a:lnTo>
                    <a:lnTo>
                      <a:pt x="0" y="204"/>
                    </a:lnTo>
                    <a:lnTo>
                      <a:pt x="2" y="210"/>
                    </a:lnTo>
                    <a:lnTo>
                      <a:pt x="2" y="210"/>
                    </a:lnTo>
                    <a:lnTo>
                      <a:pt x="0" y="212"/>
                    </a:lnTo>
                    <a:lnTo>
                      <a:pt x="0" y="214"/>
                    </a:lnTo>
                    <a:lnTo>
                      <a:pt x="0" y="214"/>
                    </a:lnTo>
                    <a:lnTo>
                      <a:pt x="0" y="220"/>
                    </a:lnTo>
                    <a:lnTo>
                      <a:pt x="0" y="220"/>
                    </a:lnTo>
                    <a:lnTo>
                      <a:pt x="4" y="220"/>
                    </a:lnTo>
                    <a:lnTo>
                      <a:pt x="10" y="220"/>
                    </a:lnTo>
                    <a:lnTo>
                      <a:pt x="10" y="220"/>
                    </a:lnTo>
                    <a:lnTo>
                      <a:pt x="12" y="220"/>
                    </a:lnTo>
                    <a:lnTo>
                      <a:pt x="14" y="218"/>
                    </a:lnTo>
                    <a:lnTo>
                      <a:pt x="16" y="218"/>
                    </a:lnTo>
                    <a:lnTo>
                      <a:pt x="18" y="216"/>
                    </a:lnTo>
                    <a:lnTo>
                      <a:pt x="18" y="216"/>
                    </a:lnTo>
                    <a:lnTo>
                      <a:pt x="22" y="218"/>
                    </a:lnTo>
                    <a:lnTo>
                      <a:pt x="26" y="220"/>
                    </a:lnTo>
                    <a:lnTo>
                      <a:pt x="84" y="222"/>
                    </a:lnTo>
                    <a:lnTo>
                      <a:pt x="84" y="222"/>
                    </a:lnTo>
                    <a:lnTo>
                      <a:pt x="86" y="224"/>
                    </a:lnTo>
                    <a:lnTo>
                      <a:pt x="88" y="226"/>
                    </a:lnTo>
                    <a:lnTo>
                      <a:pt x="90" y="228"/>
                    </a:lnTo>
                    <a:lnTo>
                      <a:pt x="90" y="228"/>
                    </a:lnTo>
                    <a:lnTo>
                      <a:pt x="92" y="228"/>
                    </a:lnTo>
                    <a:lnTo>
                      <a:pt x="92" y="230"/>
                    </a:lnTo>
                    <a:lnTo>
                      <a:pt x="94" y="230"/>
                    </a:lnTo>
                    <a:lnTo>
                      <a:pt x="96" y="230"/>
                    </a:lnTo>
                    <a:lnTo>
                      <a:pt x="96" y="230"/>
                    </a:lnTo>
                    <a:lnTo>
                      <a:pt x="100" y="230"/>
                    </a:lnTo>
                    <a:lnTo>
                      <a:pt x="102" y="232"/>
                    </a:lnTo>
                    <a:lnTo>
                      <a:pt x="104" y="232"/>
                    </a:lnTo>
                    <a:lnTo>
                      <a:pt x="106" y="232"/>
                    </a:lnTo>
                    <a:lnTo>
                      <a:pt x="106" y="232"/>
                    </a:lnTo>
                    <a:lnTo>
                      <a:pt x="110" y="232"/>
                    </a:lnTo>
                    <a:lnTo>
                      <a:pt x="110" y="232"/>
                    </a:lnTo>
                    <a:lnTo>
                      <a:pt x="112" y="232"/>
                    </a:lnTo>
                    <a:lnTo>
                      <a:pt x="112" y="232"/>
                    </a:lnTo>
                    <a:lnTo>
                      <a:pt x="118" y="234"/>
                    </a:lnTo>
                    <a:lnTo>
                      <a:pt x="122" y="236"/>
                    </a:lnTo>
                    <a:lnTo>
                      <a:pt x="122" y="236"/>
                    </a:lnTo>
                    <a:lnTo>
                      <a:pt x="154" y="230"/>
                    </a:lnTo>
                    <a:lnTo>
                      <a:pt x="154" y="230"/>
                    </a:lnTo>
                    <a:lnTo>
                      <a:pt x="152" y="230"/>
                    </a:lnTo>
                    <a:lnTo>
                      <a:pt x="150" y="226"/>
                    </a:lnTo>
                    <a:lnTo>
                      <a:pt x="150" y="224"/>
                    </a:lnTo>
                    <a:lnTo>
                      <a:pt x="146" y="220"/>
                    </a:lnTo>
                    <a:lnTo>
                      <a:pt x="146" y="220"/>
                    </a:lnTo>
                    <a:lnTo>
                      <a:pt x="142" y="214"/>
                    </a:lnTo>
                    <a:lnTo>
                      <a:pt x="140" y="210"/>
                    </a:lnTo>
                    <a:lnTo>
                      <a:pt x="140" y="210"/>
                    </a:lnTo>
                    <a:lnTo>
                      <a:pt x="138" y="204"/>
                    </a:lnTo>
                    <a:lnTo>
                      <a:pt x="136" y="202"/>
                    </a:lnTo>
                    <a:lnTo>
                      <a:pt x="136" y="142"/>
                    </a:lnTo>
                    <a:lnTo>
                      <a:pt x="166" y="142"/>
                    </a:lnTo>
                    <a:lnTo>
                      <a:pt x="166" y="142"/>
                    </a:lnTo>
                    <a:lnTo>
                      <a:pt x="166" y="138"/>
                    </a:lnTo>
                    <a:lnTo>
                      <a:pt x="166" y="138"/>
                    </a:lnTo>
                    <a:lnTo>
                      <a:pt x="166" y="130"/>
                    </a:lnTo>
                    <a:lnTo>
                      <a:pt x="166" y="130"/>
                    </a:lnTo>
                    <a:lnTo>
                      <a:pt x="166" y="126"/>
                    </a:lnTo>
                    <a:lnTo>
                      <a:pt x="168" y="122"/>
                    </a:lnTo>
                    <a:lnTo>
                      <a:pt x="168" y="122"/>
                    </a:lnTo>
                    <a:lnTo>
                      <a:pt x="168" y="116"/>
                    </a:lnTo>
                    <a:lnTo>
                      <a:pt x="166" y="112"/>
                    </a:lnTo>
                    <a:lnTo>
                      <a:pt x="166" y="112"/>
                    </a:lnTo>
                    <a:lnTo>
                      <a:pt x="156" y="112"/>
                    </a:lnTo>
                    <a:lnTo>
                      <a:pt x="156" y="112"/>
                    </a:lnTo>
                    <a:lnTo>
                      <a:pt x="154" y="112"/>
                    </a:lnTo>
                    <a:lnTo>
                      <a:pt x="150" y="114"/>
                    </a:lnTo>
                    <a:lnTo>
                      <a:pt x="150" y="114"/>
                    </a:lnTo>
                    <a:lnTo>
                      <a:pt x="148" y="116"/>
                    </a:lnTo>
                    <a:lnTo>
                      <a:pt x="144" y="112"/>
                    </a:lnTo>
                    <a:lnTo>
                      <a:pt x="144" y="112"/>
                    </a:lnTo>
                    <a:lnTo>
                      <a:pt x="142" y="108"/>
                    </a:lnTo>
                    <a:lnTo>
                      <a:pt x="142" y="104"/>
                    </a:lnTo>
                    <a:lnTo>
                      <a:pt x="142" y="104"/>
                    </a:lnTo>
                    <a:lnTo>
                      <a:pt x="142" y="100"/>
                    </a:lnTo>
                    <a:lnTo>
                      <a:pt x="142" y="96"/>
                    </a:lnTo>
                    <a:lnTo>
                      <a:pt x="142" y="96"/>
                    </a:lnTo>
                    <a:lnTo>
                      <a:pt x="144" y="92"/>
                    </a:lnTo>
                    <a:lnTo>
                      <a:pt x="142" y="88"/>
                    </a:lnTo>
                    <a:lnTo>
                      <a:pt x="142" y="88"/>
                    </a:lnTo>
                    <a:lnTo>
                      <a:pt x="140" y="86"/>
                    </a:lnTo>
                    <a:lnTo>
                      <a:pt x="140" y="84"/>
                    </a:lnTo>
                    <a:lnTo>
                      <a:pt x="138" y="80"/>
                    </a:lnTo>
                    <a:lnTo>
                      <a:pt x="138" y="80"/>
                    </a:lnTo>
                    <a:lnTo>
                      <a:pt x="136" y="76"/>
                    </a:lnTo>
                    <a:lnTo>
                      <a:pt x="136" y="72"/>
                    </a:lnTo>
                    <a:lnTo>
                      <a:pt x="136" y="72"/>
                    </a:lnTo>
                    <a:lnTo>
                      <a:pt x="136" y="66"/>
                    </a:lnTo>
                    <a:lnTo>
                      <a:pt x="136" y="64"/>
                    </a:lnTo>
                    <a:lnTo>
                      <a:pt x="136" y="64"/>
                    </a:lnTo>
                    <a:lnTo>
                      <a:pt x="136" y="64"/>
                    </a:lnTo>
                    <a:lnTo>
                      <a:pt x="134" y="62"/>
                    </a:lnTo>
                    <a:lnTo>
                      <a:pt x="134" y="60"/>
                    </a:lnTo>
                    <a:lnTo>
                      <a:pt x="134" y="54"/>
                    </a:lnTo>
                    <a:lnTo>
                      <a:pt x="134" y="54"/>
                    </a:lnTo>
                    <a:lnTo>
                      <a:pt x="132" y="50"/>
                    </a:lnTo>
                    <a:lnTo>
                      <a:pt x="128" y="50"/>
                    </a:lnTo>
                    <a:lnTo>
                      <a:pt x="122" y="50"/>
                    </a:lnTo>
                    <a:lnTo>
                      <a:pt x="122" y="46"/>
                    </a:lnTo>
                    <a:lnTo>
                      <a:pt x="122" y="46"/>
                    </a:lnTo>
                    <a:lnTo>
                      <a:pt x="122" y="46"/>
                    </a:lnTo>
                    <a:lnTo>
                      <a:pt x="120" y="46"/>
                    </a:lnTo>
                    <a:lnTo>
                      <a:pt x="114" y="46"/>
                    </a:lnTo>
                    <a:lnTo>
                      <a:pt x="114" y="46"/>
                    </a:lnTo>
                    <a:lnTo>
                      <a:pt x="108" y="44"/>
                    </a:lnTo>
                    <a:lnTo>
                      <a:pt x="106" y="46"/>
                    </a:lnTo>
                    <a:lnTo>
                      <a:pt x="106" y="46"/>
                    </a:lnTo>
                    <a:lnTo>
                      <a:pt x="104" y="48"/>
                    </a:lnTo>
                    <a:lnTo>
                      <a:pt x="104" y="52"/>
                    </a:lnTo>
                    <a:lnTo>
                      <a:pt x="106" y="56"/>
                    </a:lnTo>
                    <a:lnTo>
                      <a:pt x="106" y="56"/>
                    </a:lnTo>
                    <a:lnTo>
                      <a:pt x="106" y="58"/>
                    </a:lnTo>
                    <a:lnTo>
                      <a:pt x="104" y="60"/>
                    </a:lnTo>
                    <a:lnTo>
                      <a:pt x="102" y="60"/>
                    </a:lnTo>
                    <a:lnTo>
                      <a:pt x="100" y="58"/>
                    </a:lnTo>
                    <a:lnTo>
                      <a:pt x="100" y="58"/>
                    </a:lnTo>
                    <a:lnTo>
                      <a:pt x="100" y="58"/>
                    </a:lnTo>
                    <a:lnTo>
                      <a:pt x="98" y="60"/>
                    </a:lnTo>
                    <a:lnTo>
                      <a:pt x="96" y="62"/>
                    </a:lnTo>
                    <a:lnTo>
                      <a:pt x="94" y="62"/>
                    </a:lnTo>
                    <a:lnTo>
                      <a:pt x="94" y="62"/>
                    </a:lnTo>
                    <a:lnTo>
                      <a:pt x="88" y="62"/>
                    </a:lnTo>
                    <a:lnTo>
                      <a:pt x="84" y="60"/>
                    </a:lnTo>
                    <a:lnTo>
                      <a:pt x="84" y="60"/>
                    </a:lnTo>
                    <a:lnTo>
                      <a:pt x="82" y="58"/>
                    </a:lnTo>
                    <a:lnTo>
                      <a:pt x="80" y="52"/>
                    </a:lnTo>
                    <a:lnTo>
                      <a:pt x="80" y="52"/>
                    </a:lnTo>
                    <a:lnTo>
                      <a:pt x="80" y="46"/>
                    </a:lnTo>
                    <a:lnTo>
                      <a:pt x="78" y="42"/>
                    </a:lnTo>
                    <a:lnTo>
                      <a:pt x="78" y="42"/>
                    </a:lnTo>
                    <a:lnTo>
                      <a:pt x="78" y="38"/>
                    </a:lnTo>
                    <a:lnTo>
                      <a:pt x="78" y="34"/>
                    </a:lnTo>
                    <a:lnTo>
                      <a:pt x="78" y="34"/>
                    </a:lnTo>
                    <a:lnTo>
                      <a:pt x="76" y="24"/>
                    </a:lnTo>
                    <a:lnTo>
                      <a:pt x="48" y="26"/>
                    </a:lnTo>
                    <a:lnTo>
                      <a:pt x="48" y="26"/>
                    </a:lnTo>
                    <a:lnTo>
                      <a:pt x="32" y="24"/>
                    </a:lnTo>
                    <a:lnTo>
                      <a:pt x="32" y="24"/>
                    </a:lnTo>
                    <a:lnTo>
                      <a:pt x="26" y="24"/>
                    </a:lnTo>
                    <a:lnTo>
                      <a:pt x="22" y="26"/>
                    </a:lnTo>
                    <a:lnTo>
                      <a:pt x="18" y="28"/>
                    </a:lnTo>
                    <a:lnTo>
                      <a:pt x="18" y="28"/>
                    </a:lnTo>
                    <a:lnTo>
                      <a:pt x="12" y="32"/>
                    </a:lnTo>
                    <a:lnTo>
                      <a:pt x="10" y="32"/>
                    </a:lnTo>
                    <a:lnTo>
                      <a:pt x="10" y="32"/>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59" name="Freeform 263"/>
              <p:cNvSpPr>
                <a:spLocks noChangeAspect="1"/>
              </p:cNvSpPr>
              <p:nvPr/>
            </p:nvSpPr>
            <p:spPr bwMode="gray">
              <a:xfrm>
                <a:off x="4096549" y="3381410"/>
                <a:ext cx="446825" cy="513231"/>
              </a:xfrm>
              <a:custGeom>
                <a:avLst/>
                <a:gdLst/>
                <a:ahLst/>
                <a:cxnLst>
                  <a:cxn ang="0">
                    <a:pos x="162" y="310"/>
                  </a:cxn>
                  <a:cxn ang="0">
                    <a:pos x="150" y="312"/>
                  </a:cxn>
                  <a:cxn ang="0">
                    <a:pos x="148" y="304"/>
                  </a:cxn>
                  <a:cxn ang="0">
                    <a:pos x="148" y="294"/>
                  </a:cxn>
                  <a:cxn ang="0">
                    <a:pos x="140" y="288"/>
                  </a:cxn>
                  <a:cxn ang="0">
                    <a:pos x="130" y="278"/>
                  </a:cxn>
                  <a:cxn ang="0">
                    <a:pos x="0" y="154"/>
                  </a:cxn>
                  <a:cxn ang="0">
                    <a:pos x="4" y="150"/>
                  </a:cxn>
                  <a:cxn ang="0">
                    <a:pos x="20" y="138"/>
                  </a:cxn>
                  <a:cxn ang="0">
                    <a:pos x="34" y="132"/>
                  </a:cxn>
                  <a:cxn ang="0">
                    <a:pos x="42" y="128"/>
                  </a:cxn>
                  <a:cxn ang="0">
                    <a:pos x="56" y="120"/>
                  </a:cxn>
                  <a:cxn ang="0">
                    <a:pos x="64" y="108"/>
                  </a:cxn>
                  <a:cxn ang="0">
                    <a:pos x="74" y="96"/>
                  </a:cxn>
                  <a:cxn ang="0">
                    <a:pos x="78" y="90"/>
                  </a:cxn>
                  <a:cxn ang="0">
                    <a:pos x="84" y="84"/>
                  </a:cxn>
                  <a:cxn ang="0">
                    <a:pos x="90" y="76"/>
                  </a:cxn>
                  <a:cxn ang="0">
                    <a:pos x="86" y="62"/>
                  </a:cxn>
                  <a:cxn ang="0">
                    <a:pos x="82" y="58"/>
                  </a:cxn>
                  <a:cxn ang="0">
                    <a:pos x="82" y="44"/>
                  </a:cxn>
                  <a:cxn ang="0">
                    <a:pos x="78" y="34"/>
                  </a:cxn>
                  <a:cxn ang="0">
                    <a:pos x="88" y="32"/>
                  </a:cxn>
                  <a:cxn ang="0">
                    <a:pos x="94" y="24"/>
                  </a:cxn>
                  <a:cxn ang="0">
                    <a:pos x="108" y="20"/>
                  </a:cxn>
                  <a:cxn ang="0">
                    <a:pos x="114" y="14"/>
                  </a:cxn>
                  <a:cxn ang="0">
                    <a:pos x="124" y="10"/>
                  </a:cxn>
                  <a:cxn ang="0">
                    <a:pos x="132" y="8"/>
                  </a:cxn>
                  <a:cxn ang="0">
                    <a:pos x="146" y="6"/>
                  </a:cxn>
                  <a:cxn ang="0">
                    <a:pos x="162" y="2"/>
                  </a:cxn>
                  <a:cxn ang="0">
                    <a:pos x="178" y="2"/>
                  </a:cxn>
                  <a:cxn ang="0">
                    <a:pos x="184" y="2"/>
                  </a:cxn>
                  <a:cxn ang="0">
                    <a:pos x="192" y="2"/>
                  </a:cxn>
                  <a:cxn ang="0">
                    <a:pos x="202" y="2"/>
                  </a:cxn>
                  <a:cxn ang="0">
                    <a:pos x="208" y="0"/>
                  </a:cxn>
                  <a:cxn ang="0">
                    <a:pos x="214" y="8"/>
                  </a:cxn>
                  <a:cxn ang="0">
                    <a:pos x="218" y="18"/>
                  </a:cxn>
                  <a:cxn ang="0">
                    <a:pos x="220" y="36"/>
                  </a:cxn>
                  <a:cxn ang="0">
                    <a:pos x="218" y="42"/>
                  </a:cxn>
                  <a:cxn ang="0">
                    <a:pos x="210" y="52"/>
                  </a:cxn>
                  <a:cxn ang="0">
                    <a:pos x="206" y="56"/>
                  </a:cxn>
                  <a:cxn ang="0">
                    <a:pos x="212" y="70"/>
                  </a:cxn>
                  <a:cxn ang="0">
                    <a:pos x="224" y="86"/>
                  </a:cxn>
                  <a:cxn ang="0">
                    <a:pos x="226" y="118"/>
                  </a:cxn>
                  <a:cxn ang="0">
                    <a:pos x="228" y="152"/>
                  </a:cxn>
                  <a:cxn ang="0">
                    <a:pos x="228" y="162"/>
                  </a:cxn>
                  <a:cxn ang="0">
                    <a:pos x="230" y="164"/>
                  </a:cxn>
                  <a:cxn ang="0">
                    <a:pos x="228" y="184"/>
                  </a:cxn>
                  <a:cxn ang="0">
                    <a:pos x="220" y="192"/>
                  </a:cxn>
                  <a:cxn ang="0">
                    <a:pos x="226" y="202"/>
                  </a:cxn>
                  <a:cxn ang="0">
                    <a:pos x="232" y="216"/>
                  </a:cxn>
                  <a:cxn ang="0">
                    <a:pos x="238" y="224"/>
                  </a:cxn>
                  <a:cxn ang="0">
                    <a:pos x="250" y="230"/>
                  </a:cxn>
                  <a:cxn ang="0">
                    <a:pos x="257" y="232"/>
                  </a:cxn>
                </a:cxnLst>
                <a:rect l="0" t="0" r="r" b="b"/>
                <a:pathLst>
                  <a:path w="263" h="312">
                    <a:moveTo>
                      <a:pt x="263" y="238"/>
                    </a:moveTo>
                    <a:lnTo>
                      <a:pt x="190" y="292"/>
                    </a:lnTo>
                    <a:lnTo>
                      <a:pt x="182" y="306"/>
                    </a:lnTo>
                    <a:lnTo>
                      <a:pt x="162" y="310"/>
                    </a:lnTo>
                    <a:lnTo>
                      <a:pt x="162" y="310"/>
                    </a:lnTo>
                    <a:lnTo>
                      <a:pt x="156" y="312"/>
                    </a:lnTo>
                    <a:lnTo>
                      <a:pt x="150" y="312"/>
                    </a:lnTo>
                    <a:lnTo>
                      <a:pt x="150" y="312"/>
                    </a:lnTo>
                    <a:lnTo>
                      <a:pt x="150" y="312"/>
                    </a:lnTo>
                    <a:lnTo>
                      <a:pt x="150" y="310"/>
                    </a:lnTo>
                    <a:lnTo>
                      <a:pt x="148" y="304"/>
                    </a:lnTo>
                    <a:lnTo>
                      <a:pt x="148" y="304"/>
                    </a:lnTo>
                    <a:lnTo>
                      <a:pt x="148" y="302"/>
                    </a:lnTo>
                    <a:lnTo>
                      <a:pt x="148" y="298"/>
                    </a:lnTo>
                    <a:lnTo>
                      <a:pt x="148" y="298"/>
                    </a:lnTo>
                    <a:lnTo>
                      <a:pt x="148" y="294"/>
                    </a:lnTo>
                    <a:lnTo>
                      <a:pt x="148" y="292"/>
                    </a:lnTo>
                    <a:lnTo>
                      <a:pt x="144" y="290"/>
                    </a:lnTo>
                    <a:lnTo>
                      <a:pt x="144" y="290"/>
                    </a:lnTo>
                    <a:lnTo>
                      <a:pt x="140" y="288"/>
                    </a:lnTo>
                    <a:lnTo>
                      <a:pt x="134" y="284"/>
                    </a:lnTo>
                    <a:lnTo>
                      <a:pt x="134" y="284"/>
                    </a:lnTo>
                    <a:lnTo>
                      <a:pt x="130" y="280"/>
                    </a:lnTo>
                    <a:lnTo>
                      <a:pt x="130" y="278"/>
                    </a:lnTo>
                    <a:lnTo>
                      <a:pt x="46" y="214"/>
                    </a:lnTo>
                    <a:lnTo>
                      <a:pt x="0" y="180"/>
                    </a:lnTo>
                    <a:lnTo>
                      <a:pt x="0" y="168"/>
                    </a:lnTo>
                    <a:lnTo>
                      <a:pt x="0" y="154"/>
                    </a:lnTo>
                    <a:lnTo>
                      <a:pt x="0" y="154"/>
                    </a:lnTo>
                    <a:lnTo>
                      <a:pt x="0" y="154"/>
                    </a:lnTo>
                    <a:lnTo>
                      <a:pt x="4" y="150"/>
                    </a:lnTo>
                    <a:lnTo>
                      <a:pt x="4" y="150"/>
                    </a:lnTo>
                    <a:lnTo>
                      <a:pt x="10" y="142"/>
                    </a:lnTo>
                    <a:lnTo>
                      <a:pt x="10" y="142"/>
                    </a:lnTo>
                    <a:lnTo>
                      <a:pt x="14" y="140"/>
                    </a:lnTo>
                    <a:lnTo>
                      <a:pt x="20" y="138"/>
                    </a:lnTo>
                    <a:lnTo>
                      <a:pt x="20" y="138"/>
                    </a:lnTo>
                    <a:lnTo>
                      <a:pt x="28" y="136"/>
                    </a:lnTo>
                    <a:lnTo>
                      <a:pt x="32" y="134"/>
                    </a:lnTo>
                    <a:lnTo>
                      <a:pt x="34" y="132"/>
                    </a:lnTo>
                    <a:lnTo>
                      <a:pt x="34" y="132"/>
                    </a:lnTo>
                    <a:lnTo>
                      <a:pt x="38" y="128"/>
                    </a:lnTo>
                    <a:lnTo>
                      <a:pt x="42" y="128"/>
                    </a:lnTo>
                    <a:lnTo>
                      <a:pt x="42" y="128"/>
                    </a:lnTo>
                    <a:lnTo>
                      <a:pt x="48" y="126"/>
                    </a:lnTo>
                    <a:lnTo>
                      <a:pt x="52" y="124"/>
                    </a:lnTo>
                    <a:lnTo>
                      <a:pt x="52" y="124"/>
                    </a:lnTo>
                    <a:lnTo>
                      <a:pt x="56" y="120"/>
                    </a:lnTo>
                    <a:lnTo>
                      <a:pt x="58" y="114"/>
                    </a:lnTo>
                    <a:lnTo>
                      <a:pt x="62" y="108"/>
                    </a:lnTo>
                    <a:lnTo>
                      <a:pt x="62" y="108"/>
                    </a:lnTo>
                    <a:lnTo>
                      <a:pt x="64" y="108"/>
                    </a:lnTo>
                    <a:lnTo>
                      <a:pt x="70" y="104"/>
                    </a:lnTo>
                    <a:lnTo>
                      <a:pt x="70" y="104"/>
                    </a:lnTo>
                    <a:lnTo>
                      <a:pt x="74" y="100"/>
                    </a:lnTo>
                    <a:lnTo>
                      <a:pt x="74" y="96"/>
                    </a:lnTo>
                    <a:lnTo>
                      <a:pt x="74" y="96"/>
                    </a:lnTo>
                    <a:lnTo>
                      <a:pt x="74" y="94"/>
                    </a:lnTo>
                    <a:lnTo>
                      <a:pt x="76" y="92"/>
                    </a:lnTo>
                    <a:lnTo>
                      <a:pt x="78" y="90"/>
                    </a:lnTo>
                    <a:lnTo>
                      <a:pt x="80" y="88"/>
                    </a:lnTo>
                    <a:lnTo>
                      <a:pt x="80" y="88"/>
                    </a:lnTo>
                    <a:lnTo>
                      <a:pt x="82" y="86"/>
                    </a:lnTo>
                    <a:lnTo>
                      <a:pt x="84" y="84"/>
                    </a:lnTo>
                    <a:lnTo>
                      <a:pt x="90" y="80"/>
                    </a:lnTo>
                    <a:lnTo>
                      <a:pt x="90" y="80"/>
                    </a:lnTo>
                    <a:lnTo>
                      <a:pt x="92" y="78"/>
                    </a:lnTo>
                    <a:lnTo>
                      <a:pt x="90" y="76"/>
                    </a:lnTo>
                    <a:lnTo>
                      <a:pt x="88" y="72"/>
                    </a:lnTo>
                    <a:lnTo>
                      <a:pt x="88" y="72"/>
                    </a:lnTo>
                    <a:lnTo>
                      <a:pt x="86" y="68"/>
                    </a:lnTo>
                    <a:lnTo>
                      <a:pt x="86" y="62"/>
                    </a:lnTo>
                    <a:lnTo>
                      <a:pt x="86" y="62"/>
                    </a:lnTo>
                    <a:lnTo>
                      <a:pt x="84" y="60"/>
                    </a:lnTo>
                    <a:lnTo>
                      <a:pt x="82" y="58"/>
                    </a:lnTo>
                    <a:lnTo>
                      <a:pt x="82" y="58"/>
                    </a:lnTo>
                    <a:lnTo>
                      <a:pt x="80" y="54"/>
                    </a:lnTo>
                    <a:lnTo>
                      <a:pt x="80" y="54"/>
                    </a:lnTo>
                    <a:lnTo>
                      <a:pt x="82" y="48"/>
                    </a:lnTo>
                    <a:lnTo>
                      <a:pt x="82" y="44"/>
                    </a:lnTo>
                    <a:lnTo>
                      <a:pt x="82" y="44"/>
                    </a:lnTo>
                    <a:lnTo>
                      <a:pt x="82" y="40"/>
                    </a:lnTo>
                    <a:lnTo>
                      <a:pt x="80" y="38"/>
                    </a:lnTo>
                    <a:lnTo>
                      <a:pt x="78" y="34"/>
                    </a:lnTo>
                    <a:lnTo>
                      <a:pt x="78" y="34"/>
                    </a:lnTo>
                    <a:lnTo>
                      <a:pt x="82" y="32"/>
                    </a:lnTo>
                    <a:lnTo>
                      <a:pt x="82" y="32"/>
                    </a:lnTo>
                    <a:lnTo>
                      <a:pt x="88" y="32"/>
                    </a:lnTo>
                    <a:lnTo>
                      <a:pt x="88" y="32"/>
                    </a:lnTo>
                    <a:lnTo>
                      <a:pt x="90" y="30"/>
                    </a:lnTo>
                    <a:lnTo>
                      <a:pt x="92" y="26"/>
                    </a:lnTo>
                    <a:lnTo>
                      <a:pt x="94" y="24"/>
                    </a:lnTo>
                    <a:lnTo>
                      <a:pt x="98" y="20"/>
                    </a:lnTo>
                    <a:lnTo>
                      <a:pt x="98" y="20"/>
                    </a:lnTo>
                    <a:lnTo>
                      <a:pt x="104" y="20"/>
                    </a:lnTo>
                    <a:lnTo>
                      <a:pt x="108" y="20"/>
                    </a:lnTo>
                    <a:lnTo>
                      <a:pt x="108" y="20"/>
                    </a:lnTo>
                    <a:lnTo>
                      <a:pt x="112" y="16"/>
                    </a:lnTo>
                    <a:lnTo>
                      <a:pt x="114" y="14"/>
                    </a:lnTo>
                    <a:lnTo>
                      <a:pt x="114" y="14"/>
                    </a:lnTo>
                    <a:lnTo>
                      <a:pt x="118" y="14"/>
                    </a:lnTo>
                    <a:lnTo>
                      <a:pt x="122" y="14"/>
                    </a:lnTo>
                    <a:lnTo>
                      <a:pt x="122" y="14"/>
                    </a:lnTo>
                    <a:lnTo>
                      <a:pt x="124" y="10"/>
                    </a:lnTo>
                    <a:lnTo>
                      <a:pt x="124" y="10"/>
                    </a:lnTo>
                    <a:lnTo>
                      <a:pt x="128" y="10"/>
                    </a:lnTo>
                    <a:lnTo>
                      <a:pt x="132" y="8"/>
                    </a:lnTo>
                    <a:lnTo>
                      <a:pt x="132" y="8"/>
                    </a:lnTo>
                    <a:lnTo>
                      <a:pt x="134" y="4"/>
                    </a:lnTo>
                    <a:lnTo>
                      <a:pt x="134" y="4"/>
                    </a:lnTo>
                    <a:lnTo>
                      <a:pt x="140" y="6"/>
                    </a:lnTo>
                    <a:lnTo>
                      <a:pt x="146" y="6"/>
                    </a:lnTo>
                    <a:lnTo>
                      <a:pt x="146" y="6"/>
                    </a:lnTo>
                    <a:lnTo>
                      <a:pt x="150" y="6"/>
                    </a:lnTo>
                    <a:lnTo>
                      <a:pt x="154" y="4"/>
                    </a:lnTo>
                    <a:lnTo>
                      <a:pt x="162" y="2"/>
                    </a:lnTo>
                    <a:lnTo>
                      <a:pt x="162" y="2"/>
                    </a:lnTo>
                    <a:lnTo>
                      <a:pt x="170" y="2"/>
                    </a:lnTo>
                    <a:lnTo>
                      <a:pt x="178" y="2"/>
                    </a:lnTo>
                    <a:lnTo>
                      <a:pt x="178" y="2"/>
                    </a:lnTo>
                    <a:lnTo>
                      <a:pt x="178" y="4"/>
                    </a:lnTo>
                    <a:lnTo>
                      <a:pt x="178" y="4"/>
                    </a:lnTo>
                    <a:lnTo>
                      <a:pt x="182" y="4"/>
                    </a:lnTo>
                    <a:lnTo>
                      <a:pt x="184" y="2"/>
                    </a:lnTo>
                    <a:lnTo>
                      <a:pt x="184" y="2"/>
                    </a:lnTo>
                    <a:lnTo>
                      <a:pt x="188" y="4"/>
                    </a:lnTo>
                    <a:lnTo>
                      <a:pt x="192" y="4"/>
                    </a:lnTo>
                    <a:lnTo>
                      <a:pt x="192" y="2"/>
                    </a:lnTo>
                    <a:lnTo>
                      <a:pt x="192" y="2"/>
                    </a:lnTo>
                    <a:lnTo>
                      <a:pt x="198" y="0"/>
                    </a:lnTo>
                    <a:lnTo>
                      <a:pt x="198" y="0"/>
                    </a:lnTo>
                    <a:lnTo>
                      <a:pt x="202" y="2"/>
                    </a:lnTo>
                    <a:lnTo>
                      <a:pt x="204" y="6"/>
                    </a:lnTo>
                    <a:lnTo>
                      <a:pt x="206" y="6"/>
                    </a:lnTo>
                    <a:lnTo>
                      <a:pt x="206" y="6"/>
                    </a:lnTo>
                    <a:lnTo>
                      <a:pt x="208" y="0"/>
                    </a:lnTo>
                    <a:lnTo>
                      <a:pt x="208" y="0"/>
                    </a:lnTo>
                    <a:lnTo>
                      <a:pt x="214" y="2"/>
                    </a:lnTo>
                    <a:lnTo>
                      <a:pt x="214" y="2"/>
                    </a:lnTo>
                    <a:lnTo>
                      <a:pt x="214" y="8"/>
                    </a:lnTo>
                    <a:lnTo>
                      <a:pt x="214" y="12"/>
                    </a:lnTo>
                    <a:lnTo>
                      <a:pt x="216" y="14"/>
                    </a:lnTo>
                    <a:lnTo>
                      <a:pt x="216" y="14"/>
                    </a:lnTo>
                    <a:lnTo>
                      <a:pt x="218" y="18"/>
                    </a:lnTo>
                    <a:lnTo>
                      <a:pt x="218" y="22"/>
                    </a:lnTo>
                    <a:lnTo>
                      <a:pt x="218" y="22"/>
                    </a:lnTo>
                    <a:lnTo>
                      <a:pt x="218" y="28"/>
                    </a:lnTo>
                    <a:lnTo>
                      <a:pt x="220" y="36"/>
                    </a:lnTo>
                    <a:lnTo>
                      <a:pt x="220" y="36"/>
                    </a:lnTo>
                    <a:lnTo>
                      <a:pt x="220" y="38"/>
                    </a:lnTo>
                    <a:lnTo>
                      <a:pt x="218" y="40"/>
                    </a:lnTo>
                    <a:lnTo>
                      <a:pt x="218" y="42"/>
                    </a:lnTo>
                    <a:lnTo>
                      <a:pt x="216" y="42"/>
                    </a:lnTo>
                    <a:lnTo>
                      <a:pt x="216" y="42"/>
                    </a:lnTo>
                    <a:lnTo>
                      <a:pt x="214" y="48"/>
                    </a:lnTo>
                    <a:lnTo>
                      <a:pt x="210" y="52"/>
                    </a:lnTo>
                    <a:lnTo>
                      <a:pt x="210" y="52"/>
                    </a:lnTo>
                    <a:lnTo>
                      <a:pt x="206" y="52"/>
                    </a:lnTo>
                    <a:lnTo>
                      <a:pt x="206" y="56"/>
                    </a:lnTo>
                    <a:lnTo>
                      <a:pt x="206" y="56"/>
                    </a:lnTo>
                    <a:lnTo>
                      <a:pt x="208" y="70"/>
                    </a:lnTo>
                    <a:lnTo>
                      <a:pt x="208" y="70"/>
                    </a:lnTo>
                    <a:lnTo>
                      <a:pt x="210" y="70"/>
                    </a:lnTo>
                    <a:lnTo>
                      <a:pt x="212" y="70"/>
                    </a:lnTo>
                    <a:lnTo>
                      <a:pt x="214" y="72"/>
                    </a:lnTo>
                    <a:lnTo>
                      <a:pt x="214" y="72"/>
                    </a:lnTo>
                    <a:lnTo>
                      <a:pt x="216" y="84"/>
                    </a:lnTo>
                    <a:lnTo>
                      <a:pt x="224" y="86"/>
                    </a:lnTo>
                    <a:lnTo>
                      <a:pt x="228" y="116"/>
                    </a:lnTo>
                    <a:lnTo>
                      <a:pt x="228" y="116"/>
                    </a:lnTo>
                    <a:lnTo>
                      <a:pt x="226" y="118"/>
                    </a:lnTo>
                    <a:lnTo>
                      <a:pt x="226" y="118"/>
                    </a:lnTo>
                    <a:lnTo>
                      <a:pt x="226" y="120"/>
                    </a:lnTo>
                    <a:lnTo>
                      <a:pt x="228" y="122"/>
                    </a:lnTo>
                    <a:lnTo>
                      <a:pt x="228" y="124"/>
                    </a:lnTo>
                    <a:lnTo>
                      <a:pt x="228" y="152"/>
                    </a:lnTo>
                    <a:lnTo>
                      <a:pt x="232" y="158"/>
                    </a:lnTo>
                    <a:lnTo>
                      <a:pt x="232" y="158"/>
                    </a:lnTo>
                    <a:lnTo>
                      <a:pt x="230" y="160"/>
                    </a:lnTo>
                    <a:lnTo>
                      <a:pt x="228" y="162"/>
                    </a:lnTo>
                    <a:lnTo>
                      <a:pt x="228" y="162"/>
                    </a:lnTo>
                    <a:lnTo>
                      <a:pt x="228" y="162"/>
                    </a:lnTo>
                    <a:lnTo>
                      <a:pt x="228" y="164"/>
                    </a:lnTo>
                    <a:lnTo>
                      <a:pt x="230" y="164"/>
                    </a:lnTo>
                    <a:lnTo>
                      <a:pt x="228" y="168"/>
                    </a:lnTo>
                    <a:lnTo>
                      <a:pt x="228" y="168"/>
                    </a:lnTo>
                    <a:lnTo>
                      <a:pt x="230" y="174"/>
                    </a:lnTo>
                    <a:lnTo>
                      <a:pt x="228" y="184"/>
                    </a:lnTo>
                    <a:lnTo>
                      <a:pt x="228" y="184"/>
                    </a:lnTo>
                    <a:lnTo>
                      <a:pt x="226" y="188"/>
                    </a:lnTo>
                    <a:lnTo>
                      <a:pt x="224" y="190"/>
                    </a:lnTo>
                    <a:lnTo>
                      <a:pt x="220" y="192"/>
                    </a:lnTo>
                    <a:lnTo>
                      <a:pt x="220" y="192"/>
                    </a:lnTo>
                    <a:lnTo>
                      <a:pt x="224" y="198"/>
                    </a:lnTo>
                    <a:lnTo>
                      <a:pt x="224" y="198"/>
                    </a:lnTo>
                    <a:lnTo>
                      <a:pt x="226" y="202"/>
                    </a:lnTo>
                    <a:lnTo>
                      <a:pt x="230" y="208"/>
                    </a:lnTo>
                    <a:lnTo>
                      <a:pt x="230" y="208"/>
                    </a:lnTo>
                    <a:lnTo>
                      <a:pt x="232" y="212"/>
                    </a:lnTo>
                    <a:lnTo>
                      <a:pt x="232" y="216"/>
                    </a:lnTo>
                    <a:lnTo>
                      <a:pt x="232" y="216"/>
                    </a:lnTo>
                    <a:lnTo>
                      <a:pt x="234" y="222"/>
                    </a:lnTo>
                    <a:lnTo>
                      <a:pt x="236" y="224"/>
                    </a:lnTo>
                    <a:lnTo>
                      <a:pt x="238" y="224"/>
                    </a:lnTo>
                    <a:lnTo>
                      <a:pt x="238" y="224"/>
                    </a:lnTo>
                    <a:lnTo>
                      <a:pt x="248" y="226"/>
                    </a:lnTo>
                    <a:lnTo>
                      <a:pt x="248" y="226"/>
                    </a:lnTo>
                    <a:lnTo>
                      <a:pt x="250" y="230"/>
                    </a:lnTo>
                    <a:lnTo>
                      <a:pt x="252" y="232"/>
                    </a:lnTo>
                    <a:lnTo>
                      <a:pt x="255" y="232"/>
                    </a:lnTo>
                    <a:lnTo>
                      <a:pt x="255" y="232"/>
                    </a:lnTo>
                    <a:lnTo>
                      <a:pt x="257" y="232"/>
                    </a:lnTo>
                    <a:lnTo>
                      <a:pt x="259" y="234"/>
                    </a:lnTo>
                    <a:lnTo>
                      <a:pt x="263" y="238"/>
                    </a:lnTo>
                    <a:lnTo>
                      <a:pt x="263" y="238"/>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grpSp>
        <p:sp>
          <p:nvSpPr>
            <p:cNvPr id="505" name="Freeform 264"/>
            <p:cNvSpPr>
              <a:spLocks noChangeAspect="1"/>
            </p:cNvSpPr>
            <p:nvPr/>
          </p:nvSpPr>
          <p:spPr bwMode="gray">
            <a:xfrm>
              <a:off x="4718969" y="3216913"/>
              <a:ext cx="45466" cy="85539"/>
            </a:xfrm>
            <a:custGeom>
              <a:avLst/>
              <a:gdLst/>
              <a:ahLst/>
              <a:cxnLst>
                <a:cxn ang="0">
                  <a:pos x="0" y="10"/>
                </a:cxn>
                <a:cxn ang="0">
                  <a:pos x="0" y="10"/>
                </a:cxn>
                <a:cxn ang="0">
                  <a:pos x="2" y="12"/>
                </a:cxn>
                <a:cxn ang="0">
                  <a:pos x="2" y="12"/>
                </a:cxn>
                <a:cxn ang="0">
                  <a:pos x="6" y="12"/>
                </a:cxn>
                <a:cxn ang="0">
                  <a:pos x="6" y="12"/>
                </a:cxn>
                <a:cxn ang="0">
                  <a:pos x="4" y="20"/>
                </a:cxn>
                <a:cxn ang="0">
                  <a:pos x="6" y="22"/>
                </a:cxn>
                <a:cxn ang="0">
                  <a:pos x="6" y="24"/>
                </a:cxn>
                <a:cxn ang="0">
                  <a:pos x="6" y="24"/>
                </a:cxn>
                <a:cxn ang="0">
                  <a:pos x="4" y="30"/>
                </a:cxn>
                <a:cxn ang="0">
                  <a:pos x="4" y="38"/>
                </a:cxn>
                <a:cxn ang="0">
                  <a:pos x="4" y="38"/>
                </a:cxn>
                <a:cxn ang="0">
                  <a:pos x="4" y="42"/>
                </a:cxn>
                <a:cxn ang="0">
                  <a:pos x="8" y="44"/>
                </a:cxn>
                <a:cxn ang="0">
                  <a:pos x="14" y="48"/>
                </a:cxn>
                <a:cxn ang="0">
                  <a:pos x="14" y="48"/>
                </a:cxn>
                <a:cxn ang="0">
                  <a:pos x="14" y="52"/>
                </a:cxn>
                <a:cxn ang="0">
                  <a:pos x="14" y="52"/>
                </a:cxn>
                <a:cxn ang="0">
                  <a:pos x="18" y="52"/>
                </a:cxn>
                <a:cxn ang="0">
                  <a:pos x="18" y="52"/>
                </a:cxn>
                <a:cxn ang="0">
                  <a:pos x="20" y="52"/>
                </a:cxn>
                <a:cxn ang="0">
                  <a:pos x="20" y="52"/>
                </a:cxn>
                <a:cxn ang="0">
                  <a:pos x="20" y="50"/>
                </a:cxn>
                <a:cxn ang="0">
                  <a:pos x="20" y="50"/>
                </a:cxn>
                <a:cxn ang="0">
                  <a:pos x="20" y="50"/>
                </a:cxn>
                <a:cxn ang="0">
                  <a:pos x="24" y="48"/>
                </a:cxn>
                <a:cxn ang="0">
                  <a:pos x="24" y="48"/>
                </a:cxn>
                <a:cxn ang="0">
                  <a:pos x="26" y="42"/>
                </a:cxn>
                <a:cxn ang="0">
                  <a:pos x="26" y="36"/>
                </a:cxn>
                <a:cxn ang="0">
                  <a:pos x="26" y="36"/>
                </a:cxn>
                <a:cxn ang="0">
                  <a:pos x="24" y="34"/>
                </a:cxn>
                <a:cxn ang="0">
                  <a:pos x="22" y="30"/>
                </a:cxn>
                <a:cxn ang="0">
                  <a:pos x="22" y="30"/>
                </a:cxn>
                <a:cxn ang="0">
                  <a:pos x="20" y="26"/>
                </a:cxn>
                <a:cxn ang="0">
                  <a:pos x="22" y="24"/>
                </a:cxn>
                <a:cxn ang="0">
                  <a:pos x="22" y="24"/>
                </a:cxn>
                <a:cxn ang="0">
                  <a:pos x="22" y="18"/>
                </a:cxn>
                <a:cxn ang="0">
                  <a:pos x="22" y="16"/>
                </a:cxn>
                <a:cxn ang="0">
                  <a:pos x="20" y="8"/>
                </a:cxn>
                <a:cxn ang="0">
                  <a:pos x="14" y="2"/>
                </a:cxn>
                <a:cxn ang="0">
                  <a:pos x="12" y="6"/>
                </a:cxn>
                <a:cxn ang="0">
                  <a:pos x="10" y="0"/>
                </a:cxn>
                <a:cxn ang="0">
                  <a:pos x="2" y="4"/>
                </a:cxn>
                <a:cxn ang="0">
                  <a:pos x="0" y="10"/>
                </a:cxn>
              </a:cxnLst>
              <a:rect l="0" t="0" r="r" b="b"/>
              <a:pathLst>
                <a:path w="26" h="52">
                  <a:moveTo>
                    <a:pt x="0" y="10"/>
                  </a:moveTo>
                  <a:lnTo>
                    <a:pt x="0" y="10"/>
                  </a:lnTo>
                  <a:lnTo>
                    <a:pt x="2" y="12"/>
                  </a:lnTo>
                  <a:lnTo>
                    <a:pt x="2" y="12"/>
                  </a:lnTo>
                  <a:lnTo>
                    <a:pt x="6" y="12"/>
                  </a:lnTo>
                  <a:lnTo>
                    <a:pt x="6" y="12"/>
                  </a:lnTo>
                  <a:lnTo>
                    <a:pt x="4" y="20"/>
                  </a:lnTo>
                  <a:lnTo>
                    <a:pt x="6" y="22"/>
                  </a:lnTo>
                  <a:lnTo>
                    <a:pt x="6" y="24"/>
                  </a:lnTo>
                  <a:lnTo>
                    <a:pt x="6" y="24"/>
                  </a:lnTo>
                  <a:lnTo>
                    <a:pt x="4" y="30"/>
                  </a:lnTo>
                  <a:lnTo>
                    <a:pt x="4" y="38"/>
                  </a:lnTo>
                  <a:lnTo>
                    <a:pt x="4" y="38"/>
                  </a:lnTo>
                  <a:lnTo>
                    <a:pt x="4" y="42"/>
                  </a:lnTo>
                  <a:lnTo>
                    <a:pt x="8" y="44"/>
                  </a:lnTo>
                  <a:lnTo>
                    <a:pt x="14" y="48"/>
                  </a:lnTo>
                  <a:lnTo>
                    <a:pt x="14" y="48"/>
                  </a:lnTo>
                  <a:lnTo>
                    <a:pt x="14" y="52"/>
                  </a:lnTo>
                  <a:lnTo>
                    <a:pt x="14" y="52"/>
                  </a:lnTo>
                  <a:lnTo>
                    <a:pt x="18" y="52"/>
                  </a:lnTo>
                  <a:lnTo>
                    <a:pt x="18" y="52"/>
                  </a:lnTo>
                  <a:lnTo>
                    <a:pt x="20" y="52"/>
                  </a:lnTo>
                  <a:lnTo>
                    <a:pt x="20" y="52"/>
                  </a:lnTo>
                  <a:lnTo>
                    <a:pt x="20" y="50"/>
                  </a:lnTo>
                  <a:lnTo>
                    <a:pt x="20" y="50"/>
                  </a:lnTo>
                  <a:lnTo>
                    <a:pt x="20" y="50"/>
                  </a:lnTo>
                  <a:lnTo>
                    <a:pt x="24" y="48"/>
                  </a:lnTo>
                  <a:lnTo>
                    <a:pt x="24" y="48"/>
                  </a:lnTo>
                  <a:lnTo>
                    <a:pt x="26" y="42"/>
                  </a:lnTo>
                  <a:lnTo>
                    <a:pt x="26" y="36"/>
                  </a:lnTo>
                  <a:lnTo>
                    <a:pt x="26" y="36"/>
                  </a:lnTo>
                  <a:lnTo>
                    <a:pt x="24" y="34"/>
                  </a:lnTo>
                  <a:lnTo>
                    <a:pt x="22" y="30"/>
                  </a:lnTo>
                  <a:lnTo>
                    <a:pt x="22" y="30"/>
                  </a:lnTo>
                  <a:lnTo>
                    <a:pt x="20" y="26"/>
                  </a:lnTo>
                  <a:lnTo>
                    <a:pt x="22" y="24"/>
                  </a:lnTo>
                  <a:lnTo>
                    <a:pt x="22" y="24"/>
                  </a:lnTo>
                  <a:lnTo>
                    <a:pt x="22" y="18"/>
                  </a:lnTo>
                  <a:lnTo>
                    <a:pt x="22" y="16"/>
                  </a:lnTo>
                  <a:lnTo>
                    <a:pt x="20" y="8"/>
                  </a:lnTo>
                  <a:lnTo>
                    <a:pt x="14" y="2"/>
                  </a:lnTo>
                  <a:lnTo>
                    <a:pt x="12" y="6"/>
                  </a:lnTo>
                  <a:lnTo>
                    <a:pt x="10" y="0"/>
                  </a:lnTo>
                  <a:lnTo>
                    <a:pt x="2" y="4"/>
                  </a:lnTo>
                  <a:lnTo>
                    <a:pt x="0" y="1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6" name="Freeform 265"/>
            <p:cNvSpPr>
              <a:spLocks noChangeAspect="1" noEditPoints="1"/>
            </p:cNvSpPr>
            <p:nvPr/>
          </p:nvSpPr>
          <p:spPr bwMode="gray">
            <a:xfrm>
              <a:off x="460800" y="2170713"/>
              <a:ext cx="2296841" cy="1552851"/>
            </a:xfrm>
            <a:custGeom>
              <a:avLst/>
              <a:gdLst/>
              <a:ahLst/>
              <a:cxnLst>
                <a:cxn ang="0">
                  <a:pos x="1058" y="864"/>
                </a:cxn>
                <a:cxn ang="0">
                  <a:pos x="1076" y="854"/>
                </a:cxn>
                <a:cxn ang="0">
                  <a:pos x="1134" y="862"/>
                </a:cxn>
                <a:cxn ang="0">
                  <a:pos x="1166" y="940"/>
                </a:cxn>
                <a:cxn ang="0">
                  <a:pos x="1168" y="880"/>
                </a:cxn>
                <a:cxn ang="0">
                  <a:pos x="1184" y="806"/>
                </a:cxn>
                <a:cxn ang="0">
                  <a:pos x="1234" y="762"/>
                </a:cxn>
                <a:cxn ang="0">
                  <a:pos x="1216" y="714"/>
                </a:cxn>
                <a:cxn ang="0">
                  <a:pos x="1226" y="716"/>
                </a:cxn>
                <a:cxn ang="0">
                  <a:pos x="1252" y="694"/>
                </a:cxn>
                <a:cxn ang="0">
                  <a:pos x="1294" y="646"/>
                </a:cxn>
                <a:cxn ang="0">
                  <a:pos x="1318" y="606"/>
                </a:cxn>
                <a:cxn ang="0">
                  <a:pos x="1350" y="582"/>
                </a:cxn>
                <a:cxn ang="0">
                  <a:pos x="1312" y="562"/>
                </a:cxn>
                <a:cxn ang="0">
                  <a:pos x="1220" y="614"/>
                </a:cxn>
                <a:cxn ang="0">
                  <a:pos x="1140" y="650"/>
                </a:cxn>
                <a:cxn ang="0">
                  <a:pos x="1130" y="608"/>
                </a:cxn>
                <a:cxn ang="0">
                  <a:pos x="1104" y="582"/>
                </a:cxn>
                <a:cxn ang="0">
                  <a:pos x="1080" y="584"/>
                </a:cxn>
                <a:cxn ang="0">
                  <a:pos x="1116" y="562"/>
                </a:cxn>
                <a:cxn ang="0">
                  <a:pos x="1072" y="534"/>
                </a:cxn>
                <a:cxn ang="0">
                  <a:pos x="1044" y="526"/>
                </a:cxn>
                <a:cxn ang="0">
                  <a:pos x="980" y="500"/>
                </a:cxn>
                <a:cxn ang="0">
                  <a:pos x="592" y="550"/>
                </a:cxn>
                <a:cxn ang="0">
                  <a:pos x="590" y="658"/>
                </a:cxn>
                <a:cxn ang="0">
                  <a:pos x="612" y="710"/>
                </a:cxn>
                <a:cxn ang="0">
                  <a:pos x="632" y="762"/>
                </a:cxn>
                <a:cxn ang="0">
                  <a:pos x="832" y="836"/>
                </a:cxn>
                <a:cxn ang="0">
                  <a:pos x="946" y="932"/>
                </a:cxn>
                <a:cxn ang="0">
                  <a:pos x="962" y="880"/>
                </a:cxn>
                <a:cxn ang="0">
                  <a:pos x="1016" y="866"/>
                </a:cxn>
                <a:cxn ang="0">
                  <a:pos x="476" y="310"/>
                </a:cxn>
                <a:cxn ang="0">
                  <a:pos x="406" y="278"/>
                </a:cxn>
                <a:cxn ang="0">
                  <a:pos x="330" y="26"/>
                </a:cxn>
                <a:cxn ang="0">
                  <a:pos x="248" y="18"/>
                </a:cxn>
                <a:cxn ang="0">
                  <a:pos x="170" y="8"/>
                </a:cxn>
                <a:cxn ang="0">
                  <a:pos x="94" y="20"/>
                </a:cxn>
                <a:cxn ang="0">
                  <a:pos x="22" y="78"/>
                </a:cxn>
                <a:cxn ang="0">
                  <a:pos x="72" y="108"/>
                </a:cxn>
                <a:cxn ang="0">
                  <a:pos x="82" y="130"/>
                </a:cxn>
                <a:cxn ang="0">
                  <a:pos x="6" y="132"/>
                </a:cxn>
                <a:cxn ang="0">
                  <a:pos x="66" y="166"/>
                </a:cxn>
                <a:cxn ang="0">
                  <a:pos x="44" y="196"/>
                </a:cxn>
                <a:cxn ang="0">
                  <a:pos x="34" y="236"/>
                </a:cxn>
                <a:cxn ang="0">
                  <a:pos x="56" y="270"/>
                </a:cxn>
                <a:cxn ang="0">
                  <a:pos x="82" y="292"/>
                </a:cxn>
                <a:cxn ang="0">
                  <a:pos x="130" y="288"/>
                </a:cxn>
                <a:cxn ang="0">
                  <a:pos x="122" y="336"/>
                </a:cxn>
                <a:cxn ang="0">
                  <a:pos x="70" y="378"/>
                </a:cxn>
                <a:cxn ang="0">
                  <a:pos x="118" y="350"/>
                </a:cxn>
                <a:cxn ang="0">
                  <a:pos x="164" y="312"/>
                </a:cxn>
                <a:cxn ang="0">
                  <a:pos x="196" y="264"/>
                </a:cxn>
                <a:cxn ang="0">
                  <a:pos x="242" y="234"/>
                </a:cxn>
                <a:cxn ang="0">
                  <a:pos x="218" y="282"/>
                </a:cxn>
                <a:cxn ang="0">
                  <a:pos x="266" y="264"/>
                </a:cxn>
                <a:cxn ang="0">
                  <a:pos x="290" y="244"/>
                </a:cxn>
                <a:cxn ang="0">
                  <a:pos x="350" y="268"/>
                </a:cxn>
                <a:cxn ang="0">
                  <a:pos x="400" y="280"/>
                </a:cxn>
                <a:cxn ang="0">
                  <a:pos x="444" y="316"/>
                </a:cxn>
                <a:cxn ang="0">
                  <a:pos x="464" y="320"/>
                </a:cxn>
                <a:cxn ang="0">
                  <a:pos x="488" y="358"/>
                </a:cxn>
                <a:cxn ang="0">
                  <a:pos x="500" y="384"/>
                </a:cxn>
              </a:cxnLst>
              <a:rect l="0" t="0" r="r" b="b"/>
              <a:pathLst>
                <a:path w="1352" h="944">
                  <a:moveTo>
                    <a:pt x="1026" y="874"/>
                  </a:moveTo>
                  <a:lnTo>
                    <a:pt x="1026" y="874"/>
                  </a:lnTo>
                  <a:lnTo>
                    <a:pt x="1030" y="874"/>
                  </a:lnTo>
                  <a:lnTo>
                    <a:pt x="1034" y="874"/>
                  </a:lnTo>
                  <a:lnTo>
                    <a:pt x="1034" y="874"/>
                  </a:lnTo>
                  <a:lnTo>
                    <a:pt x="1036" y="872"/>
                  </a:lnTo>
                  <a:lnTo>
                    <a:pt x="1036" y="872"/>
                  </a:lnTo>
                  <a:lnTo>
                    <a:pt x="1038" y="872"/>
                  </a:lnTo>
                  <a:lnTo>
                    <a:pt x="1040" y="874"/>
                  </a:lnTo>
                  <a:lnTo>
                    <a:pt x="1040" y="874"/>
                  </a:lnTo>
                  <a:lnTo>
                    <a:pt x="1038" y="868"/>
                  </a:lnTo>
                  <a:lnTo>
                    <a:pt x="1040" y="864"/>
                  </a:lnTo>
                  <a:lnTo>
                    <a:pt x="1040" y="864"/>
                  </a:lnTo>
                  <a:lnTo>
                    <a:pt x="1050" y="868"/>
                  </a:lnTo>
                  <a:lnTo>
                    <a:pt x="1050" y="868"/>
                  </a:lnTo>
                  <a:lnTo>
                    <a:pt x="1050" y="868"/>
                  </a:lnTo>
                  <a:lnTo>
                    <a:pt x="1050" y="870"/>
                  </a:lnTo>
                  <a:lnTo>
                    <a:pt x="1050" y="872"/>
                  </a:lnTo>
                  <a:lnTo>
                    <a:pt x="1050" y="872"/>
                  </a:lnTo>
                  <a:lnTo>
                    <a:pt x="1056" y="872"/>
                  </a:lnTo>
                  <a:lnTo>
                    <a:pt x="1056" y="872"/>
                  </a:lnTo>
                  <a:lnTo>
                    <a:pt x="1056" y="876"/>
                  </a:lnTo>
                  <a:lnTo>
                    <a:pt x="1056" y="876"/>
                  </a:lnTo>
                  <a:lnTo>
                    <a:pt x="1058" y="876"/>
                  </a:lnTo>
                  <a:lnTo>
                    <a:pt x="1058" y="870"/>
                  </a:lnTo>
                  <a:lnTo>
                    <a:pt x="1058" y="870"/>
                  </a:lnTo>
                  <a:lnTo>
                    <a:pt x="1054" y="870"/>
                  </a:lnTo>
                  <a:lnTo>
                    <a:pt x="1054" y="870"/>
                  </a:lnTo>
                  <a:lnTo>
                    <a:pt x="1054" y="866"/>
                  </a:lnTo>
                  <a:lnTo>
                    <a:pt x="1054" y="866"/>
                  </a:lnTo>
                  <a:lnTo>
                    <a:pt x="1054" y="866"/>
                  </a:lnTo>
                  <a:lnTo>
                    <a:pt x="1054" y="866"/>
                  </a:lnTo>
                  <a:lnTo>
                    <a:pt x="1058" y="864"/>
                  </a:lnTo>
                  <a:lnTo>
                    <a:pt x="1058" y="860"/>
                  </a:lnTo>
                  <a:lnTo>
                    <a:pt x="1058" y="860"/>
                  </a:lnTo>
                  <a:lnTo>
                    <a:pt x="1058" y="860"/>
                  </a:lnTo>
                  <a:lnTo>
                    <a:pt x="1056" y="858"/>
                  </a:lnTo>
                  <a:lnTo>
                    <a:pt x="1056" y="858"/>
                  </a:lnTo>
                  <a:lnTo>
                    <a:pt x="1054" y="860"/>
                  </a:lnTo>
                  <a:lnTo>
                    <a:pt x="1052" y="856"/>
                  </a:lnTo>
                  <a:lnTo>
                    <a:pt x="1052" y="856"/>
                  </a:lnTo>
                  <a:lnTo>
                    <a:pt x="1048" y="858"/>
                  </a:lnTo>
                  <a:lnTo>
                    <a:pt x="1046" y="858"/>
                  </a:lnTo>
                  <a:lnTo>
                    <a:pt x="1046" y="856"/>
                  </a:lnTo>
                  <a:lnTo>
                    <a:pt x="1046" y="856"/>
                  </a:lnTo>
                  <a:lnTo>
                    <a:pt x="1044" y="854"/>
                  </a:lnTo>
                  <a:lnTo>
                    <a:pt x="1044" y="854"/>
                  </a:lnTo>
                  <a:lnTo>
                    <a:pt x="1044" y="852"/>
                  </a:lnTo>
                  <a:lnTo>
                    <a:pt x="1044" y="852"/>
                  </a:lnTo>
                  <a:lnTo>
                    <a:pt x="1048" y="854"/>
                  </a:lnTo>
                  <a:lnTo>
                    <a:pt x="1054" y="854"/>
                  </a:lnTo>
                  <a:lnTo>
                    <a:pt x="1054" y="854"/>
                  </a:lnTo>
                  <a:lnTo>
                    <a:pt x="1054" y="850"/>
                  </a:lnTo>
                  <a:lnTo>
                    <a:pt x="1054" y="850"/>
                  </a:lnTo>
                  <a:lnTo>
                    <a:pt x="1060" y="848"/>
                  </a:lnTo>
                  <a:lnTo>
                    <a:pt x="1060" y="848"/>
                  </a:lnTo>
                  <a:lnTo>
                    <a:pt x="1064" y="850"/>
                  </a:lnTo>
                  <a:lnTo>
                    <a:pt x="1068" y="852"/>
                  </a:lnTo>
                  <a:lnTo>
                    <a:pt x="1068" y="852"/>
                  </a:lnTo>
                  <a:lnTo>
                    <a:pt x="1072" y="852"/>
                  </a:lnTo>
                  <a:lnTo>
                    <a:pt x="1072" y="852"/>
                  </a:lnTo>
                  <a:lnTo>
                    <a:pt x="1072" y="848"/>
                  </a:lnTo>
                  <a:lnTo>
                    <a:pt x="1074" y="848"/>
                  </a:lnTo>
                  <a:lnTo>
                    <a:pt x="1074" y="848"/>
                  </a:lnTo>
                  <a:lnTo>
                    <a:pt x="1076" y="854"/>
                  </a:lnTo>
                  <a:lnTo>
                    <a:pt x="1076" y="854"/>
                  </a:lnTo>
                  <a:lnTo>
                    <a:pt x="1080" y="854"/>
                  </a:lnTo>
                  <a:lnTo>
                    <a:pt x="1084" y="848"/>
                  </a:lnTo>
                  <a:lnTo>
                    <a:pt x="1084" y="848"/>
                  </a:lnTo>
                  <a:lnTo>
                    <a:pt x="1086" y="850"/>
                  </a:lnTo>
                  <a:lnTo>
                    <a:pt x="1086" y="850"/>
                  </a:lnTo>
                  <a:lnTo>
                    <a:pt x="1086" y="852"/>
                  </a:lnTo>
                  <a:lnTo>
                    <a:pt x="1088" y="852"/>
                  </a:lnTo>
                  <a:lnTo>
                    <a:pt x="1090" y="852"/>
                  </a:lnTo>
                  <a:lnTo>
                    <a:pt x="1090" y="848"/>
                  </a:lnTo>
                  <a:lnTo>
                    <a:pt x="1090" y="848"/>
                  </a:lnTo>
                  <a:lnTo>
                    <a:pt x="1094" y="848"/>
                  </a:lnTo>
                  <a:lnTo>
                    <a:pt x="1094" y="848"/>
                  </a:lnTo>
                  <a:lnTo>
                    <a:pt x="1098" y="850"/>
                  </a:lnTo>
                  <a:lnTo>
                    <a:pt x="1098" y="850"/>
                  </a:lnTo>
                  <a:lnTo>
                    <a:pt x="1096" y="852"/>
                  </a:lnTo>
                  <a:lnTo>
                    <a:pt x="1096" y="854"/>
                  </a:lnTo>
                  <a:lnTo>
                    <a:pt x="1096" y="854"/>
                  </a:lnTo>
                  <a:lnTo>
                    <a:pt x="1098" y="856"/>
                  </a:lnTo>
                  <a:lnTo>
                    <a:pt x="1098" y="856"/>
                  </a:lnTo>
                  <a:lnTo>
                    <a:pt x="1106" y="856"/>
                  </a:lnTo>
                  <a:lnTo>
                    <a:pt x="1106" y="856"/>
                  </a:lnTo>
                  <a:lnTo>
                    <a:pt x="1106" y="858"/>
                  </a:lnTo>
                  <a:lnTo>
                    <a:pt x="1108" y="860"/>
                  </a:lnTo>
                  <a:lnTo>
                    <a:pt x="1108" y="860"/>
                  </a:lnTo>
                  <a:lnTo>
                    <a:pt x="1114" y="864"/>
                  </a:lnTo>
                  <a:lnTo>
                    <a:pt x="1120" y="866"/>
                  </a:lnTo>
                  <a:lnTo>
                    <a:pt x="1120" y="866"/>
                  </a:lnTo>
                  <a:lnTo>
                    <a:pt x="1122" y="862"/>
                  </a:lnTo>
                  <a:lnTo>
                    <a:pt x="1124" y="858"/>
                  </a:lnTo>
                  <a:lnTo>
                    <a:pt x="1124" y="858"/>
                  </a:lnTo>
                  <a:lnTo>
                    <a:pt x="1130" y="858"/>
                  </a:lnTo>
                  <a:lnTo>
                    <a:pt x="1130" y="858"/>
                  </a:lnTo>
                  <a:lnTo>
                    <a:pt x="1134" y="862"/>
                  </a:lnTo>
                  <a:lnTo>
                    <a:pt x="1134" y="862"/>
                  </a:lnTo>
                  <a:lnTo>
                    <a:pt x="1134" y="866"/>
                  </a:lnTo>
                  <a:lnTo>
                    <a:pt x="1136" y="870"/>
                  </a:lnTo>
                  <a:lnTo>
                    <a:pt x="1136" y="870"/>
                  </a:lnTo>
                  <a:lnTo>
                    <a:pt x="1138" y="872"/>
                  </a:lnTo>
                  <a:lnTo>
                    <a:pt x="1142" y="874"/>
                  </a:lnTo>
                  <a:lnTo>
                    <a:pt x="1142" y="874"/>
                  </a:lnTo>
                  <a:lnTo>
                    <a:pt x="1142" y="888"/>
                  </a:lnTo>
                  <a:lnTo>
                    <a:pt x="1140" y="890"/>
                  </a:lnTo>
                  <a:lnTo>
                    <a:pt x="1140" y="890"/>
                  </a:lnTo>
                  <a:lnTo>
                    <a:pt x="1140" y="896"/>
                  </a:lnTo>
                  <a:lnTo>
                    <a:pt x="1142" y="900"/>
                  </a:lnTo>
                  <a:lnTo>
                    <a:pt x="1142" y="900"/>
                  </a:lnTo>
                  <a:lnTo>
                    <a:pt x="1146" y="894"/>
                  </a:lnTo>
                  <a:lnTo>
                    <a:pt x="1146" y="894"/>
                  </a:lnTo>
                  <a:lnTo>
                    <a:pt x="1150" y="894"/>
                  </a:lnTo>
                  <a:lnTo>
                    <a:pt x="1150" y="894"/>
                  </a:lnTo>
                  <a:lnTo>
                    <a:pt x="1146" y="912"/>
                  </a:lnTo>
                  <a:lnTo>
                    <a:pt x="1146" y="912"/>
                  </a:lnTo>
                  <a:lnTo>
                    <a:pt x="1150" y="914"/>
                  </a:lnTo>
                  <a:lnTo>
                    <a:pt x="1154" y="916"/>
                  </a:lnTo>
                  <a:lnTo>
                    <a:pt x="1154" y="916"/>
                  </a:lnTo>
                  <a:lnTo>
                    <a:pt x="1156" y="922"/>
                  </a:lnTo>
                  <a:lnTo>
                    <a:pt x="1156" y="928"/>
                  </a:lnTo>
                  <a:lnTo>
                    <a:pt x="1156" y="928"/>
                  </a:lnTo>
                  <a:lnTo>
                    <a:pt x="1160" y="932"/>
                  </a:lnTo>
                  <a:lnTo>
                    <a:pt x="1160" y="932"/>
                  </a:lnTo>
                  <a:lnTo>
                    <a:pt x="1162" y="938"/>
                  </a:lnTo>
                  <a:lnTo>
                    <a:pt x="1162" y="938"/>
                  </a:lnTo>
                  <a:lnTo>
                    <a:pt x="1164" y="938"/>
                  </a:lnTo>
                  <a:lnTo>
                    <a:pt x="1166" y="938"/>
                  </a:lnTo>
                  <a:lnTo>
                    <a:pt x="1166" y="938"/>
                  </a:lnTo>
                  <a:lnTo>
                    <a:pt x="1166" y="940"/>
                  </a:lnTo>
                  <a:lnTo>
                    <a:pt x="1168" y="944"/>
                  </a:lnTo>
                  <a:lnTo>
                    <a:pt x="1168" y="944"/>
                  </a:lnTo>
                  <a:lnTo>
                    <a:pt x="1170" y="944"/>
                  </a:lnTo>
                  <a:lnTo>
                    <a:pt x="1172" y="944"/>
                  </a:lnTo>
                  <a:lnTo>
                    <a:pt x="1172" y="944"/>
                  </a:lnTo>
                  <a:lnTo>
                    <a:pt x="1172" y="940"/>
                  </a:lnTo>
                  <a:lnTo>
                    <a:pt x="1172" y="940"/>
                  </a:lnTo>
                  <a:lnTo>
                    <a:pt x="1172" y="938"/>
                  </a:lnTo>
                  <a:lnTo>
                    <a:pt x="1172" y="938"/>
                  </a:lnTo>
                  <a:lnTo>
                    <a:pt x="1172" y="936"/>
                  </a:lnTo>
                  <a:lnTo>
                    <a:pt x="1172" y="936"/>
                  </a:lnTo>
                  <a:lnTo>
                    <a:pt x="1176" y="932"/>
                  </a:lnTo>
                  <a:lnTo>
                    <a:pt x="1176" y="932"/>
                  </a:lnTo>
                  <a:lnTo>
                    <a:pt x="1176" y="922"/>
                  </a:lnTo>
                  <a:lnTo>
                    <a:pt x="1178" y="916"/>
                  </a:lnTo>
                  <a:lnTo>
                    <a:pt x="1178" y="916"/>
                  </a:lnTo>
                  <a:lnTo>
                    <a:pt x="1176" y="916"/>
                  </a:lnTo>
                  <a:lnTo>
                    <a:pt x="1176" y="914"/>
                  </a:lnTo>
                  <a:lnTo>
                    <a:pt x="1176" y="910"/>
                  </a:lnTo>
                  <a:lnTo>
                    <a:pt x="1174" y="910"/>
                  </a:lnTo>
                  <a:lnTo>
                    <a:pt x="1174" y="910"/>
                  </a:lnTo>
                  <a:lnTo>
                    <a:pt x="1174" y="904"/>
                  </a:lnTo>
                  <a:lnTo>
                    <a:pt x="1174" y="900"/>
                  </a:lnTo>
                  <a:lnTo>
                    <a:pt x="1174" y="900"/>
                  </a:lnTo>
                  <a:lnTo>
                    <a:pt x="1170" y="894"/>
                  </a:lnTo>
                  <a:lnTo>
                    <a:pt x="1170" y="894"/>
                  </a:lnTo>
                  <a:lnTo>
                    <a:pt x="1170" y="892"/>
                  </a:lnTo>
                  <a:lnTo>
                    <a:pt x="1170" y="888"/>
                  </a:lnTo>
                  <a:lnTo>
                    <a:pt x="1170" y="888"/>
                  </a:lnTo>
                  <a:lnTo>
                    <a:pt x="1168" y="886"/>
                  </a:lnTo>
                  <a:lnTo>
                    <a:pt x="1166" y="884"/>
                  </a:lnTo>
                  <a:lnTo>
                    <a:pt x="1166" y="884"/>
                  </a:lnTo>
                  <a:lnTo>
                    <a:pt x="1168" y="880"/>
                  </a:lnTo>
                  <a:lnTo>
                    <a:pt x="1168" y="880"/>
                  </a:lnTo>
                  <a:lnTo>
                    <a:pt x="1164" y="874"/>
                  </a:lnTo>
                  <a:lnTo>
                    <a:pt x="1162" y="868"/>
                  </a:lnTo>
                  <a:lnTo>
                    <a:pt x="1162" y="868"/>
                  </a:lnTo>
                  <a:lnTo>
                    <a:pt x="1162" y="862"/>
                  </a:lnTo>
                  <a:lnTo>
                    <a:pt x="1160" y="856"/>
                  </a:lnTo>
                  <a:lnTo>
                    <a:pt x="1160" y="856"/>
                  </a:lnTo>
                  <a:lnTo>
                    <a:pt x="1156" y="854"/>
                  </a:lnTo>
                  <a:lnTo>
                    <a:pt x="1156" y="852"/>
                  </a:lnTo>
                  <a:lnTo>
                    <a:pt x="1156" y="852"/>
                  </a:lnTo>
                  <a:lnTo>
                    <a:pt x="1160" y="848"/>
                  </a:lnTo>
                  <a:lnTo>
                    <a:pt x="1160" y="848"/>
                  </a:lnTo>
                  <a:lnTo>
                    <a:pt x="1160" y="844"/>
                  </a:lnTo>
                  <a:lnTo>
                    <a:pt x="1160" y="840"/>
                  </a:lnTo>
                  <a:lnTo>
                    <a:pt x="1162" y="840"/>
                  </a:lnTo>
                  <a:lnTo>
                    <a:pt x="1162" y="840"/>
                  </a:lnTo>
                  <a:lnTo>
                    <a:pt x="1164" y="830"/>
                  </a:lnTo>
                  <a:lnTo>
                    <a:pt x="1164" y="828"/>
                  </a:lnTo>
                  <a:lnTo>
                    <a:pt x="1170" y="824"/>
                  </a:lnTo>
                  <a:lnTo>
                    <a:pt x="1168" y="820"/>
                  </a:lnTo>
                  <a:lnTo>
                    <a:pt x="1168" y="820"/>
                  </a:lnTo>
                  <a:lnTo>
                    <a:pt x="1170" y="820"/>
                  </a:lnTo>
                  <a:lnTo>
                    <a:pt x="1174" y="818"/>
                  </a:lnTo>
                  <a:lnTo>
                    <a:pt x="1174" y="818"/>
                  </a:lnTo>
                  <a:lnTo>
                    <a:pt x="1174" y="816"/>
                  </a:lnTo>
                  <a:lnTo>
                    <a:pt x="1176" y="812"/>
                  </a:lnTo>
                  <a:lnTo>
                    <a:pt x="1176" y="812"/>
                  </a:lnTo>
                  <a:lnTo>
                    <a:pt x="1178" y="812"/>
                  </a:lnTo>
                  <a:lnTo>
                    <a:pt x="1180" y="812"/>
                  </a:lnTo>
                  <a:lnTo>
                    <a:pt x="1180" y="812"/>
                  </a:lnTo>
                  <a:lnTo>
                    <a:pt x="1184" y="808"/>
                  </a:lnTo>
                  <a:lnTo>
                    <a:pt x="1184" y="808"/>
                  </a:lnTo>
                  <a:lnTo>
                    <a:pt x="1184" y="806"/>
                  </a:lnTo>
                  <a:lnTo>
                    <a:pt x="1184" y="806"/>
                  </a:lnTo>
                  <a:lnTo>
                    <a:pt x="1188" y="806"/>
                  </a:lnTo>
                  <a:lnTo>
                    <a:pt x="1188" y="806"/>
                  </a:lnTo>
                  <a:lnTo>
                    <a:pt x="1190" y="798"/>
                  </a:lnTo>
                  <a:lnTo>
                    <a:pt x="1190" y="798"/>
                  </a:lnTo>
                  <a:lnTo>
                    <a:pt x="1192" y="798"/>
                  </a:lnTo>
                  <a:lnTo>
                    <a:pt x="1194" y="798"/>
                  </a:lnTo>
                  <a:lnTo>
                    <a:pt x="1194" y="798"/>
                  </a:lnTo>
                  <a:lnTo>
                    <a:pt x="1198" y="796"/>
                  </a:lnTo>
                  <a:lnTo>
                    <a:pt x="1200" y="794"/>
                  </a:lnTo>
                  <a:lnTo>
                    <a:pt x="1200" y="794"/>
                  </a:lnTo>
                  <a:lnTo>
                    <a:pt x="1202" y="794"/>
                  </a:lnTo>
                  <a:lnTo>
                    <a:pt x="1206" y="794"/>
                  </a:lnTo>
                  <a:lnTo>
                    <a:pt x="1212" y="784"/>
                  </a:lnTo>
                  <a:lnTo>
                    <a:pt x="1212" y="784"/>
                  </a:lnTo>
                  <a:lnTo>
                    <a:pt x="1212" y="782"/>
                  </a:lnTo>
                  <a:lnTo>
                    <a:pt x="1212" y="782"/>
                  </a:lnTo>
                  <a:lnTo>
                    <a:pt x="1218" y="778"/>
                  </a:lnTo>
                  <a:lnTo>
                    <a:pt x="1218" y="778"/>
                  </a:lnTo>
                  <a:lnTo>
                    <a:pt x="1216" y="772"/>
                  </a:lnTo>
                  <a:lnTo>
                    <a:pt x="1216" y="772"/>
                  </a:lnTo>
                  <a:lnTo>
                    <a:pt x="1220" y="772"/>
                  </a:lnTo>
                  <a:lnTo>
                    <a:pt x="1220" y="770"/>
                  </a:lnTo>
                  <a:lnTo>
                    <a:pt x="1222" y="770"/>
                  </a:lnTo>
                  <a:lnTo>
                    <a:pt x="1222" y="770"/>
                  </a:lnTo>
                  <a:lnTo>
                    <a:pt x="1218" y="764"/>
                  </a:lnTo>
                  <a:lnTo>
                    <a:pt x="1218" y="764"/>
                  </a:lnTo>
                  <a:lnTo>
                    <a:pt x="1226" y="762"/>
                  </a:lnTo>
                  <a:lnTo>
                    <a:pt x="1226" y="764"/>
                  </a:lnTo>
                  <a:lnTo>
                    <a:pt x="1226" y="764"/>
                  </a:lnTo>
                  <a:lnTo>
                    <a:pt x="1230" y="766"/>
                  </a:lnTo>
                  <a:lnTo>
                    <a:pt x="1230" y="766"/>
                  </a:lnTo>
                  <a:lnTo>
                    <a:pt x="1234" y="762"/>
                  </a:lnTo>
                  <a:lnTo>
                    <a:pt x="1234" y="760"/>
                  </a:lnTo>
                  <a:lnTo>
                    <a:pt x="1230" y="762"/>
                  </a:lnTo>
                  <a:lnTo>
                    <a:pt x="1230" y="762"/>
                  </a:lnTo>
                  <a:lnTo>
                    <a:pt x="1230" y="758"/>
                  </a:lnTo>
                  <a:lnTo>
                    <a:pt x="1222" y="756"/>
                  </a:lnTo>
                  <a:lnTo>
                    <a:pt x="1222" y="756"/>
                  </a:lnTo>
                  <a:lnTo>
                    <a:pt x="1222" y="752"/>
                  </a:lnTo>
                  <a:lnTo>
                    <a:pt x="1222" y="752"/>
                  </a:lnTo>
                  <a:lnTo>
                    <a:pt x="1226" y="752"/>
                  </a:lnTo>
                  <a:lnTo>
                    <a:pt x="1230" y="750"/>
                  </a:lnTo>
                  <a:lnTo>
                    <a:pt x="1230" y="750"/>
                  </a:lnTo>
                  <a:lnTo>
                    <a:pt x="1230" y="748"/>
                  </a:lnTo>
                  <a:lnTo>
                    <a:pt x="1230" y="748"/>
                  </a:lnTo>
                  <a:lnTo>
                    <a:pt x="1230" y="746"/>
                  </a:lnTo>
                  <a:lnTo>
                    <a:pt x="1228" y="744"/>
                  </a:lnTo>
                  <a:lnTo>
                    <a:pt x="1228" y="744"/>
                  </a:lnTo>
                  <a:lnTo>
                    <a:pt x="1230" y="744"/>
                  </a:lnTo>
                  <a:lnTo>
                    <a:pt x="1230" y="742"/>
                  </a:lnTo>
                  <a:lnTo>
                    <a:pt x="1220" y="738"/>
                  </a:lnTo>
                  <a:lnTo>
                    <a:pt x="1220" y="738"/>
                  </a:lnTo>
                  <a:lnTo>
                    <a:pt x="1220" y="734"/>
                  </a:lnTo>
                  <a:lnTo>
                    <a:pt x="1220" y="734"/>
                  </a:lnTo>
                  <a:lnTo>
                    <a:pt x="1218" y="732"/>
                  </a:lnTo>
                  <a:lnTo>
                    <a:pt x="1218" y="732"/>
                  </a:lnTo>
                  <a:lnTo>
                    <a:pt x="1226" y="730"/>
                  </a:lnTo>
                  <a:lnTo>
                    <a:pt x="1226" y="730"/>
                  </a:lnTo>
                  <a:lnTo>
                    <a:pt x="1224" y="726"/>
                  </a:lnTo>
                  <a:lnTo>
                    <a:pt x="1220" y="722"/>
                  </a:lnTo>
                  <a:lnTo>
                    <a:pt x="1220" y="722"/>
                  </a:lnTo>
                  <a:lnTo>
                    <a:pt x="1222" y="722"/>
                  </a:lnTo>
                  <a:lnTo>
                    <a:pt x="1222" y="720"/>
                  </a:lnTo>
                  <a:lnTo>
                    <a:pt x="1222" y="720"/>
                  </a:lnTo>
                  <a:lnTo>
                    <a:pt x="1216" y="714"/>
                  </a:lnTo>
                  <a:lnTo>
                    <a:pt x="1216" y="714"/>
                  </a:lnTo>
                  <a:lnTo>
                    <a:pt x="1218" y="712"/>
                  </a:lnTo>
                  <a:lnTo>
                    <a:pt x="1218" y="712"/>
                  </a:lnTo>
                  <a:lnTo>
                    <a:pt x="1218" y="706"/>
                  </a:lnTo>
                  <a:lnTo>
                    <a:pt x="1220" y="706"/>
                  </a:lnTo>
                  <a:lnTo>
                    <a:pt x="1220" y="706"/>
                  </a:lnTo>
                  <a:lnTo>
                    <a:pt x="1222" y="698"/>
                  </a:lnTo>
                  <a:lnTo>
                    <a:pt x="1222" y="688"/>
                  </a:lnTo>
                  <a:lnTo>
                    <a:pt x="1222" y="688"/>
                  </a:lnTo>
                  <a:lnTo>
                    <a:pt x="1226" y="688"/>
                  </a:lnTo>
                  <a:lnTo>
                    <a:pt x="1228" y="686"/>
                  </a:lnTo>
                  <a:lnTo>
                    <a:pt x="1228" y="686"/>
                  </a:lnTo>
                  <a:lnTo>
                    <a:pt x="1234" y="686"/>
                  </a:lnTo>
                  <a:lnTo>
                    <a:pt x="1234" y="686"/>
                  </a:lnTo>
                  <a:lnTo>
                    <a:pt x="1234" y="684"/>
                  </a:lnTo>
                  <a:lnTo>
                    <a:pt x="1236" y="682"/>
                  </a:lnTo>
                  <a:lnTo>
                    <a:pt x="1236" y="682"/>
                  </a:lnTo>
                  <a:lnTo>
                    <a:pt x="1236" y="686"/>
                  </a:lnTo>
                  <a:lnTo>
                    <a:pt x="1236" y="686"/>
                  </a:lnTo>
                  <a:lnTo>
                    <a:pt x="1228" y="696"/>
                  </a:lnTo>
                  <a:lnTo>
                    <a:pt x="1230" y="698"/>
                  </a:lnTo>
                  <a:lnTo>
                    <a:pt x="1230" y="698"/>
                  </a:lnTo>
                  <a:lnTo>
                    <a:pt x="1228" y="700"/>
                  </a:lnTo>
                  <a:lnTo>
                    <a:pt x="1224" y="702"/>
                  </a:lnTo>
                  <a:lnTo>
                    <a:pt x="1224" y="702"/>
                  </a:lnTo>
                  <a:lnTo>
                    <a:pt x="1226" y="704"/>
                  </a:lnTo>
                  <a:lnTo>
                    <a:pt x="1226" y="706"/>
                  </a:lnTo>
                  <a:lnTo>
                    <a:pt x="1226" y="706"/>
                  </a:lnTo>
                  <a:lnTo>
                    <a:pt x="1228" y="708"/>
                  </a:lnTo>
                  <a:lnTo>
                    <a:pt x="1226" y="708"/>
                  </a:lnTo>
                  <a:lnTo>
                    <a:pt x="1226" y="708"/>
                  </a:lnTo>
                  <a:lnTo>
                    <a:pt x="1226" y="712"/>
                  </a:lnTo>
                  <a:lnTo>
                    <a:pt x="1226" y="716"/>
                  </a:lnTo>
                  <a:lnTo>
                    <a:pt x="1226" y="716"/>
                  </a:lnTo>
                  <a:lnTo>
                    <a:pt x="1226" y="716"/>
                  </a:lnTo>
                  <a:lnTo>
                    <a:pt x="1234" y="714"/>
                  </a:lnTo>
                  <a:lnTo>
                    <a:pt x="1234" y="714"/>
                  </a:lnTo>
                  <a:lnTo>
                    <a:pt x="1234" y="720"/>
                  </a:lnTo>
                  <a:lnTo>
                    <a:pt x="1234" y="720"/>
                  </a:lnTo>
                  <a:lnTo>
                    <a:pt x="1242" y="718"/>
                  </a:lnTo>
                  <a:lnTo>
                    <a:pt x="1242" y="716"/>
                  </a:lnTo>
                  <a:lnTo>
                    <a:pt x="1242" y="716"/>
                  </a:lnTo>
                  <a:lnTo>
                    <a:pt x="1242" y="714"/>
                  </a:lnTo>
                  <a:lnTo>
                    <a:pt x="1242" y="712"/>
                  </a:lnTo>
                  <a:lnTo>
                    <a:pt x="1242" y="712"/>
                  </a:lnTo>
                  <a:lnTo>
                    <a:pt x="1242" y="710"/>
                  </a:lnTo>
                  <a:lnTo>
                    <a:pt x="1242" y="710"/>
                  </a:lnTo>
                  <a:lnTo>
                    <a:pt x="1244" y="710"/>
                  </a:lnTo>
                  <a:lnTo>
                    <a:pt x="1244" y="710"/>
                  </a:lnTo>
                  <a:lnTo>
                    <a:pt x="1244" y="706"/>
                  </a:lnTo>
                  <a:lnTo>
                    <a:pt x="1242" y="706"/>
                  </a:lnTo>
                  <a:lnTo>
                    <a:pt x="1242" y="706"/>
                  </a:lnTo>
                  <a:lnTo>
                    <a:pt x="1244" y="702"/>
                  </a:lnTo>
                  <a:lnTo>
                    <a:pt x="1244" y="700"/>
                  </a:lnTo>
                  <a:lnTo>
                    <a:pt x="1242" y="700"/>
                  </a:lnTo>
                  <a:lnTo>
                    <a:pt x="1242" y="700"/>
                  </a:lnTo>
                  <a:lnTo>
                    <a:pt x="1240" y="694"/>
                  </a:lnTo>
                  <a:lnTo>
                    <a:pt x="1240" y="694"/>
                  </a:lnTo>
                  <a:lnTo>
                    <a:pt x="1240" y="694"/>
                  </a:lnTo>
                  <a:lnTo>
                    <a:pt x="1240" y="688"/>
                  </a:lnTo>
                  <a:lnTo>
                    <a:pt x="1240" y="688"/>
                  </a:lnTo>
                  <a:lnTo>
                    <a:pt x="1244" y="690"/>
                  </a:lnTo>
                  <a:lnTo>
                    <a:pt x="1248" y="694"/>
                  </a:lnTo>
                  <a:lnTo>
                    <a:pt x="1248" y="694"/>
                  </a:lnTo>
                  <a:lnTo>
                    <a:pt x="1252" y="694"/>
                  </a:lnTo>
                  <a:lnTo>
                    <a:pt x="1252" y="694"/>
                  </a:lnTo>
                  <a:lnTo>
                    <a:pt x="1258" y="682"/>
                  </a:lnTo>
                  <a:lnTo>
                    <a:pt x="1260" y="684"/>
                  </a:lnTo>
                  <a:lnTo>
                    <a:pt x="1260" y="684"/>
                  </a:lnTo>
                  <a:lnTo>
                    <a:pt x="1262" y="678"/>
                  </a:lnTo>
                  <a:lnTo>
                    <a:pt x="1262" y="678"/>
                  </a:lnTo>
                  <a:lnTo>
                    <a:pt x="1262" y="668"/>
                  </a:lnTo>
                  <a:lnTo>
                    <a:pt x="1262" y="668"/>
                  </a:lnTo>
                  <a:lnTo>
                    <a:pt x="1260" y="668"/>
                  </a:lnTo>
                  <a:lnTo>
                    <a:pt x="1260" y="668"/>
                  </a:lnTo>
                  <a:lnTo>
                    <a:pt x="1260" y="664"/>
                  </a:lnTo>
                  <a:lnTo>
                    <a:pt x="1262" y="664"/>
                  </a:lnTo>
                  <a:lnTo>
                    <a:pt x="1262" y="662"/>
                  </a:lnTo>
                  <a:lnTo>
                    <a:pt x="1262" y="662"/>
                  </a:lnTo>
                  <a:lnTo>
                    <a:pt x="1270" y="654"/>
                  </a:lnTo>
                  <a:lnTo>
                    <a:pt x="1270" y="652"/>
                  </a:lnTo>
                  <a:lnTo>
                    <a:pt x="1270" y="652"/>
                  </a:lnTo>
                  <a:lnTo>
                    <a:pt x="1274" y="652"/>
                  </a:lnTo>
                  <a:lnTo>
                    <a:pt x="1274" y="652"/>
                  </a:lnTo>
                  <a:lnTo>
                    <a:pt x="1276" y="652"/>
                  </a:lnTo>
                  <a:lnTo>
                    <a:pt x="1278" y="650"/>
                  </a:lnTo>
                  <a:lnTo>
                    <a:pt x="1278" y="650"/>
                  </a:lnTo>
                  <a:lnTo>
                    <a:pt x="1282" y="650"/>
                  </a:lnTo>
                  <a:lnTo>
                    <a:pt x="1282" y="650"/>
                  </a:lnTo>
                  <a:lnTo>
                    <a:pt x="1284" y="646"/>
                  </a:lnTo>
                  <a:lnTo>
                    <a:pt x="1284" y="646"/>
                  </a:lnTo>
                  <a:lnTo>
                    <a:pt x="1288" y="646"/>
                  </a:lnTo>
                  <a:lnTo>
                    <a:pt x="1292" y="646"/>
                  </a:lnTo>
                  <a:lnTo>
                    <a:pt x="1292" y="648"/>
                  </a:lnTo>
                  <a:lnTo>
                    <a:pt x="1292" y="648"/>
                  </a:lnTo>
                  <a:lnTo>
                    <a:pt x="1294" y="648"/>
                  </a:lnTo>
                  <a:lnTo>
                    <a:pt x="1296" y="648"/>
                  </a:lnTo>
                  <a:lnTo>
                    <a:pt x="1296" y="648"/>
                  </a:lnTo>
                  <a:lnTo>
                    <a:pt x="1294" y="646"/>
                  </a:lnTo>
                  <a:lnTo>
                    <a:pt x="1294" y="644"/>
                  </a:lnTo>
                  <a:lnTo>
                    <a:pt x="1296" y="640"/>
                  </a:lnTo>
                  <a:lnTo>
                    <a:pt x="1296" y="640"/>
                  </a:lnTo>
                  <a:lnTo>
                    <a:pt x="1298" y="640"/>
                  </a:lnTo>
                  <a:lnTo>
                    <a:pt x="1302" y="640"/>
                  </a:lnTo>
                  <a:lnTo>
                    <a:pt x="1302" y="640"/>
                  </a:lnTo>
                  <a:lnTo>
                    <a:pt x="1302" y="644"/>
                  </a:lnTo>
                  <a:lnTo>
                    <a:pt x="1302" y="644"/>
                  </a:lnTo>
                  <a:lnTo>
                    <a:pt x="1302" y="644"/>
                  </a:lnTo>
                  <a:lnTo>
                    <a:pt x="1306" y="644"/>
                  </a:lnTo>
                  <a:lnTo>
                    <a:pt x="1306" y="644"/>
                  </a:lnTo>
                  <a:lnTo>
                    <a:pt x="1308" y="642"/>
                  </a:lnTo>
                  <a:lnTo>
                    <a:pt x="1308" y="642"/>
                  </a:lnTo>
                  <a:lnTo>
                    <a:pt x="1312" y="642"/>
                  </a:lnTo>
                  <a:lnTo>
                    <a:pt x="1312" y="642"/>
                  </a:lnTo>
                  <a:lnTo>
                    <a:pt x="1310" y="638"/>
                  </a:lnTo>
                  <a:lnTo>
                    <a:pt x="1310" y="638"/>
                  </a:lnTo>
                  <a:lnTo>
                    <a:pt x="1304" y="636"/>
                  </a:lnTo>
                  <a:lnTo>
                    <a:pt x="1302" y="634"/>
                  </a:lnTo>
                  <a:lnTo>
                    <a:pt x="1302" y="634"/>
                  </a:lnTo>
                  <a:lnTo>
                    <a:pt x="1302" y="632"/>
                  </a:lnTo>
                  <a:lnTo>
                    <a:pt x="1302" y="632"/>
                  </a:lnTo>
                  <a:lnTo>
                    <a:pt x="1308" y="630"/>
                  </a:lnTo>
                  <a:lnTo>
                    <a:pt x="1308" y="630"/>
                  </a:lnTo>
                  <a:lnTo>
                    <a:pt x="1306" y="624"/>
                  </a:lnTo>
                  <a:lnTo>
                    <a:pt x="1306" y="622"/>
                  </a:lnTo>
                  <a:lnTo>
                    <a:pt x="1312" y="616"/>
                  </a:lnTo>
                  <a:lnTo>
                    <a:pt x="1312" y="614"/>
                  </a:lnTo>
                  <a:lnTo>
                    <a:pt x="1310" y="614"/>
                  </a:lnTo>
                  <a:lnTo>
                    <a:pt x="1310" y="614"/>
                  </a:lnTo>
                  <a:lnTo>
                    <a:pt x="1314" y="606"/>
                  </a:lnTo>
                  <a:lnTo>
                    <a:pt x="1314" y="606"/>
                  </a:lnTo>
                  <a:lnTo>
                    <a:pt x="1318" y="606"/>
                  </a:lnTo>
                  <a:lnTo>
                    <a:pt x="1318" y="606"/>
                  </a:lnTo>
                  <a:lnTo>
                    <a:pt x="1318" y="608"/>
                  </a:lnTo>
                  <a:lnTo>
                    <a:pt x="1318" y="606"/>
                  </a:lnTo>
                  <a:lnTo>
                    <a:pt x="1320" y="604"/>
                  </a:lnTo>
                  <a:lnTo>
                    <a:pt x="1320" y="604"/>
                  </a:lnTo>
                  <a:lnTo>
                    <a:pt x="1322" y="606"/>
                  </a:lnTo>
                  <a:lnTo>
                    <a:pt x="1322" y="608"/>
                  </a:lnTo>
                  <a:lnTo>
                    <a:pt x="1324" y="608"/>
                  </a:lnTo>
                  <a:lnTo>
                    <a:pt x="1324" y="608"/>
                  </a:lnTo>
                  <a:lnTo>
                    <a:pt x="1324" y="604"/>
                  </a:lnTo>
                  <a:lnTo>
                    <a:pt x="1324" y="604"/>
                  </a:lnTo>
                  <a:lnTo>
                    <a:pt x="1328" y="606"/>
                  </a:lnTo>
                  <a:lnTo>
                    <a:pt x="1328" y="606"/>
                  </a:lnTo>
                  <a:lnTo>
                    <a:pt x="1332" y="594"/>
                  </a:lnTo>
                  <a:lnTo>
                    <a:pt x="1332" y="594"/>
                  </a:lnTo>
                  <a:lnTo>
                    <a:pt x="1334" y="600"/>
                  </a:lnTo>
                  <a:lnTo>
                    <a:pt x="1338" y="600"/>
                  </a:lnTo>
                  <a:lnTo>
                    <a:pt x="1338" y="600"/>
                  </a:lnTo>
                  <a:lnTo>
                    <a:pt x="1338" y="596"/>
                  </a:lnTo>
                  <a:lnTo>
                    <a:pt x="1338" y="596"/>
                  </a:lnTo>
                  <a:lnTo>
                    <a:pt x="1342" y="600"/>
                  </a:lnTo>
                  <a:lnTo>
                    <a:pt x="1342" y="600"/>
                  </a:lnTo>
                  <a:lnTo>
                    <a:pt x="1344" y="598"/>
                  </a:lnTo>
                  <a:lnTo>
                    <a:pt x="1346" y="598"/>
                  </a:lnTo>
                  <a:lnTo>
                    <a:pt x="1346" y="598"/>
                  </a:lnTo>
                  <a:lnTo>
                    <a:pt x="1348" y="594"/>
                  </a:lnTo>
                  <a:lnTo>
                    <a:pt x="1348" y="594"/>
                  </a:lnTo>
                  <a:lnTo>
                    <a:pt x="1352" y="592"/>
                  </a:lnTo>
                  <a:lnTo>
                    <a:pt x="1352" y="592"/>
                  </a:lnTo>
                  <a:lnTo>
                    <a:pt x="1350" y="582"/>
                  </a:lnTo>
                  <a:lnTo>
                    <a:pt x="1350" y="582"/>
                  </a:lnTo>
                  <a:lnTo>
                    <a:pt x="1350" y="582"/>
                  </a:lnTo>
                  <a:lnTo>
                    <a:pt x="1350" y="582"/>
                  </a:lnTo>
                  <a:lnTo>
                    <a:pt x="1350" y="580"/>
                  </a:lnTo>
                  <a:lnTo>
                    <a:pt x="1350" y="580"/>
                  </a:lnTo>
                  <a:lnTo>
                    <a:pt x="1348" y="580"/>
                  </a:lnTo>
                  <a:lnTo>
                    <a:pt x="1348" y="580"/>
                  </a:lnTo>
                  <a:lnTo>
                    <a:pt x="1348" y="578"/>
                  </a:lnTo>
                  <a:lnTo>
                    <a:pt x="1346" y="576"/>
                  </a:lnTo>
                  <a:lnTo>
                    <a:pt x="1348" y="572"/>
                  </a:lnTo>
                  <a:lnTo>
                    <a:pt x="1348" y="572"/>
                  </a:lnTo>
                  <a:lnTo>
                    <a:pt x="1346" y="570"/>
                  </a:lnTo>
                  <a:lnTo>
                    <a:pt x="1344" y="570"/>
                  </a:lnTo>
                  <a:lnTo>
                    <a:pt x="1342" y="570"/>
                  </a:lnTo>
                  <a:lnTo>
                    <a:pt x="1342" y="570"/>
                  </a:lnTo>
                  <a:lnTo>
                    <a:pt x="1342" y="564"/>
                  </a:lnTo>
                  <a:lnTo>
                    <a:pt x="1342" y="550"/>
                  </a:lnTo>
                  <a:lnTo>
                    <a:pt x="1342" y="550"/>
                  </a:lnTo>
                  <a:lnTo>
                    <a:pt x="1342" y="546"/>
                  </a:lnTo>
                  <a:lnTo>
                    <a:pt x="1340" y="544"/>
                  </a:lnTo>
                  <a:lnTo>
                    <a:pt x="1334" y="540"/>
                  </a:lnTo>
                  <a:lnTo>
                    <a:pt x="1334" y="540"/>
                  </a:lnTo>
                  <a:lnTo>
                    <a:pt x="1330" y="540"/>
                  </a:lnTo>
                  <a:lnTo>
                    <a:pt x="1328" y="544"/>
                  </a:lnTo>
                  <a:lnTo>
                    <a:pt x="1326" y="546"/>
                  </a:lnTo>
                  <a:lnTo>
                    <a:pt x="1326" y="544"/>
                  </a:lnTo>
                  <a:lnTo>
                    <a:pt x="1326" y="544"/>
                  </a:lnTo>
                  <a:lnTo>
                    <a:pt x="1324" y="540"/>
                  </a:lnTo>
                  <a:lnTo>
                    <a:pt x="1322" y="540"/>
                  </a:lnTo>
                  <a:lnTo>
                    <a:pt x="1320" y="542"/>
                  </a:lnTo>
                  <a:lnTo>
                    <a:pt x="1318" y="550"/>
                  </a:lnTo>
                  <a:lnTo>
                    <a:pt x="1318" y="550"/>
                  </a:lnTo>
                  <a:lnTo>
                    <a:pt x="1314" y="554"/>
                  </a:lnTo>
                  <a:lnTo>
                    <a:pt x="1314" y="560"/>
                  </a:lnTo>
                  <a:lnTo>
                    <a:pt x="1314" y="560"/>
                  </a:lnTo>
                  <a:lnTo>
                    <a:pt x="1312" y="562"/>
                  </a:lnTo>
                  <a:lnTo>
                    <a:pt x="1308" y="566"/>
                  </a:lnTo>
                  <a:lnTo>
                    <a:pt x="1302" y="572"/>
                  </a:lnTo>
                  <a:lnTo>
                    <a:pt x="1302" y="572"/>
                  </a:lnTo>
                  <a:lnTo>
                    <a:pt x="1298" y="574"/>
                  </a:lnTo>
                  <a:lnTo>
                    <a:pt x="1298" y="576"/>
                  </a:lnTo>
                  <a:lnTo>
                    <a:pt x="1298" y="576"/>
                  </a:lnTo>
                  <a:lnTo>
                    <a:pt x="1280" y="580"/>
                  </a:lnTo>
                  <a:lnTo>
                    <a:pt x="1258" y="582"/>
                  </a:lnTo>
                  <a:lnTo>
                    <a:pt x="1258" y="582"/>
                  </a:lnTo>
                  <a:lnTo>
                    <a:pt x="1254" y="580"/>
                  </a:lnTo>
                  <a:lnTo>
                    <a:pt x="1244" y="586"/>
                  </a:lnTo>
                  <a:lnTo>
                    <a:pt x="1244" y="586"/>
                  </a:lnTo>
                  <a:lnTo>
                    <a:pt x="1234" y="592"/>
                  </a:lnTo>
                  <a:lnTo>
                    <a:pt x="1232" y="594"/>
                  </a:lnTo>
                  <a:lnTo>
                    <a:pt x="1232" y="594"/>
                  </a:lnTo>
                  <a:lnTo>
                    <a:pt x="1232" y="596"/>
                  </a:lnTo>
                  <a:lnTo>
                    <a:pt x="1236" y="592"/>
                  </a:lnTo>
                  <a:lnTo>
                    <a:pt x="1236" y="592"/>
                  </a:lnTo>
                  <a:lnTo>
                    <a:pt x="1236" y="594"/>
                  </a:lnTo>
                  <a:lnTo>
                    <a:pt x="1236" y="598"/>
                  </a:lnTo>
                  <a:lnTo>
                    <a:pt x="1236" y="598"/>
                  </a:lnTo>
                  <a:lnTo>
                    <a:pt x="1230" y="600"/>
                  </a:lnTo>
                  <a:lnTo>
                    <a:pt x="1230" y="600"/>
                  </a:lnTo>
                  <a:lnTo>
                    <a:pt x="1232" y="602"/>
                  </a:lnTo>
                  <a:lnTo>
                    <a:pt x="1232" y="606"/>
                  </a:lnTo>
                  <a:lnTo>
                    <a:pt x="1232" y="606"/>
                  </a:lnTo>
                  <a:lnTo>
                    <a:pt x="1228" y="608"/>
                  </a:lnTo>
                  <a:lnTo>
                    <a:pt x="1228" y="608"/>
                  </a:lnTo>
                  <a:lnTo>
                    <a:pt x="1230" y="610"/>
                  </a:lnTo>
                  <a:lnTo>
                    <a:pt x="1228" y="612"/>
                  </a:lnTo>
                  <a:lnTo>
                    <a:pt x="1228" y="612"/>
                  </a:lnTo>
                  <a:lnTo>
                    <a:pt x="1224" y="612"/>
                  </a:lnTo>
                  <a:lnTo>
                    <a:pt x="1220" y="614"/>
                  </a:lnTo>
                  <a:lnTo>
                    <a:pt x="1220" y="614"/>
                  </a:lnTo>
                  <a:lnTo>
                    <a:pt x="1218" y="616"/>
                  </a:lnTo>
                  <a:lnTo>
                    <a:pt x="1218" y="616"/>
                  </a:lnTo>
                  <a:lnTo>
                    <a:pt x="1216" y="616"/>
                  </a:lnTo>
                  <a:lnTo>
                    <a:pt x="1212" y="616"/>
                  </a:lnTo>
                  <a:lnTo>
                    <a:pt x="1210" y="618"/>
                  </a:lnTo>
                  <a:lnTo>
                    <a:pt x="1210" y="618"/>
                  </a:lnTo>
                  <a:lnTo>
                    <a:pt x="1200" y="616"/>
                  </a:lnTo>
                  <a:lnTo>
                    <a:pt x="1190" y="616"/>
                  </a:lnTo>
                  <a:lnTo>
                    <a:pt x="1190" y="616"/>
                  </a:lnTo>
                  <a:lnTo>
                    <a:pt x="1190" y="618"/>
                  </a:lnTo>
                  <a:lnTo>
                    <a:pt x="1188" y="620"/>
                  </a:lnTo>
                  <a:lnTo>
                    <a:pt x="1188" y="620"/>
                  </a:lnTo>
                  <a:lnTo>
                    <a:pt x="1192" y="624"/>
                  </a:lnTo>
                  <a:lnTo>
                    <a:pt x="1192" y="624"/>
                  </a:lnTo>
                  <a:lnTo>
                    <a:pt x="1186" y="630"/>
                  </a:lnTo>
                  <a:lnTo>
                    <a:pt x="1180" y="636"/>
                  </a:lnTo>
                  <a:lnTo>
                    <a:pt x="1180" y="636"/>
                  </a:lnTo>
                  <a:lnTo>
                    <a:pt x="1174" y="636"/>
                  </a:lnTo>
                  <a:lnTo>
                    <a:pt x="1174" y="636"/>
                  </a:lnTo>
                  <a:lnTo>
                    <a:pt x="1170" y="640"/>
                  </a:lnTo>
                  <a:lnTo>
                    <a:pt x="1170" y="640"/>
                  </a:lnTo>
                  <a:lnTo>
                    <a:pt x="1164" y="640"/>
                  </a:lnTo>
                  <a:lnTo>
                    <a:pt x="1158" y="642"/>
                  </a:lnTo>
                  <a:lnTo>
                    <a:pt x="1158" y="644"/>
                  </a:lnTo>
                  <a:lnTo>
                    <a:pt x="1158" y="644"/>
                  </a:lnTo>
                  <a:lnTo>
                    <a:pt x="1154" y="648"/>
                  </a:lnTo>
                  <a:lnTo>
                    <a:pt x="1146" y="652"/>
                  </a:lnTo>
                  <a:lnTo>
                    <a:pt x="1146" y="652"/>
                  </a:lnTo>
                  <a:lnTo>
                    <a:pt x="1142" y="652"/>
                  </a:lnTo>
                  <a:lnTo>
                    <a:pt x="1138" y="650"/>
                  </a:lnTo>
                  <a:lnTo>
                    <a:pt x="1138" y="650"/>
                  </a:lnTo>
                  <a:lnTo>
                    <a:pt x="1140" y="650"/>
                  </a:lnTo>
                  <a:lnTo>
                    <a:pt x="1140" y="648"/>
                  </a:lnTo>
                  <a:lnTo>
                    <a:pt x="1140" y="648"/>
                  </a:lnTo>
                  <a:lnTo>
                    <a:pt x="1138" y="648"/>
                  </a:lnTo>
                  <a:lnTo>
                    <a:pt x="1138" y="648"/>
                  </a:lnTo>
                  <a:lnTo>
                    <a:pt x="1136" y="646"/>
                  </a:lnTo>
                  <a:lnTo>
                    <a:pt x="1136" y="644"/>
                  </a:lnTo>
                  <a:lnTo>
                    <a:pt x="1136" y="644"/>
                  </a:lnTo>
                  <a:lnTo>
                    <a:pt x="1132" y="646"/>
                  </a:lnTo>
                  <a:lnTo>
                    <a:pt x="1132" y="642"/>
                  </a:lnTo>
                  <a:lnTo>
                    <a:pt x="1132" y="642"/>
                  </a:lnTo>
                  <a:lnTo>
                    <a:pt x="1138" y="638"/>
                  </a:lnTo>
                  <a:lnTo>
                    <a:pt x="1138" y="638"/>
                  </a:lnTo>
                  <a:lnTo>
                    <a:pt x="1138" y="636"/>
                  </a:lnTo>
                  <a:lnTo>
                    <a:pt x="1138" y="636"/>
                  </a:lnTo>
                  <a:lnTo>
                    <a:pt x="1142" y="632"/>
                  </a:lnTo>
                  <a:lnTo>
                    <a:pt x="1144" y="630"/>
                  </a:lnTo>
                  <a:lnTo>
                    <a:pt x="1144" y="628"/>
                  </a:lnTo>
                  <a:lnTo>
                    <a:pt x="1144" y="628"/>
                  </a:lnTo>
                  <a:lnTo>
                    <a:pt x="1146" y="622"/>
                  </a:lnTo>
                  <a:lnTo>
                    <a:pt x="1146" y="618"/>
                  </a:lnTo>
                  <a:lnTo>
                    <a:pt x="1146" y="618"/>
                  </a:lnTo>
                  <a:lnTo>
                    <a:pt x="1144" y="620"/>
                  </a:lnTo>
                  <a:lnTo>
                    <a:pt x="1144" y="620"/>
                  </a:lnTo>
                  <a:lnTo>
                    <a:pt x="1146" y="620"/>
                  </a:lnTo>
                  <a:lnTo>
                    <a:pt x="1144" y="614"/>
                  </a:lnTo>
                  <a:lnTo>
                    <a:pt x="1144" y="614"/>
                  </a:lnTo>
                  <a:lnTo>
                    <a:pt x="1142" y="606"/>
                  </a:lnTo>
                  <a:lnTo>
                    <a:pt x="1140" y="604"/>
                  </a:lnTo>
                  <a:lnTo>
                    <a:pt x="1134" y="602"/>
                  </a:lnTo>
                  <a:lnTo>
                    <a:pt x="1134" y="602"/>
                  </a:lnTo>
                  <a:lnTo>
                    <a:pt x="1132" y="606"/>
                  </a:lnTo>
                  <a:lnTo>
                    <a:pt x="1132" y="606"/>
                  </a:lnTo>
                  <a:lnTo>
                    <a:pt x="1130" y="608"/>
                  </a:lnTo>
                  <a:lnTo>
                    <a:pt x="1130" y="608"/>
                  </a:lnTo>
                  <a:lnTo>
                    <a:pt x="1128" y="608"/>
                  </a:lnTo>
                  <a:lnTo>
                    <a:pt x="1126" y="606"/>
                  </a:lnTo>
                  <a:lnTo>
                    <a:pt x="1126" y="604"/>
                  </a:lnTo>
                  <a:lnTo>
                    <a:pt x="1130" y="604"/>
                  </a:lnTo>
                  <a:lnTo>
                    <a:pt x="1130" y="604"/>
                  </a:lnTo>
                  <a:lnTo>
                    <a:pt x="1132" y="596"/>
                  </a:lnTo>
                  <a:lnTo>
                    <a:pt x="1134" y="590"/>
                  </a:lnTo>
                  <a:lnTo>
                    <a:pt x="1134" y="586"/>
                  </a:lnTo>
                  <a:lnTo>
                    <a:pt x="1134" y="586"/>
                  </a:lnTo>
                  <a:lnTo>
                    <a:pt x="1130" y="582"/>
                  </a:lnTo>
                  <a:lnTo>
                    <a:pt x="1130" y="582"/>
                  </a:lnTo>
                  <a:lnTo>
                    <a:pt x="1130" y="580"/>
                  </a:lnTo>
                  <a:lnTo>
                    <a:pt x="1132" y="578"/>
                  </a:lnTo>
                  <a:lnTo>
                    <a:pt x="1132" y="578"/>
                  </a:lnTo>
                  <a:lnTo>
                    <a:pt x="1128" y="574"/>
                  </a:lnTo>
                  <a:lnTo>
                    <a:pt x="1128" y="574"/>
                  </a:lnTo>
                  <a:lnTo>
                    <a:pt x="1124" y="574"/>
                  </a:lnTo>
                  <a:lnTo>
                    <a:pt x="1124" y="574"/>
                  </a:lnTo>
                  <a:lnTo>
                    <a:pt x="1120" y="570"/>
                  </a:lnTo>
                  <a:lnTo>
                    <a:pt x="1118" y="568"/>
                  </a:lnTo>
                  <a:lnTo>
                    <a:pt x="1118" y="568"/>
                  </a:lnTo>
                  <a:lnTo>
                    <a:pt x="1114" y="568"/>
                  </a:lnTo>
                  <a:lnTo>
                    <a:pt x="1114" y="568"/>
                  </a:lnTo>
                  <a:lnTo>
                    <a:pt x="1112" y="570"/>
                  </a:lnTo>
                  <a:lnTo>
                    <a:pt x="1112" y="570"/>
                  </a:lnTo>
                  <a:lnTo>
                    <a:pt x="1112" y="574"/>
                  </a:lnTo>
                  <a:lnTo>
                    <a:pt x="1112" y="574"/>
                  </a:lnTo>
                  <a:lnTo>
                    <a:pt x="1110" y="576"/>
                  </a:lnTo>
                  <a:lnTo>
                    <a:pt x="1108" y="576"/>
                  </a:lnTo>
                  <a:lnTo>
                    <a:pt x="1108" y="576"/>
                  </a:lnTo>
                  <a:lnTo>
                    <a:pt x="1106" y="578"/>
                  </a:lnTo>
                  <a:lnTo>
                    <a:pt x="1104" y="582"/>
                  </a:lnTo>
                  <a:lnTo>
                    <a:pt x="1104" y="582"/>
                  </a:lnTo>
                  <a:lnTo>
                    <a:pt x="1098" y="584"/>
                  </a:lnTo>
                  <a:lnTo>
                    <a:pt x="1098" y="584"/>
                  </a:lnTo>
                  <a:lnTo>
                    <a:pt x="1096" y="598"/>
                  </a:lnTo>
                  <a:lnTo>
                    <a:pt x="1096" y="598"/>
                  </a:lnTo>
                  <a:lnTo>
                    <a:pt x="1094" y="598"/>
                  </a:lnTo>
                  <a:lnTo>
                    <a:pt x="1092" y="600"/>
                  </a:lnTo>
                  <a:lnTo>
                    <a:pt x="1092" y="600"/>
                  </a:lnTo>
                  <a:lnTo>
                    <a:pt x="1092" y="606"/>
                  </a:lnTo>
                  <a:lnTo>
                    <a:pt x="1092" y="614"/>
                  </a:lnTo>
                  <a:lnTo>
                    <a:pt x="1096" y="616"/>
                  </a:lnTo>
                  <a:lnTo>
                    <a:pt x="1096" y="616"/>
                  </a:lnTo>
                  <a:lnTo>
                    <a:pt x="1096" y="626"/>
                  </a:lnTo>
                  <a:lnTo>
                    <a:pt x="1086" y="644"/>
                  </a:lnTo>
                  <a:lnTo>
                    <a:pt x="1086" y="644"/>
                  </a:lnTo>
                  <a:lnTo>
                    <a:pt x="1082" y="644"/>
                  </a:lnTo>
                  <a:lnTo>
                    <a:pt x="1080" y="644"/>
                  </a:lnTo>
                  <a:lnTo>
                    <a:pt x="1080" y="644"/>
                  </a:lnTo>
                  <a:lnTo>
                    <a:pt x="1076" y="642"/>
                  </a:lnTo>
                  <a:lnTo>
                    <a:pt x="1076" y="642"/>
                  </a:lnTo>
                  <a:lnTo>
                    <a:pt x="1076" y="636"/>
                  </a:lnTo>
                  <a:lnTo>
                    <a:pt x="1074" y="632"/>
                  </a:lnTo>
                  <a:lnTo>
                    <a:pt x="1074" y="632"/>
                  </a:lnTo>
                  <a:lnTo>
                    <a:pt x="1072" y="616"/>
                  </a:lnTo>
                  <a:lnTo>
                    <a:pt x="1074" y="608"/>
                  </a:lnTo>
                  <a:lnTo>
                    <a:pt x="1076" y="602"/>
                  </a:lnTo>
                  <a:lnTo>
                    <a:pt x="1076" y="602"/>
                  </a:lnTo>
                  <a:lnTo>
                    <a:pt x="1080" y="594"/>
                  </a:lnTo>
                  <a:lnTo>
                    <a:pt x="1080" y="594"/>
                  </a:lnTo>
                  <a:lnTo>
                    <a:pt x="1082" y="588"/>
                  </a:lnTo>
                  <a:lnTo>
                    <a:pt x="1082" y="582"/>
                  </a:lnTo>
                  <a:lnTo>
                    <a:pt x="1082" y="582"/>
                  </a:lnTo>
                  <a:lnTo>
                    <a:pt x="1080" y="584"/>
                  </a:lnTo>
                  <a:lnTo>
                    <a:pt x="1076" y="586"/>
                  </a:lnTo>
                  <a:lnTo>
                    <a:pt x="1076" y="586"/>
                  </a:lnTo>
                  <a:lnTo>
                    <a:pt x="1076" y="590"/>
                  </a:lnTo>
                  <a:lnTo>
                    <a:pt x="1076" y="590"/>
                  </a:lnTo>
                  <a:lnTo>
                    <a:pt x="1074" y="592"/>
                  </a:lnTo>
                  <a:lnTo>
                    <a:pt x="1072" y="592"/>
                  </a:lnTo>
                  <a:lnTo>
                    <a:pt x="1072" y="592"/>
                  </a:lnTo>
                  <a:lnTo>
                    <a:pt x="1072" y="586"/>
                  </a:lnTo>
                  <a:lnTo>
                    <a:pt x="1072" y="586"/>
                  </a:lnTo>
                  <a:lnTo>
                    <a:pt x="1074" y="584"/>
                  </a:lnTo>
                  <a:lnTo>
                    <a:pt x="1078" y="582"/>
                  </a:lnTo>
                  <a:lnTo>
                    <a:pt x="1078" y="582"/>
                  </a:lnTo>
                  <a:lnTo>
                    <a:pt x="1078" y="576"/>
                  </a:lnTo>
                  <a:lnTo>
                    <a:pt x="1078" y="576"/>
                  </a:lnTo>
                  <a:lnTo>
                    <a:pt x="1084" y="566"/>
                  </a:lnTo>
                  <a:lnTo>
                    <a:pt x="1084" y="566"/>
                  </a:lnTo>
                  <a:lnTo>
                    <a:pt x="1088" y="568"/>
                  </a:lnTo>
                  <a:lnTo>
                    <a:pt x="1090" y="568"/>
                  </a:lnTo>
                  <a:lnTo>
                    <a:pt x="1090" y="564"/>
                  </a:lnTo>
                  <a:lnTo>
                    <a:pt x="1090" y="564"/>
                  </a:lnTo>
                  <a:lnTo>
                    <a:pt x="1096" y="566"/>
                  </a:lnTo>
                  <a:lnTo>
                    <a:pt x="1102" y="564"/>
                  </a:lnTo>
                  <a:lnTo>
                    <a:pt x="1102" y="564"/>
                  </a:lnTo>
                  <a:lnTo>
                    <a:pt x="1104" y="560"/>
                  </a:lnTo>
                  <a:lnTo>
                    <a:pt x="1104" y="560"/>
                  </a:lnTo>
                  <a:lnTo>
                    <a:pt x="1106" y="560"/>
                  </a:lnTo>
                  <a:lnTo>
                    <a:pt x="1108" y="562"/>
                  </a:lnTo>
                  <a:lnTo>
                    <a:pt x="1112" y="564"/>
                  </a:lnTo>
                  <a:lnTo>
                    <a:pt x="1112" y="564"/>
                  </a:lnTo>
                  <a:lnTo>
                    <a:pt x="1116" y="564"/>
                  </a:lnTo>
                  <a:lnTo>
                    <a:pt x="1116" y="564"/>
                  </a:lnTo>
                  <a:lnTo>
                    <a:pt x="1116" y="562"/>
                  </a:lnTo>
                  <a:lnTo>
                    <a:pt x="1116" y="562"/>
                  </a:lnTo>
                  <a:lnTo>
                    <a:pt x="1116" y="562"/>
                  </a:lnTo>
                  <a:lnTo>
                    <a:pt x="1120" y="562"/>
                  </a:lnTo>
                  <a:lnTo>
                    <a:pt x="1120" y="564"/>
                  </a:lnTo>
                  <a:lnTo>
                    <a:pt x="1120" y="564"/>
                  </a:lnTo>
                  <a:lnTo>
                    <a:pt x="1124" y="564"/>
                  </a:lnTo>
                  <a:lnTo>
                    <a:pt x="1124" y="564"/>
                  </a:lnTo>
                  <a:lnTo>
                    <a:pt x="1124" y="562"/>
                  </a:lnTo>
                  <a:lnTo>
                    <a:pt x="1124" y="562"/>
                  </a:lnTo>
                  <a:lnTo>
                    <a:pt x="1120" y="556"/>
                  </a:lnTo>
                  <a:lnTo>
                    <a:pt x="1112" y="556"/>
                  </a:lnTo>
                  <a:lnTo>
                    <a:pt x="1112" y="556"/>
                  </a:lnTo>
                  <a:lnTo>
                    <a:pt x="1110" y="546"/>
                  </a:lnTo>
                  <a:lnTo>
                    <a:pt x="1110" y="546"/>
                  </a:lnTo>
                  <a:lnTo>
                    <a:pt x="1096" y="552"/>
                  </a:lnTo>
                  <a:lnTo>
                    <a:pt x="1086" y="554"/>
                  </a:lnTo>
                  <a:lnTo>
                    <a:pt x="1078" y="552"/>
                  </a:lnTo>
                  <a:lnTo>
                    <a:pt x="1078" y="552"/>
                  </a:lnTo>
                  <a:lnTo>
                    <a:pt x="1076" y="544"/>
                  </a:lnTo>
                  <a:lnTo>
                    <a:pt x="1076" y="544"/>
                  </a:lnTo>
                  <a:lnTo>
                    <a:pt x="1066" y="546"/>
                  </a:lnTo>
                  <a:lnTo>
                    <a:pt x="1066" y="546"/>
                  </a:lnTo>
                  <a:lnTo>
                    <a:pt x="1064" y="544"/>
                  </a:lnTo>
                  <a:lnTo>
                    <a:pt x="1064" y="542"/>
                  </a:lnTo>
                  <a:lnTo>
                    <a:pt x="1064" y="542"/>
                  </a:lnTo>
                  <a:lnTo>
                    <a:pt x="1064" y="540"/>
                  </a:lnTo>
                  <a:lnTo>
                    <a:pt x="1064" y="540"/>
                  </a:lnTo>
                  <a:lnTo>
                    <a:pt x="1066" y="540"/>
                  </a:lnTo>
                  <a:lnTo>
                    <a:pt x="1068" y="540"/>
                  </a:lnTo>
                  <a:lnTo>
                    <a:pt x="1068" y="540"/>
                  </a:lnTo>
                  <a:lnTo>
                    <a:pt x="1072" y="538"/>
                  </a:lnTo>
                  <a:lnTo>
                    <a:pt x="1074" y="534"/>
                  </a:lnTo>
                  <a:lnTo>
                    <a:pt x="1074" y="534"/>
                  </a:lnTo>
                  <a:lnTo>
                    <a:pt x="1072" y="534"/>
                  </a:lnTo>
                  <a:lnTo>
                    <a:pt x="1068" y="532"/>
                  </a:lnTo>
                  <a:lnTo>
                    <a:pt x="1068" y="534"/>
                  </a:lnTo>
                  <a:lnTo>
                    <a:pt x="1068" y="534"/>
                  </a:lnTo>
                  <a:lnTo>
                    <a:pt x="1062" y="536"/>
                  </a:lnTo>
                  <a:lnTo>
                    <a:pt x="1062" y="538"/>
                  </a:lnTo>
                  <a:lnTo>
                    <a:pt x="1054" y="544"/>
                  </a:lnTo>
                  <a:lnTo>
                    <a:pt x="1054" y="544"/>
                  </a:lnTo>
                  <a:lnTo>
                    <a:pt x="1046" y="546"/>
                  </a:lnTo>
                  <a:lnTo>
                    <a:pt x="1046" y="546"/>
                  </a:lnTo>
                  <a:lnTo>
                    <a:pt x="1044" y="550"/>
                  </a:lnTo>
                  <a:lnTo>
                    <a:pt x="1044" y="550"/>
                  </a:lnTo>
                  <a:lnTo>
                    <a:pt x="1040" y="550"/>
                  </a:lnTo>
                  <a:lnTo>
                    <a:pt x="1038" y="550"/>
                  </a:lnTo>
                  <a:lnTo>
                    <a:pt x="1034" y="546"/>
                  </a:lnTo>
                  <a:lnTo>
                    <a:pt x="1034" y="544"/>
                  </a:lnTo>
                  <a:lnTo>
                    <a:pt x="1034" y="544"/>
                  </a:lnTo>
                  <a:lnTo>
                    <a:pt x="1028" y="546"/>
                  </a:lnTo>
                  <a:lnTo>
                    <a:pt x="1024" y="546"/>
                  </a:lnTo>
                  <a:lnTo>
                    <a:pt x="1024" y="546"/>
                  </a:lnTo>
                  <a:lnTo>
                    <a:pt x="1018" y="546"/>
                  </a:lnTo>
                  <a:lnTo>
                    <a:pt x="1018" y="546"/>
                  </a:lnTo>
                  <a:lnTo>
                    <a:pt x="1026" y="540"/>
                  </a:lnTo>
                  <a:lnTo>
                    <a:pt x="1026" y="540"/>
                  </a:lnTo>
                  <a:lnTo>
                    <a:pt x="1028" y="536"/>
                  </a:lnTo>
                  <a:lnTo>
                    <a:pt x="1028" y="536"/>
                  </a:lnTo>
                  <a:lnTo>
                    <a:pt x="1032" y="536"/>
                  </a:lnTo>
                  <a:lnTo>
                    <a:pt x="1032" y="536"/>
                  </a:lnTo>
                  <a:lnTo>
                    <a:pt x="1038" y="530"/>
                  </a:lnTo>
                  <a:lnTo>
                    <a:pt x="1038" y="530"/>
                  </a:lnTo>
                  <a:lnTo>
                    <a:pt x="1042" y="530"/>
                  </a:lnTo>
                  <a:lnTo>
                    <a:pt x="1042" y="530"/>
                  </a:lnTo>
                  <a:lnTo>
                    <a:pt x="1044" y="526"/>
                  </a:lnTo>
                  <a:lnTo>
                    <a:pt x="1044" y="526"/>
                  </a:lnTo>
                  <a:lnTo>
                    <a:pt x="1050" y="522"/>
                  </a:lnTo>
                  <a:lnTo>
                    <a:pt x="1050" y="522"/>
                  </a:lnTo>
                  <a:lnTo>
                    <a:pt x="1048" y="522"/>
                  </a:lnTo>
                  <a:lnTo>
                    <a:pt x="1044" y="520"/>
                  </a:lnTo>
                  <a:lnTo>
                    <a:pt x="1044" y="520"/>
                  </a:lnTo>
                  <a:lnTo>
                    <a:pt x="1042" y="518"/>
                  </a:lnTo>
                  <a:lnTo>
                    <a:pt x="1040" y="518"/>
                  </a:lnTo>
                  <a:lnTo>
                    <a:pt x="1036" y="518"/>
                  </a:lnTo>
                  <a:lnTo>
                    <a:pt x="1036" y="518"/>
                  </a:lnTo>
                  <a:lnTo>
                    <a:pt x="1028" y="518"/>
                  </a:lnTo>
                  <a:lnTo>
                    <a:pt x="1028" y="518"/>
                  </a:lnTo>
                  <a:lnTo>
                    <a:pt x="1024" y="518"/>
                  </a:lnTo>
                  <a:lnTo>
                    <a:pt x="1020" y="518"/>
                  </a:lnTo>
                  <a:lnTo>
                    <a:pt x="1020" y="518"/>
                  </a:lnTo>
                  <a:lnTo>
                    <a:pt x="1016" y="514"/>
                  </a:lnTo>
                  <a:lnTo>
                    <a:pt x="1010" y="512"/>
                  </a:lnTo>
                  <a:lnTo>
                    <a:pt x="1010" y="512"/>
                  </a:lnTo>
                  <a:lnTo>
                    <a:pt x="1006" y="512"/>
                  </a:lnTo>
                  <a:lnTo>
                    <a:pt x="1004" y="512"/>
                  </a:lnTo>
                  <a:lnTo>
                    <a:pt x="1004" y="514"/>
                  </a:lnTo>
                  <a:lnTo>
                    <a:pt x="1004" y="514"/>
                  </a:lnTo>
                  <a:lnTo>
                    <a:pt x="1002" y="516"/>
                  </a:lnTo>
                  <a:lnTo>
                    <a:pt x="1000" y="516"/>
                  </a:lnTo>
                  <a:lnTo>
                    <a:pt x="994" y="512"/>
                  </a:lnTo>
                  <a:lnTo>
                    <a:pt x="994" y="512"/>
                  </a:lnTo>
                  <a:lnTo>
                    <a:pt x="990" y="512"/>
                  </a:lnTo>
                  <a:lnTo>
                    <a:pt x="988" y="512"/>
                  </a:lnTo>
                  <a:lnTo>
                    <a:pt x="988" y="512"/>
                  </a:lnTo>
                  <a:lnTo>
                    <a:pt x="986" y="506"/>
                  </a:lnTo>
                  <a:lnTo>
                    <a:pt x="984" y="500"/>
                  </a:lnTo>
                  <a:lnTo>
                    <a:pt x="982" y="498"/>
                  </a:lnTo>
                  <a:lnTo>
                    <a:pt x="982" y="498"/>
                  </a:lnTo>
                  <a:lnTo>
                    <a:pt x="980" y="500"/>
                  </a:lnTo>
                  <a:lnTo>
                    <a:pt x="980" y="502"/>
                  </a:lnTo>
                  <a:lnTo>
                    <a:pt x="978" y="506"/>
                  </a:lnTo>
                  <a:lnTo>
                    <a:pt x="612" y="500"/>
                  </a:lnTo>
                  <a:lnTo>
                    <a:pt x="612" y="500"/>
                  </a:lnTo>
                  <a:lnTo>
                    <a:pt x="610" y="504"/>
                  </a:lnTo>
                  <a:lnTo>
                    <a:pt x="610" y="504"/>
                  </a:lnTo>
                  <a:lnTo>
                    <a:pt x="606" y="506"/>
                  </a:lnTo>
                  <a:lnTo>
                    <a:pt x="606" y="508"/>
                  </a:lnTo>
                  <a:lnTo>
                    <a:pt x="606" y="508"/>
                  </a:lnTo>
                  <a:lnTo>
                    <a:pt x="610" y="512"/>
                  </a:lnTo>
                  <a:lnTo>
                    <a:pt x="610" y="512"/>
                  </a:lnTo>
                  <a:lnTo>
                    <a:pt x="604" y="514"/>
                  </a:lnTo>
                  <a:lnTo>
                    <a:pt x="604" y="516"/>
                  </a:lnTo>
                  <a:lnTo>
                    <a:pt x="604" y="516"/>
                  </a:lnTo>
                  <a:lnTo>
                    <a:pt x="592" y="514"/>
                  </a:lnTo>
                  <a:lnTo>
                    <a:pt x="578" y="512"/>
                  </a:lnTo>
                  <a:lnTo>
                    <a:pt x="578" y="512"/>
                  </a:lnTo>
                  <a:lnTo>
                    <a:pt x="580" y="518"/>
                  </a:lnTo>
                  <a:lnTo>
                    <a:pt x="580" y="522"/>
                  </a:lnTo>
                  <a:lnTo>
                    <a:pt x="580" y="522"/>
                  </a:lnTo>
                  <a:lnTo>
                    <a:pt x="584" y="526"/>
                  </a:lnTo>
                  <a:lnTo>
                    <a:pt x="586" y="528"/>
                  </a:lnTo>
                  <a:lnTo>
                    <a:pt x="586" y="528"/>
                  </a:lnTo>
                  <a:lnTo>
                    <a:pt x="588" y="532"/>
                  </a:lnTo>
                  <a:lnTo>
                    <a:pt x="588" y="538"/>
                  </a:lnTo>
                  <a:lnTo>
                    <a:pt x="590" y="538"/>
                  </a:lnTo>
                  <a:lnTo>
                    <a:pt x="590" y="538"/>
                  </a:lnTo>
                  <a:lnTo>
                    <a:pt x="590" y="540"/>
                  </a:lnTo>
                  <a:lnTo>
                    <a:pt x="590" y="542"/>
                  </a:lnTo>
                  <a:lnTo>
                    <a:pt x="590" y="542"/>
                  </a:lnTo>
                  <a:lnTo>
                    <a:pt x="592" y="542"/>
                  </a:lnTo>
                  <a:lnTo>
                    <a:pt x="592" y="542"/>
                  </a:lnTo>
                  <a:lnTo>
                    <a:pt x="592" y="550"/>
                  </a:lnTo>
                  <a:lnTo>
                    <a:pt x="590" y="548"/>
                  </a:lnTo>
                  <a:lnTo>
                    <a:pt x="590" y="548"/>
                  </a:lnTo>
                  <a:lnTo>
                    <a:pt x="590" y="554"/>
                  </a:lnTo>
                  <a:lnTo>
                    <a:pt x="592" y="556"/>
                  </a:lnTo>
                  <a:lnTo>
                    <a:pt x="592" y="556"/>
                  </a:lnTo>
                  <a:lnTo>
                    <a:pt x="592" y="558"/>
                  </a:lnTo>
                  <a:lnTo>
                    <a:pt x="592" y="558"/>
                  </a:lnTo>
                  <a:lnTo>
                    <a:pt x="590" y="558"/>
                  </a:lnTo>
                  <a:lnTo>
                    <a:pt x="590" y="558"/>
                  </a:lnTo>
                  <a:lnTo>
                    <a:pt x="590" y="572"/>
                  </a:lnTo>
                  <a:lnTo>
                    <a:pt x="590" y="584"/>
                  </a:lnTo>
                  <a:lnTo>
                    <a:pt x="588" y="586"/>
                  </a:lnTo>
                  <a:lnTo>
                    <a:pt x="588" y="586"/>
                  </a:lnTo>
                  <a:lnTo>
                    <a:pt x="588" y="592"/>
                  </a:lnTo>
                  <a:lnTo>
                    <a:pt x="588" y="592"/>
                  </a:lnTo>
                  <a:lnTo>
                    <a:pt x="590" y="592"/>
                  </a:lnTo>
                  <a:lnTo>
                    <a:pt x="588" y="592"/>
                  </a:lnTo>
                  <a:lnTo>
                    <a:pt x="588" y="592"/>
                  </a:lnTo>
                  <a:lnTo>
                    <a:pt x="588" y="612"/>
                  </a:lnTo>
                  <a:lnTo>
                    <a:pt x="588" y="612"/>
                  </a:lnTo>
                  <a:lnTo>
                    <a:pt x="586" y="612"/>
                  </a:lnTo>
                  <a:lnTo>
                    <a:pt x="586" y="612"/>
                  </a:lnTo>
                  <a:lnTo>
                    <a:pt x="586" y="624"/>
                  </a:lnTo>
                  <a:lnTo>
                    <a:pt x="586" y="624"/>
                  </a:lnTo>
                  <a:lnTo>
                    <a:pt x="586" y="632"/>
                  </a:lnTo>
                  <a:lnTo>
                    <a:pt x="592" y="638"/>
                  </a:lnTo>
                  <a:lnTo>
                    <a:pt x="592" y="638"/>
                  </a:lnTo>
                  <a:lnTo>
                    <a:pt x="590" y="640"/>
                  </a:lnTo>
                  <a:lnTo>
                    <a:pt x="590" y="640"/>
                  </a:lnTo>
                  <a:lnTo>
                    <a:pt x="590" y="646"/>
                  </a:lnTo>
                  <a:lnTo>
                    <a:pt x="592" y="652"/>
                  </a:lnTo>
                  <a:lnTo>
                    <a:pt x="592" y="652"/>
                  </a:lnTo>
                  <a:lnTo>
                    <a:pt x="590" y="658"/>
                  </a:lnTo>
                  <a:lnTo>
                    <a:pt x="590" y="666"/>
                  </a:lnTo>
                  <a:lnTo>
                    <a:pt x="590" y="666"/>
                  </a:lnTo>
                  <a:lnTo>
                    <a:pt x="588" y="666"/>
                  </a:lnTo>
                  <a:lnTo>
                    <a:pt x="586" y="668"/>
                  </a:lnTo>
                  <a:lnTo>
                    <a:pt x="586" y="670"/>
                  </a:lnTo>
                  <a:lnTo>
                    <a:pt x="586" y="670"/>
                  </a:lnTo>
                  <a:lnTo>
                    <a:pt x="592" y="680"/>
                  </a:lnTo>
                  <a:lnTo>
                    <a:pt x="592" y="680"/>
                  </a:lnTo>
                  <a:lnTo>
                    <a:pt x="594" y="682"/>
                  </a:lnTo>
                  <a:lnTo>
                    <a:pt x="594" y="682"/>
                  </a:lnTo>
                  <a:lnTo>
                    <a:pt x="594" y="686"/>
                  </a:lnTo>
                  <a:lnTo>
                    <a:pt x="596" y="686"/>
                  </a:lnTo>
                  <a:lnTo>
                    <a:pt x="596" y="686"/>
                  </a:lnTo>
                  <a:lnTo>
                    <a:pt x="596" y="692"/>
                  </a:lnTo>
                  <a:lnTo>
                    <a:pt x="596" y="698"/>
                  </a:lnTo>
                  <a:lnTo>
                    <a:pt x="596" y="698"/>
                  </a:lnTo>
                  <a:lnTo>
                    <a:pt x="598" y="698"/>
                  </a:lnTo>
                  <a:lnTo>
                    <a:pt x="600" y="700"/>
                  </a:lnTo>
                  <a:lnTo>
                    <a:pt x="600" y="700"/>
                  </a:lnTo>
                  <a:lnTo>
                    <a:pt x="602" y="704"/>
                  </a:lnTo>
                  <a:lnTo>
                    <a:pt x="604" y="704"/>
                  </a:lnTo>
                  <a:lnTo>
                    <a:pt x="604" y="704"/>
                  </a:lnTo>
                  <a:lnTo>
                    <a:pt x="604" y="712"/>
                  </a:lnTo>
                  <a:lnTo>
                    <a:pt x="604" y="712"/>
                  </a:lnTo>
                  <a:lnTo>
                    <a:pt x="608" y="714"/>
                  </a:lnTo>
                  <a:lnTo>
                    <a:pt x="608" y="714"/>
                  </a:lnTo>
                  <a:lnTo>
                    <a:pt x="610" y="712"/>
                  </a:lnTo>
                  <a:lnTo>
                    <a:pt x="610" y="712"/>
                  </a:lnTo>
                  <a:lnTo>
                    <a:pt x="608" y="708"/>
                  </a:lnTo>
                  <a:lnTo>
                    <a:pt x="608" y="708"/>
                  </a:lnTo>
                  <a:lnTo>
                    <a:pt x="612" y="708"/>
                  </a:lnTo>
                  <a:lnTo>
                    <a:pt x="612" y="708"/>
                  </a:lnTo>
                  <a:lnTo>
                    <a:pt x="612" y="710"/>
                  </a:lnTo>
                  <a:lnTo>
                    <a:pt x="614" y="710"/>
                  </a:lnTo>
                  <a:lnTo>
                    <a:pt x="616" y="710"/>
                  </a:lnTo>
                  <a:lnTo>
                    <a:pt x="616" y="710"/>
                  </a:lnTo>
                  <a:lnTo>
                    <a:pt x="614" y="710"/>
                  </a:lnTo>
                  <a:lnTo>
                    <a:pt x="612" y="712"/>
                  </a:lnTo>
                  <a:lnTo>
                    <a:pt x="612" y="712"/>
                  </a:lnTo>
                  <a:lnTo>
                    <a:pt x="614" y="718"/>
                  </a:lnTo>
                  <a:lnTo>
                    <a:pt x="616" y="720"/>
                  </a:lnTo>
                  <a:lnTo>
                    <a:pt x="616" y="720"/>
                  </a:lnTo>
                  <a:lnTo>
                    <a:pt x="612" y="718"/>
                  </a:lnTo>
                  <a:lnTo>
                    <a:pt x="612" y="718"/>
                  </a:lnTo>
                  <a:lnTo>
                    <a:pt x="610" y="718"/>
                  </a:lnTo>
                  <a:lnTo>
                    <a:pt x="610" y="718"/>
                  </a:lnTo>
                  <a:lnTo>
                    <a:pt x="610" y="724"/>
                  </a:lnTo>
                  <a:lnTo>
                    <a:pt x="610" y="724"/>
                  </a:lnTo>
                  <a:lnTo>
                    <a:pt x="614" y="726"/>
                  </a:lnTo>
                  <a:lnTo>
                    <a:pt x="620" y="730"/>
                  </a:lnTo>
                  <a:lnTo>
                    <a:pt x="622" y="734"/>
                  </a:lnTo>
                  <a:lnTo>
                    <a:pt x="622" y="734"/>
                  </a:lnTo>
                  <a:lnTo>
                    <a:pt x="618" y="734"/>
                  </a:lnTo>
                  <a:lnTo>
                    <a:pt x="618" y="734"/>
                  </a:lnTo>
                  <a:lnTo>
                    <a:pt x="618" y="738"/>
                  </a:lnTo>
                  <a:lnTo>
                    <a:pt x="620" y="742"/>
                  </a:lnTo>
                  <a:lnTo>
                    <a:pt x="620" y="742"/>
                  </a:lnTo>
                  <a:lnTo>
                    <a:pt x="622" y="746"/>
                  </a:lnTo>
                  <a:lnTo>
                    <a:pt x="624" y="748"/>
                  </a:lnTo>
                  <a:lnTo>
                    <a:pt x="624" y="748"/>
                  </a:lnTo>
                  <a:lnTo>
                    <a:pt x="624" y="752"/>
                  </a:lnTo>
                  <a:lnTo>
                    <a:pt x="626" y="754"/>
                  </a:lnTo>
                  <a:lnTo>
                    <a:pt x="626" y="754"/>
                  </a:lnTo>
                  <a:lnTo>
                    <a:pt x="628" y="756"/>
                  </a:lnTo>
                  <a:lnTo>
                    <a:pt x="628" y="756"/>
                  </a:lnTo>
                  <a:lnTo>
                    <a:pt x="632" y="762"/>
                  </a:lnTo>
                  <a:lnTo>
                    <a:pt x="632" y="762"/>
                  </a:lnTo>
                  <a:lnTo>
                    <a:pt x="632" y="764"/>
                  </a:lnTo>
                  <a:lnTo>
                    <a:pt x="632" y="766"/>
                  </a:lnTo>
                  <a:lnTo>
                    <a:pt x="632" y="766"/>
                  </a:lnTo>
                  <a:lnTo>
                    <a:pt x="636" y="766"/>
                  </a:lnTo>
                  <a:lnTo>
                    <a:pt x="636" y="766"/>
                  </a:lnTo>
                  <a:lnTo>
                    <a:pt x="636" y="778"/>
                  </a:lnTo>
                  <a:lnTo>
                    <a:pt x="636" y="778"/>
                  </a:lnTo>
                  <a:lnTo>
                    <a:pt x="642" y="778"/>
                  </a:lnTo>
                  <a:lnTo>
                    <a:pt x="648" y="780"/>
                  </a:lnTo>
                  <a:lnTo>
                    <a:pt x="660" y="782"/>
                  </a:lnTo>
                  <a:lnTo>
                    <a:pt x="660" y="782"/>
                  </a:lnTo>
                  <a:lnTo>
                    <a:pt x="662" y="790"/>
                  </a:lnTo>
                  <a:lnTo>
                    <a:pt x="662" y="790"/>
                  </a:lnTo>
                  <a:lnTo>
                    <a:pt x="666" y="788"/>
                  </a:lnTo>
                  <a:lnTo>
                    <a:pt x="666" y="788"/>
                  </a:lnTo>
                  <a:lnTo>
                    <a:pt x="674" y="798"/>
                  </a:lnTo>
                  <a:lnTo>
                    <a:pt x="674" y="798"/>
                  </a:lnTo>
                  <a:lnTo>
                    <a:pt x="676" y="800"/>
                  </a:lnTo>
                  <a:lnTo>
                    <a:pt x="678" y="802"/>
                  </a:lnTo>
                  <a:lnTo>
                    <a:pt x="678" y="802"/>
                  </a:lnTo>
                  <a:lnTo>
                    <a:pt x="680" y="804"/>
                  </a:lnTo>
                  <a:lnTo>
                    <a:pt x="678" y="808"/>
                  </a:lnTo>
                  <a:lnTo>
                    <a:pt x="680" y="810"/>
                  </a:lnTo>
                  <a:lnTo>
                    <a:pt x="680" y="810"/>
                  </a:lnTo>
                  <a:lnTo>
                    <a:pt x="682" y="814"/>
                  </a:lnTo>
                  <a:lnTo>
                    <a:pt x="718" y="810"/>
                  </a:lnTo>
                  <a:lnTo>
                    <a:pt x="718" y="816"/>
                  </a:lnTo>
                  <a:lnTo>
                    <a:pt x="754" y="834"/>
                  </a:lnTo>
                  <a:lnTo>
                    <a:pt x="798" y="836"/>
                  </a:lnTo>
                  <a:lnTo>
                    <a:pt x="798" y="828"/>
                  </a:lnTo>
                  <a:lnTo>
                    <a:pt x="826" y="828"/>
                  </a:lnTo>
                  <a:lnTo>
                    <a:pt x="832" y="836"/>
                  </a:lnTo>
                  <a:lnTo>
                    <a:pt x="836" y="840"/>
                  </a:lnTo>
                  <a:lnTo>
                    <a:pt x="838" y="842"/>
                  </a:lnTo>
                  <a:lnTo>
                    <a:pt x="842" y="846"/>
                  </a:lnTo>
                  <a:lnTo>
                    <a:pt x="846" y="852"/>
                  </a:lnTo>
                  <a:lnTo>
                    <a:pt x="850" y="858"/>
                  </a:lnTo>
                  <a:lnTo>
                    <a:pt x="850" y="862"/>
                  </a:lnTo>
                  <a:lnTo>
                    <a:pt x="854" y="866"/>
                  </a:lnTo>
                  <a:lnTo>
                    <a:pt x="858" y="872"/>
                  </a:lnTo>
                  <a:lnTo>
                    <a:pt x="862" y="874"/>
                  </a:lnTo>
                  <a:lnTo>
                    <a:pt x="866" y="874"/>
                  </a:lnTo>
                  <a:lnTo>
                    <a:pt x="870" y="874"/>
                  </a:lnTo>
                  <a:lnTo>
                    <a:pt x="874" y="872"/>
                  </a:lnTo>
                  <a:lnTo>
                    <a:pt x="878" y="866"/>
                  </a:lnTo>
                  <a:lnTo>
                    <a:pt x="884" y="864"/>
                  </a:lnTo>
                  <a:lnTo>
                    <a:pt x="888" y="864"/>
                  </a:lnTo>
                  <a:lnTo>
                    <a:pt x="892" y="866"/>
                  </a:lnTo>
                  <a:lnTo>
                    <a:pt x="896" y="870"/>
                  </a:lnTo>
                  <a:lnTo>
                    <a:pt x="900" y="874"/>
                  </a:lnTo>
                  <a:lnTo>
                    <a:pt x="902" y="880"/>
                  </a:lnTo>
                  <a:lnTo>
                    <a:pt x="904" y="882"/>
                  </a:lnTo>
                  <a:lnTo>
                    <a:pt x="906" y="888"/>
                  </a:lnTo>
                  <a:lnTo>
                    <a:pt x="910" y="896"/>
                  </a:lnTo>
                  <a:lnTo>
                    <a:pt x="912" y="900"/>
                  </a:lnTo>
                  <a:lnTo>
                    <a:pt x="916" y="904"/>
                  </a:lnTo>
                  <a:lnTo>
                    <a:pt x="920" y="908"/>
                  </a:lnTo>
                  <a:lnTo>
                    <a:pt x="922" y="918"/>
                  </a:lnTo>
                  <a:lnTo>
                    <a:pt x="922" y="924"/>
                  </a:lnTo>
                  <a:lnTo>
                    <a:pt x="928" y="926"/>
                  </a:lnTo>
                  <a:lnTo>
                    <a:pt x="932" y="928"/>
                  </a:lnTo>
                  <a:lnTo>
                    <a:pt x="938" y="930"/>
                  </a:lnTo>
                  <a:lnTo>
                    <a:pt x="942" y="932"/>
                  </a:lnTo>
                  <a:lnTo>
                    <a:pt x="948" y="932"/>
                  </a:lnTo>
                  <a:lnTo>
                    <a:pt x="946" y="932"/>
                  </a:lnTo>
                  <a:lnTo>
                    <a:pt x="946" y="932"/>
                  </a:lnTo>
                  <a:lnTo>
                    <a:pt x="946" y="930"/>
                  </a:lnTo>
                  <a:lnTo>
                    <a:pt x="946" y="930"/>
                  </a:lnTo>
                  <a:lnTo>
                    <a:pt x="946" y="928"/>
                  </a:lnTo>
                  <a:lnTo>
                    <a:pt x="946" y="928"/>
                  </a:lnTo>
                  <a:lnTo>
                    <a:pt x="946" y="924"/>
                  </a:lnTo>
                  <a:lnTo>
                    <a:pt x="944" y="924"/>
                  </a:lnTo>
                  <a:lnTo>
                    <a:pt x="944" y="924"/>
                  </a:lnTo>
                  <a:lnTo>
                    <a:pt x="944" y="920"/>
                  </a:lnTo>
                  <a:lnTo>
                    <a:pt x="942" y="920"/>
                  </a:lnTo>
                  <a:lnTo>
                    <a:pt x="942" y="920"/>
                  </a:lnTo>
                  <a:lnTo>
                    <a:pt x="940" y="914"/>
                  </a:lnTo>
                  <a:lnTo>
                    <a:pt x="942" y="906"/>
                  </a:lnTo>
                  <a:lnTo>
                    <a:pt x="942" y="906"/>
                  </a:lnTo>
                  <a:lnTo>
                    <a:pt x="940" y="904"/>
                  </a:lnTo>
                  <a:lnTo>
                    <a:pt x="940" y="904"/>
                  </a:lnTo>
                  <a:lnTo>
                    <a:pt x="940" y="904"/>
                  </a:lnTo>
                  <a:lnTo>
                    <a:pt x="944" y="902"/>
                  </a:lnTo>
                  <a:lnTo>
                    <a:pt x="944" y="902"/>
                  </a:lnTo>
                  <a:lnTo>
                    <a:pt x="944" y="894"/>
                  </a:lnTo>
                  <a:lnTo>
                    <a:pt x="944" y="894"/>
                  </a:lnTo>
                  <a:lnTo>
                    <a:pt x="948" y="894"/>
                  </a:lnTo>
                  <a:lnTo>
                    <a:pt x="948" y="894"/>
                  </a:lnTo>
                  <a:lnTo>
                    <a:pt x="950" y="890"/>
                  </a:lnTo>
                  <a:lnTo>
                    <a:pt x="950" y="890"/>
                  </a:lnTo>
                  <a:lnTo>
                    <a:pt x="954" y="890"/>
                  </a:lnTo>
                  <a:lnTo>
                    <a:pt x="954" y="890"/>
                  </a:lnTo>
                  <a:lnTo>
                    <a:pt x="958" y="888"/>
                  </a:lnTo>
                  <a:lnTo>
                    <a:pt x="958" y="886"/>
                  </a:lnTo>
                  <a:lnTo>
                    <a:pt x="958" y="882"/>
                  </a:lnTo>
                  <a:lnTo>
                    <a:pt x="958" y="882"/>
                  </a:lnTo>
                  <a:lnTo>
                    <a:pt x="962" y="882"/>
                  </a:lnTo>
                  <a:lnTo>
                    <a:pt x="962" y="880"/>
                  </a:lnTo>
                  <a:lnTo>
                    <a:pt x="962" y="880"/>
                  </a:lnTo>
                  <a:lnTo>
                    <a:pt x="968" y="880"/>
                  </a:lnTo>
                  <a:lnTo>
                    <a:pt x="968" y="880"/>
                  </a:lnTo>
                  <a:lnTo>
                    <a:pt x="972" y="876"/>
                  </a:lnTo>
                  <a:lnTo>
                    <a:pt x="972" y="876"/>
                  </a:lnTo>
                  <a:lnTo>
                    <a:pt x="972" y="878"/>
                  </a:lnTo>
                  <a:lnTo>
                    <a:pt x="974" y="878"/>
                  </a:lnTo>
                  <a:lnTo>
                    <a:pt x="974" y="878"/>
                  </a:lnTo>
                  <a:lnTo>
                    <a:pt x="974" y="872"/>
                  </a:lnTo>
                  <a:lnTo>
                    <a:pt x="974" y="872"/>
                  </a:lnTo>
                  <a:lnTo>
                    <a:pt x="978" y="870"/>
                  </a:lnTo>
                  <a:lnTo>
                    <a:pt x="978" y="870"/>
                  </a:lnTo>
                  <a:lnTo>
                    <a:pt x="978" y="864"/>
                  </a:lnTo>
                  <a:lnTo>
                    <a:pt x="978" y="864"/>
                  </a:lnTo>
                  <a:lnTo>
                    <a:pt x="986" y="866"/>
                  </a:lnTo>
                  <a:lnTo>
                    <a:pt x="994" y="864"/>
                  </a:lnTo>
                  <a:lnTo>
                    <a:pt x="994" y="864"/>
                  </a:lnTo>
                  <a:lnTo>
                    <a:pt x="994" y="860"/>
                  </a:lnTo>
                  <a:lnTo>
                    <a:pt x="994" y="860"/>
                  </a:lnTo>
                  <a:lnTo>
                    <a:pt x="994" y="860"/>
                  </a:lnTo>
                  <a:lnTo>
                    <a:pt x="996" y="862"/>
                  </a:lnTo>
                  <a:lnTo>
                    <a:pt x="996" y="862"/>
                  </a:lnTo>
                  <a:lnTo>
                    <a:pt x="998" y="862"/>
                  </a:lnTo>
                  <a:lnTo>
                    <a:pt x="1000" y="860"/>
                  </a:lnTo>
                  <a:lnTo>
                    <a:pt x="1000" y="860"/>
                  </a:lnTo>
                  <a:lnTo>
                    <a:pt x="1002" y="860"/>
                  </a:lnTo>
                  <a:lnTo>
                    <a:pt x="1004" y="862"/>
                  </a:lnTo>
                  <a:lnTo>
                    <a:pt x="1004" y="862"/>
                  </a:lnTo>
                  <a:lnTo>
                    <a:pt x="1010" y="864"/>
                  </a:lnTo>
                  <a:lnTo>
                    <a:pt x="1016" y="860"/>
                  </a:lnTo>
                  <a:lnTo>
                    <a:pt x="1016" y="860"/>
                  </a:lnTo>
                  <a:lnTo>
                    <a:pt x="1016" y="866"/>
                  </a:lnTo>
                  <a:lnTo>
                    <a:pt x="1016" y="866"/>
                  </a:lnTo>
                  <a:lnTo>
                    <a:pt x="1022" y="866"/>
                  </a:lnTo>
                  <a:lnTo>
                    <a:pt x="1026" y="868"/>
                  </a:lnTo>
                  <a:lnTo>
                    <a:pt x="1026" y="868"/>
                  </a:lnTo>
                  <a:lnTo>
                    <a:pt x="1026" y="870"/>
                  </a:lnTo>
                  <a:lnTo>
                    <a:pt x="1026" y="874"/>
                  </a:lnTo>
                  <a:lnTo>
                    <a:pt x="1026" y="874"/>
                  </a:lnTo>
                  <a:close/>
                  <a:moveTo>
                    <a:pt x="516" y="360"/>
                  </a:moveTo>
                  <a:lnTo>
                    <a:pt x="516" y="360"/>
                  </a:lnTo>
                  <a:lnTo>
                    <a:pt x="516" y="358"/>
                  </a:lnTo>
                  <a:lnTo>
                    <a:pt x="514" y="356"/>
                  </a:lnTo>
                  <a:lnTo>
                    <a:pt x="514" y="352"/>
                  </a:lnTo>
                  <a:lnTo>
                    <a:pt x="512" y="350"/>
                  </a:lnTo>
                  <a:lnTo>
                    <a:pt x="512" y="350"/>
                  </a:lnTo>
                  <a:lnTo>
                    <a:pt x="510" y="350"/>
                  </a:lnTo>
                  <a:lnTo>
                    <a:pt x="508" y="346"/>
                  </a:lnTo>
                  <a:lnTo>
                    <a:pt x="508" y="346"/>
                  </a:lnTo>
                  <a:lnTo>
                    <a:pt x="506" y="340"/>
                  </a:lnTo>
                  <a:lnTo>
                    <a:pt x="504" y="334"/>
                  </a:lnTo>
                  <a:lnTo>
                    <a:pt x="504" y="334"/>
                  </a:lnTo>
                  <a:lnTo>
                    <a:pt x="504" y="334"/>
                  </a:lnTo>
                  <a:lnTo>
                    <a:pt x="502" y="334"/>
                  </a:lnTo>
                  <a:lnTo>
                    <a:pt x="498" y="336"/>
                  </a:lnTo>
                  <a:lnTo>
                    <a:pt x="494" y="334"/>
                  </a:lnTo>
                  <a:lnTo>
                    <a:pt x="494" y="334"/>
                  </a:lnTo>
                  <a:lnTo>
                    <a:pt x="492" y="332"/>
                  </a:lnTo>
                  <a:lnTo>
                    <a:pt x="490" y="330"/>
                  </a:lnTo>
                  <a:lnTo>
                    <a:pt x="488" y="326"/>
                  </a:lnTo>
                  <a:lnTo>
                    <a:pt x="486" y="324"/>
                  </a:lnTo>
                  <a:lnTo>
                    <a:pt x="486" y="324"/>
                  </a:lnTo>
                  <a:lnTo>
                    <a:pt x="482" y="322"/>
                  </a:lnTo>
                  <a:lnTo>
                    <a:pt x="480" y="318"/>
                  </a:lnTo>
                  <a:lnTo>
                    <a:pt x="476" y="310"/>
                  </a:lnTo>
                  <a:lnTo>
                    <a:pt x="476" y="310"/>
                  </a:lnTo>
                  <a:lnTo>
                    <a:pt x="460" y="292"/>
                  </a:lnTo>
                  <a:lnTo>
                    <a:pt x="460" y="292"/>
                  </a:lnTo>
                  <a:lnTo>
                    <a:pt x="456" y="286"/>
                  </a:lnTo>
                  <a:lnTo>
                    <a:pt x="452" y="282"/>
                  </a:lnTo>
                  <a:lnTo>
                    <a:pt x="448" y="282"/>
                  </a:lnTo>
                  <a:lnTo>
                    <a:pt x="448" y="282"/>
                  </a:lnTo>
                  <a:lnTo>
                    <a:pt x="446" y="280"/>
                  </a:lnTo>
                  <a:lnTo>
                    <a:pt x="444" y="278"/>
                  </a:lnTo>
                  <a:lnTo>
                    <a:pt x="444" y="274"/>
                  </a:lnTo>
                  <a:lnTo>
                    <a:pt x="444" y="274"/>
                  </a:lnTo>
                  <a:lnTo>
                    <a:pt x="442" y="272"/>
                  </a:lnTo>
                  <a:lnTo>
                    <a:pt x="440" y="270"/>
                  </a:lnTo>
                  <a:lnTo>
                    <a:pt x="436" y="268"/>
                  </a:lnTo>
                  <a:lnTo>
                    <a:pt x="434" y="266"/>
                  </a:lnTo>
                  <a:lnTo>
                    <a:pt x="434" y="266"/>
                  </a:lnTo>
                  <a:lnTo>
                    <a:pt x="432" y="264"/>
                  </a:lnTo>
                  <a:lnTo>
                    <a:pt x="428" y="264"/>
                  </a:lnTo>
                  <a:lnTo>
                    <a:pt x="422" y="266"/>
                  </a:lnTo>
                  <a:lnTo>
                    <a:pt x="422" y="266"/>
                  </a:lnTo>
                  <a:lnTo>
                    <a:pt x="420" y="266"/>
                  </a:lnTo>
                  <a:lnTo>
                    <a:pt x="422" y="268"/>
                  </a:lnTo>
                  <a:lnTo>
                    <a:pt x="422" y="272"/>
                  </a:lnTo>
                  <a:lnTo>
                    <a:pt x="422" y="274"/>
                  </a:lnTo>
                  <a:lnTo>
                    <a:pt x="422" y="274"/>
                  </a:lnTo>
                  <a:lnTo>
                    <a:pt x="420" y="276"/>
                  </a:lnTo>
                  <a:lnTo>
                    <a:pt x="418" y="278"/>
                  </a:lnTo>
                  <a:lnTo>
                    <a:pt x="410" y="280"/>
                  </a:lnTo>
                  <a:lnTo>
                    <a:pt x="410" y="280"/>
                  </a:lnTo>
                  <a:lnTo>
                    <a:pt x="406" y="284"/>
                  </a:lnTo>
                  <a:lnTo>
                    <a:pt x="406" y="284"/>
                  </a:lnTo>
                  <a:lnTo>
                    <a:pt x="406" y="282"/>
                  </a:lnTo>
                  <a:lnTo>
                    <a:pt x="406" y="278"/>
                  </a:lnTo>
                  <a:lnTo>
                    <a:pt x="406" y="278"/>
                  </a:lnTo>
                  <a:lnTo>
                    <a:pt x="402" y="274"/>
                  </a:lnTo>
                  <a:lnTo>
                    <a:pt x="398" y="270"/>
                  </a:lnTo>
                  <a:lnTo>
                    <a:pt x="392" y="266"/>
                  </a:lnTo>
                  <a:lnTo>
                    <a:pt x="390" y="264"/>
                  </a:lnTo>
                  <a:lnTo>
                    <a:pt x="390" y="264"/>
                  </a:lnTo>
                  <a:lnTo>
                    <a:pt x="386" y="254"/>
                  </a:lnTo>
                  <a:lnTo>
                    <a:pt x="386" y="254"/>
                  </a:lnTo>
                  <a:lnTo>
                    <a:pt x="384" y="246"/>
                  </a:lnTo>
                  <a:lnTo>
                    <a:pt x="384" y="246"/>
                  </a:lnTo>
                  <a:lnTo>
                    <a:pt x="384" y="246"/>
                  </a:lnTo>
                  <a:lnTo>
                    <a:pt x="378" y="250"/>
                  </a:lnTo>
                  <a:lnTo>
                    <a:pt x="378" y="250"/>
                  </a:lnTo>
                  <a:lnTo>
                    <a:pt x="378" y="250"/>
                  </a:lnTo>
                  <a:lnTo>
                    <a:pt x="374" y="250"/>
                  </a:lnTo>
                  <a:lnTo>
                    <a:pt x="370" y="246"/>
                  </a:lnTo>
                  <a:lnTo>
                    <a:pt x="370" y="246"/>
                  </a:lnTo>
                  <a:lnTo>
                    <a:pt x="368" y="246"/>
                  </a:lnTo>
                  <a:lnTo>
                    <a:pt x="364" y="248"/>
                  </a:lnTo>
                  <a:lnTo>
                    <a:pt x="358" y="250"/>
                  </a:lnTo>
                  <a:lnTo>
                    <a:pt x="354" y="34"/>
                  </a:lnTo>
                  <a:lnTo>
                    <a:pt x="354" y="34"/>
                  </a:lnTo>
                  <a:lnTo>
                    <a:pt x="354" y="34"/>
                  </a:lnTo>
                  <a:lnTo>
                    <a:pt x="352" y="32"/>
                  </a:lnTo>
                  <a:lnTo>
                    <a:pt x="352" y="32"/>
                  </a:lnTo>
                  <a:lnTo>
                    <a:pt x="344" y="28"/>
                  </a:lnTo>
                  <a:lnTo>
                    <a:pt x="342" y="26"/>
                  </a:lnTo>
                  <a:lnTo>
                    <a:pt x="342" y="26"/>
                  </a:lnTo>
                  <a:lnTo>
                    <a:pt x="338" y="28"/>
                  </a:lnTo>
                  <a:lnTo>
                    <a:pt x="334" y="28"/>
                  </a:lnTo>
                  <a:lnTo>
                    <a:pt x="332" y="28"/>
                  </a:lnTo>
                  <a:lnTo>
                    <a:pt x="332" y="28"/>
                  </a:lnTo>
                  <a:lnTo>
                    <a:pt x="330" y="26"/>
                  </a:lnTo>
                  <a:lnTo>
                    <a:pt x="330" y="26"/>
                  </a:lnTo>
                  <a:lnTo>
                    <a:pt x="326" y="26"/>
                  </a:lnTo>
                  <a:lnTo>
                    <a:pt x="326" y="26"/>
                  </a:lnTo>
                  <a:lnTo>
                    <a:pt x="324" y="30"/>
                  </a:lnTo>
                  <a:lnTo>
                    <a:pt x="324" y="30"/>
                  </a:lnTo>
                  <a:lnTo>
                    <a:pt x="324" y="30"/>
                  </a:lnTo>
                  <a:lnTo>
                    <a:pt x="324" y="30"/>
                  </a:lnTo>
                  <a:lnTo>
                    <a:pt x="322" y="32"/>
                  </a:lnTo>
                  <a:lnTo>
                    <a:pt x="322" y="32"/>
                  </a:lnTo>
                  <a:lnTo>
                    <a:pt x="320" y="30"/>
                  </a:lnTo>
                  <a:lnTo>
                    <a:pt x="318" y="28"/>
                  </a:lnTo>
                  <a:lnTo>
                    <a:pt x="318" y="28"/>
                  </a:lnTo>
                  <a:lnTo>
                    <a:pt x="316" y="30"/>
                  </a:lnTo>
                  <a:lnTo>
                    <a:pt x="314" y="30"/>
                  </a:lnTo>
                  <a:lnTo>
                    <a:pt x="314" y="30"/>
                  </a:lnTo>
                  <a:lnTo>
                    <a:pt x="314" y="28"/>
                  </a:lnTo>
                  <a:lnTo>
                    <a:pt x="314" y="28"/>
                  </a:lnTo>
                  <a:lnTo>
                    <a:pt x="296" y="26"/>
                  </a:lnTo>
                  <a:lnTo>
                    <a:pt x="296" y="24"/>
                  </a:lnTo>
                  <a:lnTo>
                    <a:pt x="296" y="24"/>
                  </a:lnTo>
                  <a:lnTo>
                    <a:pt x="290" y="24"/>
                  </a:lnTo>
                  <a:lnTo>
                    <a:pt x="286" y="24"/>
                  </a:lnTo>
                  <a:lnTo>
                    <a:pt x="286" y="24"/>
                  </a:lnTo>
                  <a:lnTo>
                    <a:pt x="276" y="24"/>
                  </a:lnTo>
                  <a:lnTo>
                    <a:pt x="266" y="24"/>
                  </a:lnTo>
                  <a:lnTo>
                    <a:pt x="264" y="22"/>
                  </a:lnTo>
                  <a:lnTo>
                    <a:pt x="264" y="22"/>
                  </a:lnTo>
                  <a:lnTo>
                    <a:pt x="262" y="22"/>
                  </a:lnTo>
                  <a:lnTo>
                    <a:pt x="258" y="22"/>
                  </a:lnTo>
                  <a:lnTo>
                    <a:pt x="258" y="22"/>
                  </a:lnTo>
                  <a:lnTo>
                    <a:pt x="252" y="16"/>
                  </a:lnTo>
                  <a:lnTo>
                    <a:pt x="252" y="16"/>
                  </a:lnTo>
                  <a:lnTo>
                    <a:pt x="250" y="18"/>
                  </a:lnTo>
                  <a:lnTo>
                    <a:pt x="248" y="18"/>
                  </a:lnTo>
                  <a:lnTo>
                    <a:pt x="246" y="16"/>
                  </a:lnTo>
                  <a:lnTo>
                    <a:pt x="246" y="16"/>
                  </a:lnTo>
                  <a:lnTo>
                    <a:pt x="242" y="18"/>
                  </a:lnTo>
                  <a:lnTo>
                    <a:pt x="238" y="20"/>
                  </a:lnTo>
                  <a:lnTo>
                    <a:pt x="238" y="20"/>
                  </a:lnTo>
                  <a:lnTo>
                    <a:pt x="232" y="20"/>
                  </a:lnTo>
                  <a:lnTo>
                    <a:pt x="232" y="20"/>
                  </a:lnTo>
                  <a:lnTo>
                    <a:pt x="230" y="22"/>
                  </a:lnTo>
                  <a:lnTo>
                    <a:pt x="230" y="22"/>
                  </a:lnTo>
                  <a:lnTo>
                    <a:pt x="218" y="16"/>
                  </a:lnTo>
                  <a:lnTo>
                    <a:pt x="218" y="16"/>
                  </a:lnTo>
                  <a:lnTo>
                    <a:pt x="212" y="16"/>
                  </a:lnTo>
                  <a:lnTo>
                    <a:pt x="210" y="14"/>
                  </a:lnTo>
                  <a:lnTo>
                    <a:pt x="210" y="14"/>
                  </a:lnTo>
                  <a:lnTo>
                    <a:pt x="206" y="16"/>
                  </a:lnTo>
                  <a:lnTo>
                    <a:pt x="202" y="14"/>
                  </a:lnTo>
                  <a:lnTo>
                    <a:pt x="202" y="12"/>
                  </a:lnTo>
                  <a:lnTo>
                    <a:pt x="202" y="12"/>
                  </a:lnTo>
                  <a:lnTo>
                    <a:pt x="204" y="12"/>
                  </a:lnTo>
                  <a:lnTo>
                    <a:pt x="204" y="12"/>
                  </a:lnTo>
                  <a:lnTo>
                    <a:pt x="202" y="10"/>
                  </a:lnTo>
                  <a:lnTo>
                    <a:pt x="202" y="10"/>
                  </a:lnTo>
                  <a:lnTo>
                    <a:pt x="196" y="10"/>
                  </a:lnTo>
                  <a:lnTo>
                    <a:pt x="196" y="10"/>
                  </a:lnTo>
                  <a:lnTo>
                    <a:pt x="186" y="12"/>
                  </a:lnTo>
                  <a:lnTo>
                    <a:pt x="182" y="12"/>
                  </a:lnTo>
                  <a:lnTo>
                    <a:pt x="178" y="12"/>
                  </a:lnTo>
                  <a:lnTo>
                    <a:pt x="178" y="12"/>
                  </a:lnTo>
                  <a:lnTo>
                    <a:pt x="176" y="12"/>
                  </a:lnTo>
                  <a:lnTo>
                    <a:pt x="176" y="10"/>
                  </a:lnTo>
                  <a:lnTo>
                    <a:pt x="174" y="6"/>
                  </a:lnTo>
                  <a:lnTo>
                    <a:pt x="174" y="6"/>
                  </a:lnTo>
                  <a:lnTo>
                    <a:pt x="170" y="8"/>
                  </a:lnTo>
                  <a:lnTo>
                    <a:pt x="170" y="8"/>
                  </a:lnTo>
                  <a:lnTo>
                    <a:pt x="166" y="8"/>
                  </a:lnTo>
                  <a:lnTo>
                    <a:pt x="166" y="8"/>
                  </a:lnTo>
                  <a:lnTo>
                    <a:pt x="160" y="12"/>
                  </a:lnTo>
                  <a:lnTo>
                    <a:pt x="160" y="12"/>
                  </a:lnTo>
                  <a:lnTo>
                    <a:pt x="162" y="4"/>
                  </a:lnTo>
                  <a:lnTo>
                    <a:pt x="162" y="4"/>
                  </a:lnTo>
                  <a:lnTo>
                    <a:pt x="154" y="2"/>
                  </a:lnTo>
                  <a:lnTo>
                    <a:pt x="148" y="0"/>
                  </a:lnTo>
                  <a:lnTo>
                    <a:pt x="144" y="0"/>
                  </a:lnTo>
                  <a:lnTo>
                    <a:pt x="144" y="2"/>
                  </a:lnTo>
                  <a:lnTo>
                    <a:pt x="144" y="2"/>
                  </a:lnTo>
                  <a:lnTo>
                    <a:pt x="136" y="8"/>
                  </a:lnTo>
                  <a:lnTo>
                    <a:pt x="128" y="12"/>
                  </a:lnTo>
                  <a:lnTo>
                    <a:pt x="128" y="12"/>
                  </a:lnTo>
                  <a:lnTo>
                    <a:pt x="122" y="12"/>
                  </a:lnTo>
                  <a:lnTo>
                    <a:pt x="118" y="12"/>
                  </a:lnTo>
                  <a:lnTo>
                    <a:pt x="118" y="12"/>
                  </a:lnTo>
                  <a:lnTo>
                    <a:pt x="114" y="14"/>
                  </a:lnTo>
                  <a:lnTo>
                    <a:pt x="114" y="14"/>
                  </a:lnTo>
                  <a:lnTo>
                    <a:pt x="112" y="10"/>
                  </a:lnTo>
                  <a:lnTo>
                    <a:pt x="112" y="10"/>
                  </a:lnTo>
                  <a:lnTo>
                    <a:pt x="110" y="16"/>
                  </a:lnTo>
                  <a:lnTo>
                    <a:pt x="108" y="16"/>
                  </a:lnTo>
                  <a:lnTo>
                    <a:pt x="108" y="16"/>
                  </a:lnTo>
                  <a:lnTo>
                    <a:pt x="106" y="16"/>
                  </a:lnTo>
                  <a:lnTo>
                    <a:pt x="104" y="14"/>
                  </a:lnTo>
                  <a:lnTo>
                    <a:pt x="104" y="14"/>
                  </a:lnTo>
                  <a:lnTo>
                    <a:pt x="104" y="18"/>
                  </a:lnTo>
                  <a:lnTo>
                    <a:pt x="104" y="18"/>
                  </a:lnTo>
                  <a:lnTo>
                    <a:pt x="100" y="20"/>
                  </a:lnTo>
                  <a:lnTo>
                    <a:pt x="100" y="20"/>
                  </a:lnTo>
                  <a:lnTo>
                    <a:pt x="94" y="20"/>
                  </a:lnTo>
                  <a:lnTo>
                    <a:pt x="90" y="20"/>
                  </a:lnTo>
                  <a:lnTo>
                    <a:pt x="90" y="20"/>
                  </a:lnTo>
                  <a:lnTo>
                    <a:pt x="86" y="22"/>
                  </a:lnTo>
                  <a:lnTo>
                    <a:pt x="84" y="24"/>
                  </a:lnTo>
                  <a:lnTo>
                    <a:pt x="84" y="24"/>
                  </a:lnTo>
                  <a:lnTo>
                    <a:pt x="80" y="24"/>
                  </a:lnTo>
                  <a:lnTo>
                    <a:pt x="80" y="24"/>
                  </a:lnTo>
                  <a:lnTo>
                    <a:pt x="78" y="28"/>
                  </a:lnTo>
                  <a:lnTo>
                    <a:pt x="76" y="34"/>
                  </a:lnTo>
                  <a:lnTo>
                    <a:pt x="76" y="34"/>
                  </a:lnTo>
                  <a:lnTo>
                    <a:pt x="72" y="34"/>
                  </a:lnTo>
                  <a:lnTo>
                    <a:pt x="70" y="36"/>
                  </a:lnTo>
                  <a:lnTo>
                    <a:pt x="70" y="36"/>
                  </a:lnTo>
                  <a:lnTo>
                    <a:pt x="68" y="40"/>
                  </a:lnTo>
                  <a:lnTo>
                    <a:pt x="68" y="44"/>
                  </a:lnTo>
                  <a:lnTo>
                    <a:pt x="68" y="44"/>
                  </a:lnTo>
                  <a:lnTo>
                    <a:pt x="64" y="48"/>
                  </a:lnTo>
                  <a:lnTo>
                    <a:pt x="64" y="48"/>
                  </a:lnTo>
                  <a:lnTo>
                    <a:pt x="62" y="60"/>
                  </a:lnTo>
                  <a:lnTo>
                    <a:pt x="62" y="60"/>
                  </a:lnTo>
                  <a:lnTo>
                    <a:pt x="54" y="62"/>
                  </a:lnTo>
                  <a:lnTo>
                    <a:pt x="46" y="64"/>
                  </a:lnTo>
                  <a:lnTo>
                    <a:pt x="46" y="64"/>
                  </a:lnTo>
                  <a:lnTo>
                    <a:pt x="44" y="64"/>
                  </a:lnTo>
                  <a:lnTo>
                    <a:pt x="40" y="64"/>
                  </a:lnTo>
                  <a:lnTo>
                    <a:pt x="38" y="66"/>
                  </a:lnTo>
                  <a:lnTo>
                    <a:pt x="38" y="66"/>
                  </a:lnTo>
                  <a:lnTo>
                    <a:pt x="30" y="66"/>
                  </a:lnTo>
                  <a:lnTo>
                    <a:pt x="22" y="64"/>
                  </a:lnTo>
                  <a:lnTo>
                    <a:pt x="22" y="64"/>
                  </a:lnTo>
                  <a:lnTo>
                    <a:pt x="24" y="76"/>
                  </a:lnTo>
                  <a:lnTo>
                    <a:pt x="24" y="76"/>
                  </a:lnTo>
                  <a:lnTo>
                    <a:pt x="22" y="78"/>
                  </a:lnTo>
                  <a:lnTo>
                    <a:pt x="22" y="80"/>
                  </a:lnTo>
                  <a:lnTo>
                    <a:pt x="22" y="80"/>
                  </a:lnTo>
                  <a:lnTo>
                    <a:pt x="20" y="80"/>
                  </a:lnTo>
                  <a:lnTo>
                    <a:pt x="18" y="80"/>
                  </a:lnTo>
                  <a:lnTo>
                    <a:pt x="18" y="80"/>
                  </a:lnTo>
                  <a:lnTo>
                    <a:pt x="26" y="82"/>
                  </a:lnTo>
                  <a:lnTo>
                    <a:pt x="26" y="82"/>
                  </a:lnTo>
                  <a:lnTo>
                    <a:pt x="28" y="84"/>
                  </a:lnTo>
                  <a:lnTo>
                    <a:pt x="32" y="88"/>
                  </a:lnTo>
                  <a:lnTo>
                    <a:pt x="32" y="88"/>
                  </a:lnTo>
                  <a:lnTo>
                    <a:pt x="34" y="88"/>
                  </a:lnTo>
                  <a:lnTo>
                    <a:pt x="38" y="88"/>
                  </a:lnTo>
                  <a:lnTo>
                    <a:pt x="38" y="88"/>
                  </a:lnTo>
                  <a:lnTo>
                    <a:pt x="48" y="98"/>
                  </a:lnTo>
                  <a:lnTo>
                    <a:pt x="48" y="98"/>
                  </a:lnTo>
                  <a:lnTo>
                    <a:pt x="54" y="98"/>
                  </a:lnTo>
                  <a:lnTo>
                    <a:pt x="54" y="98"/>
                  </a:lnTo>
                  <a:lnTo>
                    <a:pt x="56" y="98"/>
                  </a:lnTo>
                  <a:lnTo>
                    <a:pt x="56" y="100"/>
                  </a:lnTo>
                  <a:lnTo>
                    <a:pt x="54" y="100"/>
                  </a:lnTo>
                  <a:lnTo>
                    <a:pt x="54" y="100"/>
                  </a:lnTo>
                  <a:lnTo>
                    <a:pt x="56" y="106"/>
                  </a:lnTo>
                  <a:lnTo>
                    <a:pt x="56" y="106"/>
                  </a:lnTo>
                  <a:lnTo>
                    <a:pt x="58" y="108"/>
                  </a:lnTo>
                  <a:lnTo>
                    <a:pt x="62" y="108"/>
                  </a:lnTo>
                  <a:lnTo>
                    <a:pt x="62" y="106"/>
                  </a:lnTo>
                  <a:lnTo>
                    <a:pt x="62" y="106"/>
                  </a:lnTo>
                  <a:lnTo>
                    <a:pt x="66" y="104"/>
                  </a:lnTo>
                  <a:lnTo>
                    <a:pt x="70" y="104"/>
                  </a:lnTo>
                  <a:lnTo>
                    <a:pt x="70" y="106"/>
                  </a:lnTo>
                  <a:lnTo>
                    <a:pt x="70" y="106"/>
                  </a:lnTo>
                  <a:lnTo>
                    <a:pt x="72" y="108"/>
                  </a:lnTo>
                  <a:lnTo>
                    <a:pt x="72" y="108"/>
                  </a:lnTo>
                  <a:lnTo>
                    <a:pt x="76" y="108"/>
                  </a:lnTo>
                  <a:lnTo>
                    <a:pt x="82" y="106"/>
                  </a:lnTo>
                  <a:lnTo>
                    <a:pt x="82" y="106"/>
                  </a:lnTo>
                  <a:lnTo>
                    <a:pt x="82" y="108"/>
                  </a:lnTo>
                  <a:lnTo>
                    <a:pt x="82" y="110"/>
                  </a:lnTo>
                  <a:lnTo>
                    <a:pt x="80" y="110"/>
                  </a:lnTo>
                  <a:lnTo>
                    <a:pt x="80" y="110"/>
                  </a:lnTo>
                  <a:lnTo>
                    <a:pt x="78" y="112"/>
                  </a:lnTo>
                  <a:lnTo>
                    <a:pt x="78" y="114"/>
                  </a:lnTo>
                  <a:lnTo>
                    <a:pt x="78" y="114"/>
                  </a:lnTo>
                  <a:lnTo>
                    <a:pt x="82" y="114"/>
                  </a:lnTo>
                  <a:lnTo>
                    <a:pt x="82" y="114"/>
                  </a:lnTo>
                  <a:lnTo>
                    <a:pt x="84" y="116"/>
                  </a:lnTo>
                  <a:lnTo>
                    <a:pt x="84" y="116"/>
                  </a:lnTo>
                  <a:lnTo>
                    <a:pt x="90" y="116"/>
                  </a:lnTo>
                  <a:lnTo>
                    <a:pt x="96" y="116"/>
                  </a:lnTo>
                  <a:lnTo>
                    <a:pt x="96" y="116"/>
                  </a:lnTo>
                  <a:lnTo>
                    <a:pt x="96" y="118"/>
                  </a:lnTo>
                  <a:lnTo>
                    <a:pt x="96" y="122"/>
                  </a:lnTo>
                  <a:lnTo>
                    <a:pt x="96" y="122"/>
                  </a:lnTo>
                  <a:lnTo>
                    <a:pt x="84" y="122"/>
                  </a:lnTo>
                  <a:lnTo>
                    <a:pt x="78" y="122"/>
                  </a:lnTo>
                  <a:lnTo>
                    <a:pt x="78" y="124"/>
                  </a:lnTo>
                  <a:lnTo>
                    <a:pt x="82" y="126"/>
                  </a:lnTo>
                  <a:lnTo>
                    <a:pt x="82" y="126"/>
                  </a:lnTo>
                  <a:lnTo>
                    <a:pt x="82" y="124"/>
                  </a:lnTo>
                  <a:lnTo>
                    <a:pt x="84" y="124"/>
                  </a:lnTo>
                  <a:lnTo>
                    <a:pt x="84" y="124"/>
                  </a:lnTo>
                  <a:lnTo>
                    <a:pt x="86" y="126"/>
                  </a:lnTo>
                  <a:lnTo>
                    <a:pt x="88" y="126"/>
                  </a:lnTo>
                  <a:lnTo>
                    <a:pt x="88" y="132"/>
                  </a:lnTo>
                  <a:lnTo>
                    <a:pt x="88" y="132"/>
                  </a:lnTo>
                  <a:lnTo>
                    <a:pt x="82" y="130"/>
                  </a:lnTo>
                  <a:lnTo>
                    <a:pt x="78" y="134"/>
                  </a:lnTo>
                  <a:lnTo>
                    <a:pt x="78" y="132"/>
                  </a:lnTo>
                  <a:lnTo>
                    <a:pt x="78" y="132"/>
                  </a:lnTo>
                  <a:lnTo>
                    <a:pt x="68" y="132"/>
                  </a:lnTo>
                  <a:lnTo>
                    <a:pt x="58" y="132"/>
                  </a:lnTo>
                  <a:lnTo>
                    <a:pt x="58" y="132"/>
                  </a:lnTo>
                  <a:lnTo>
                    <a:pt x="56" y="128"/>
                  </a:lnTo>
                  <a:lnTo>
                    <a:pt x="56" y="128"/>
                  </a:lnTo>
                  <a:lnTo>
                    <a:pt x="50" y="128"/>
                  </a:lnTo>
                  <a:lnTo>
                    <a:pt x="50" y="128"/>
                  </a:lnTo>
                  <a:lnTo>
                    <a:pt x="50" y="126"/>
                  </a:lnTo>
                  <a:lnTo>
                    <a:pt x="52" y="126"/>
                  </a:lnTo>
                  <a:lnTo>
                    <a:pt x="52" y="126"/>
                  </a:lnTo>
                  <a:lnTo>
                    <a:pt x="52" y="120"/>
                  </a:lnTo>
                  <a:lnTo>
                    <a:pt x="52" y="116"/>
                  </a:lnTo>
                  <a:lnTo>
                    <a:pt x="52" y="116"/>
                  </a:lnTo>
                  <a:lnTo>
                    <a:pt x="50" y="114"/>
                  </a:lnTo>
                  <a:lnTo>
                    <a:pt x="50" y="114"/>
                  </a:lnTo>
                  <a:lnTo>
                    <a:pt x="44" y="114"/>
                  </a:lnTo>
                  <a:lnTo>
                    <a:pt x="44" y="114"/>
                  </a:lnTo>
                  <a:lnTo>
                    <a:pt x="42" y="116"/>
                  </a:lnTo>
                  <a:lnTo>
                    <a:pt x="42" y="116"/>
                  </a:lnTo>
                  <a:lnTo>
                    <a:pt x="34" y="120"/>
                  </a:lnTo>
                  <a:lnTo>
                    <a:pt x="26" y="124"/>
                  </a:lnTo>
                  <a:lnTo>
                    <a:pt x="26" y="124"/>
                  </a:lnTo>
                  <a:lnTo>
                    <a:pt x="26" y="130"/>
                  </a:lnTo>
                  <a:lnTo>
                    <a:pt x="26" y="130"/>
                  </a:lnTo>
                  <a:lnTo>
                    <a:pt x="26" y="130"/>
                  </a:lnTo>
                  <a:lnTo>
                    <a:pt x="24" y="130"/>
                  </a:lnTo>
                  <a:lnTo>
                    <a:pt x="24" y="130"/>
                  </a:lnTo>
                  <a:lnTo>
                    <a:pt x="14" y="130"/>
                  </a:lnTo>
                  <a:lnTo>
                    <a:pt x="6" y="132"/>
                  </a:lnTo>
                  <a:lnTo>
                    <a:pt x="6" y="132"/>
                  </a:lnTo>
                  <a:lnTo>
                    <a:pt x="0" y="138"/>
                  </a:lnTo>
                  <a:lnTo>
                    <a:pt x="0" y="142"/>
                  </a:lnTo>
                  <a:lnTo>
                    <a:pt x="0" y="142"/>
                  </a:lnTo>
                  <a:lnTo>
                    <a:pt x="8" y="142"/>
                  </a:lnTo>
                  <a:lnTo>
                    <a:pt x="14" y="144"/>
                  </a:lnTo>
                  <a:lnTo>
                    <a:pt x="14" y="144"/>
                  </a:lnTo>
                  <a:lnTo>
                    <a:pt x="20" y="144"/>
                  </a:lnTo>
                  <a:lnTo>
                    <a:pt x="20" y="146"/>
                  </a:lnTo>
                  <a:lnTo>
                    <a:pt x="20" y="146"/>
                  </a:lnTo>
                  <a:lnTo>
                    <a:pt x="12" y="148"/>
                  </a:lnTo>
                  <a:lnTo>
                    <a:pt x="12" y="148"/>
                  </a:lnTo>
                  <a:lnTo>
                    <a:pt x="12" y="150"/>
                  </a:lnTo>
                  <a:lnTo>
                    <a:pt x="12" y="150"/>
                  </a:lnTo>
                  <a:lnTo>
                    <a:pt x="12" y="150"/>
                  </a:lnTo>
                  <a:lnTo>
                    <a:pt x="18" y="156"/>
                  </a:lnTo>
                  <a:lnTo>
                    <a:pt x="18" y="156"/>
                  </a:lnTo>
                  <a:lnTo>
                    <a:pt x="18" y="158"/>
                  </a:lnTo>
                  <a:lnTo>
                    <a:pt x="20" y="162"/>
                  </a:lnTo>
                  <a:lnTo>
                    <a:pt x="34" y="166"/>
                  </a:lnTo>
                  <a:lnTo>
                    <a:pt x="34" y="166"/>
                  </a:lnTo>
                  <a:lnTo>
                    <a:pt x="38" y="164"/>
                  </a:lnTo>
                  <a:lnTo>
                    <a:pt x="40" y="162"/>
                  </a:lnTo>
                  <a:lnTo>
                    <a:pt x="40" y="162"/>
                  </a:lnTo>
                  <a:lnTo>
                    <a:pt x="50" y="160"/>
                  </a:lnTo>
                  <a:lnTo>
                    <a:pt x="60" y="162"/>
                  </a:lnTo>
                  <a:lnTo>
                    <a:pt x="60" y="162"/>
                  </a:lnTo>
                  <a:lnTo>
                    <a:pt x="60" y="160"/>
                  </a:lnTo>
                  <a:lnTo>
                    <a:pt x="62" y="158"/>
                  </a:lnTo>
                  <a:lnTo>
                    <a:pt x="62" y="158"/>
                  </a:lnTo>
                  <a:lnTo>
                    <a:pt x="66" y="164"/>
                  </a:lnTo>
                  <a:lnTo>
                    <a:pt x="66" y="164"/>
                  </a:lnTo>
                  <a:lnTo>
                    <a:pt x="66" y="166"/>
                  </a:lnTo>
                  <a:lnTo>
                    <a:pt x="66" y="166"/>
                  </a:lnTo>
                  <a:lnTo>
                    <a:pt x="70" y="168"/>
                  </a:lnTo>
                  <a:lnTo>
                    <a:pt x="70" y="168"/>
                  </a:lnTo>
                  <a:lnTo>
                    <a:pt x="74" y="162"/>
                  </a:lnTo>
                  <a:lnTo>
                    <a:pt x="74" y="162"/>
                  </a:lnTo>
                  <a:lnTo>
                    <a:pt x="86" y="160"/>
                  </a:lnTo>
                  <a:lnTo>
                    <a:pt x="96" y="160"/>
                  </a:lnTo>
                  <a:lnTo>
                    <a:pt x="96" y="160"/>
                  </a:lnTo>
                  <a:lnTo>
                    <a:pt x="96" y="164"/>
                  </a:lnTo>
                  <a:lnTo>
                    <a:pt x="96" y="164"/>
                  </a:lnTo>
                  <a:lnTo>
                    <a:pt x="92" y="168"/>
                  </a:lnTo>
                  <a:lnTo>
                    <a:pt x="92" y="168"/>
                  </a:lnTo>
                  <a:lnTo>
                    <a:pt x="92" y="172"/>
                  </a:lnTo>
                  <a:lnTo>
                    <a:pt x="94" y="178"/>
                  </a:lnTo>
                  <a:lnTo>
                    <a:pt x="94" y="178"/>
                  </a:lnTo>
                  <a:lnTo>
                    <a:pt x="94" y="186"/>
                  </a:lnTo>
                  <a:lnTo>
                    <a:pt x="94" y="186"/>
                  </a:lnTo>
                  <a:lnTo>
                    <a:pt x="88" y="190"/>
                  </a:lnTo>
                  <a:lnTo>
                    <a:pt x="82" y="192"/>
                  </a:lnTo>
                  <a:lnTo>
                    <a:pt x="82" y="192"/>
                  </a:lnTo>
                  <a:lnTo>
                    <a:pt x="80" y="190"/>
                  </a:lnTo>
                  <a:lnTo>
                    <a:pt x="76" y="190"/>
                  </a:lnTo>
                  <a:lnTo>
                    <a:pt x="76" y="190"/>
                  </a:lnTo>
                  <a:lnTo>
                    <a:pt x="76" y="194"/>
                  </a:lnTo>
                  <a:lnTo>
                    <a:pt x="76" y="194"/>
                  </a:lnTo>
                  <a:lnTo>
                    <a:pt x="70" y="198"/>
                  </a:lnTo>
                  <a:lnTo>
                    <a:pt x="64" y="198"/>
                  </a:lnTo>
                  <a:lnTo>
                    <a:pt x="60" y="198"/>
                  </a:lnTo>
                  <a:lnTo>
                    <a:pt x="60" y="198"/>
                  </a:lnTo>
                  <a:lnTo>
                    <a:pt x="56" y="194"/>
                  </a:lnTo>
                  <a:lnTo>
                    <a:pt x="54" y="192"/>
                  </a:lnTo>
                  <a:lnTo>
                    <a:pt x="50" y="192"/>
                  </a:lnTo>
                  <a:lnTo>
                    <a:pt x="50" y="192"/>
                  </a:lnTo>
                  <a:lnTo>
                    <a:pt x="44" y="196"/>
                  </a:lnTo>
                  <a:lnTo>
                    <a:pt x="44" y="196"/>
                  </a:lnTo>
                  <a:lnTo>
                    <a:pt x="44" y="198"/>
                  </a:lnTo>
                  <a:lnTo>
                    <a:pt x="44" y="198"/>
                  </a:lnTo>
                  <a:lnTo>
                    <a:pt x="44" y="198"/>
                  </a:lnTo>
                  <a:lnTo>
                    <a:pt x="44" y="198"/>
                  </a:lnTo>
                  <a:lnTo>
                    <a:pt x="44" y="200"/>
                  </a:lnTo>
                  <a:lnTo>
                    <a:pt x="46" y="200"/>
                  </a:lnTo>
                  <a:lnTo>
                    <a:pt x="46" y="200"/>
                  </a:lnTo>
                  <a:lnTo>
                    <a:pt x="48" y="204"/>
                  </a:lnTo>
                  <a:lnTo>
                    <a:pt x="48" y="210"/>
                  </a:lnTo>
                  <a:lnTo>
                    <a:pt x="48" y="210"/>
                  </a:lnTo>
                  <a:lnTo>
                    <a:pt x="48" y="210"/>
                  </a:lnTo>
                  <a:lnTo>
                    <a:pt x="48" y="208"/>
                  </a:lnTo>
                  <a:lnTo>
                    <a:pt x="48" y="208"/>
                  </a:lnTo>
                  <a:lnTo>
                    <a:pt x="42" y="206"/>
                  </a:lnTo>
                  <a:lnTo>
                    <a:pt x="40" y="214"/>
                  </a:lnTo>
                  <a:lnTo>
                    <a:pt x="40" y="214"/>
                  </a:lnTo>
                  <a:lnTo>
                    <a:pt x="38" y="214"/>
                  </a:lnTo>
                  <a:lnTo>
                    <a:pt x="38" y="214"/>
                  </a:lnTo>
                  <a:lnTo>
                    <a:pt x="30" y="220"/>
                  </a:lnTo>
                  <a:lnTo>
                    <a:pt x="30" y="220"/>
                  </a:lnTo>
                  <a:lnTo>
                    <a:pt x="30" y="224"/>
                  </a:lnTo>
                  <a:lnTo>
                    <a:pt x="30" y="226"/>
                  </a:lnTo>
                  <a:lnTo>
                    <a:pt x="30" y="226"/>
                  </a:lnTo>
                  <a:lnTo>
                    <a:pt x="26" y="228"/>
                  </a:lnTo>
                  <a:lnTo>
                    <a:pt x="26" y="228"/>
                  </a:lnTo>
                  <a:lnTo>
                    <a:pt x="24" y="232"/>
                  </a:lnTo>
                  <a:lnTo>
                    <a:pt x="24" y="232"/>
                  </a:lnTo>
                  <a:lnTo>
                    <a:pt x="28" y="232"/>
                  </a:lnTo>
                  <a:lnTo>
                    <a:pt x="28" y="232"/>
                  </a:lnTo>
                  <a:lnTo>
                    <a:pt x="28" y="236"/>
                  </a:lnTo>
                  <a:lnTo>
                    <a:pt x="28" y="236"/>
                  </a:lnTo>
                  <a:lnTo>
                    <a:pt x="34" y="236"/>
                  </a:lnTo>
                  <a:lnTo>
                    <a:pt x="34" y="236"/>
                  </a:lnTo>
                  <a:lnTo>
                    <a:pt x="34" y="240"/>
                  </a:lnTo>
                  <a:lnTo>
                    <a:pt x="34" y="240"/>
                  </a:lnTo>
                  <a:lnTo>
                    <a:pt x="36" y="240"/>
                  </a:lnTo>
                  <a:lnTo>
                    <a:pt x="36" y="242"/>
                  </a:lnTo>
                  <a:lnTo>
                    <a:pt x="36" y="242"/>
                  </a:lnTo>
                  <a:lnTo>
                    <a:pt x="44" y="242"/>
                  </a:lnTo>
                  <a:lnTo>
                    <a:pt x="50" y="244"/>
                  </a:lnTo>
                  <a:lnTo>
                    <a:pt x="50" y="244"/>
                  </a:lnTo>
                  <a:lnTo>
                    <a:pt x="50" y="242"/>
                  </a:lnTo>
                  <a:lnTo>
                    <a:pt x="50" y="242"/>
                  </a:lnTo>
                  <a:lnTo>
                    <a:pt x="56" y="242"/>
                  </a:lnTo>
                  <a:lnTo>
                    <a:pt x="56" y="244"/>
                  </a:lnTo>
                  <a:lnTo>
                    <a:pt x="56" y="244"/>
                  </a:lnTo>
                  <a:lnTo>
                    <a:pt x="52" y="246"/>
                  </a:lnTo>
                  <a:lnTo>
                    <a:pt x="52" y="246"/>
                  </a:lnTo>
                  <a:lnTo>
                    <a:pt x="50" y="250"/>
                  </a:lnTo>
                  <a:lnTo>
                    <a:pt x="50" y="250"/>
                  </a:lnTo>
                  <a:lnTo>
                    <a:pt x="48" y="252"/>
                  </a:lnTo>
                  <a:lnTo>
                    <a:pt x="48" y="252"/>
                  </a:lnTo>
                  <a:lnTo>
                    <a:pt x="48" y="256"/>
                  </a:lnTo>
                  <a:lnTo>
                    <a:pt x="48" y="256"/>
                  </a:lnTo>
                  <a:lnTo>
                    <a:pt x="46" y="260"/>
                  </a:lnTo>
                  <a:lnTo>
                    <a:pt x="46" y="260"/>
                  </a:lnTo>
                  <a:lnTo>
                    <a:pt x="48" y="260"/>
                  </a:lnTo>
                  <a:lnTo>
                    <a:pt x="48" y="262"/>
                  </a:lnTo>
                  <a:lnTo>
                    <a:pt x="48" y="262"/>
                  </a:lnTo>
                  <a:lnTo>
                    <a:pt x="52" y="262"/>
                  </a:lnTo>
                  <a:lnTo>
                    <a:pt x="52" y="262"/>
                  </a:lnTo>
                  <a:lnTo>
                    <a:pt x="52" y="266"/>
                  </a:lnTo>
                  <a:lnTo>
                    <a:pt x="52" y="266"/>
                  </a:lnTo>
                  <a:lnTo>
                    <a:pt x="56" y="270"/>
                  </a:lnTo>
                  <a:lnTo>
                    <a:pt x="56" y="270"/>
                  </a:lnTo>
                  <a:lnTo>
                    <a:pt x="64" y="268"/>
                  </a:lnTo>
                  <a:lnTo>
                    <a:pt x="68" y="266"/>
                  </a:lnTo>
                  <a:lnTo>
                    <a:pt x="70" y="264"/>
                  </a:lnTo>
                  <a:lnTo>
                    <a:pt x="70" y="264"/>
                  </a:lnTo>
                  <a:lnTo>
                    <a:pt x="70" y="260"/>
                  </a:lnTo>
                  <a:lnTo>
                    <a:pt x="70" y="258"/>
                  </a:lnTo>
                  <a:lnTo>
                    <a:pt x="72" y="254"/>
                  </a:lnTo>
                  <a:lnTo>
                    <a:pt x="74" y="254"/>
                  </a:lnTo>
                  <a:lnTo>
                    <a:pt x="74" y="254"/>
                  </a:lnTo>
                  <a:lnTo>
                    <a:pt x="76" y="258"/>
                  </a:lnTo>
                  <a:lnTo>
                    <a:pt x="76" y="260"/>
                  </a:lnTo>
                  <a:lnTo>
                    <a:pt x="74" y="260"/>
                  </a:lnTo>
                  <a:lnTo>
                    <a:pt x="74" y="260"/>
                  </a:lnTo>
                  <a:lnTo>
                    <a:pt x="74" y="266"/>
                  </a:lnTo>
                  <a:lnTo>
                    <a:pt x="74" y="266"/>
                  </a:lnTo>
                  <a:lnTo>
                    <a:pt x="78" y="268"/>
                  </a:lnTo>
                  <a:lnTo>
                    <a:pt x="78" y="268"/>
                  </a:lnTo>
                  <a:lnTo>
                    <a:pt x="80" y="274"/>
                  </a:lnTo>
                  <a:lnTo>
                    <a:pt x="80" y="278"/>
                  </a:lnTo>
                  <a:lnTo>
                    <a:pt x="80" y="278"/>
                  </a:lnTo>
                  <a:lnTo>
                    <a:pt x="78" y="280"/>
                  </a:lnTo>
                  <a:lnTo>
                    <a:pt x="78" y="284"/>
                  </a:lnTo>
                  <a:lnTo>
                    <a:pt x="78" y="284"/>
                  </a:lnTo>
                  <a:lnTo>
                    <a:pt x="84" y="284"/>
                  </a:lnTo>
                  <a:lnTo>
                    <a:pt x="84" y="284"/>
                  </a:lnTo>
                  <a:lnTo>
                    <a:pt x="82" y="286"/>
                  </a:lnTo>
                  <a:lnTo>
                    <a:pt x="82" y="286"/>
                  </a:lnTo>
                  <a:lnTo>
                    <a:pt x="80" y="290"/>
                  </a:lnTo>
                  <a:lnTo>
                    <a:pt x="80" y="290"/>
                  </a:lnTo>
                  <a:lnTo>
                    <a:pt x="82" y="290"/>
                  </a:lnTo>
                  <a:lnTo>
                    <a:pt x="82" y="290"/>
                  </a:lnTo>
                  <a:lnTo>
                    <a:pt x="82" y="292"/>
                  </a:lnTo>
                  <a:lnTo>
                    <a:pt x="82" y="292"/>
                  </a:lnTo>
                  <a:lnTo>
                    <a:pt x="82" y="292"/>
                  </a:lnTo>
                  <a:lnTo>
                    <a:pt x="82" y="292"/>
                  </a:lnTo>
                  <a:lnTo>
                    <a:pt x="82" y="296"/>
                  </a:lnTo>
                  <a:lnTo>
                    <a:pt x="82" y="296"/>
                  </a:lnTo>
                  <a:lnTo>
                    <a:pt x="86" y="294"/>
                  </a:lnTo>
                  <a:lnTo>
                    <a:pt x="88" y="292"/>
                  </a:lnTo>
                  <a:lnTo>
                    <a:pt x="92" y="288"/>
                  </a:lnTo>
                  <a:lnTo>
                    <a:pt x="92" y="288"/>
                  </a:lnTo>
                  <a:lnTo>
                    <a:pt x="102" y="282"/>
                  </a:lnTo>
                  <a:lnTo>
                    <a:pt x="104" y="282"/>
                  </a:lnTo>
                  <a:lnTo>
                    <a:pt x="104" y="282"/>
                  </a:lnTo>
                  <a:lnTo>
                    <a:pt x="106" y="284"/>
                  </a:lnTo>
                  <a:lnTo>
                    <a:pt x="108" y="288"/>
                  </a:lnTo>
                  <a:lnTo>
                    <a:pt x="108" y="288"/>
                  </a:lnTo>
                  <a:lnTo>
                    <a:pt x="108" y="288"/>
                  </a:lnTo>
                  <a:lnTo>
                    <a:pt x="114" y="286"/>
                  </a:lnTo>
                  <a:lnTo>
                    <a:pt x="114" y="286"/>
                  </a:lnTo>
                  <a:lnTo>
                    <a:pt x="116" y="290"/>
                  </a:lnTo>
                  <a:lnTo>
                    <a:pt x="118" y="294"/>
                  </a:lnTo>
                  <a:lnTo>
                    <a:pt x="118" y="294"/>
                  </a:lnTo>
                  <a:lnTo>
                    <a:pt x="120" y="296"/>
                  </a:lnTo>
                  <a:lnTo>
                    <a:pt x="120" y="296"/>
                  </a:lnTo>
                  <a:lnTo>
                    <a:pt x="122" y="298"/>
                  </a:lnTo>
                  <a:lnTo>
                    <a:pt x="122" y="298"/>
                  </a:lnTo>
                  <a:lnTo>
                    <a:pt x="124" y="296"/>
                  </a:lnTo>
                  <a:lnTo>
                    <a:pt x="124" y="296"/>
                  </a:lnTo>
                  <a:lnTo>
                    <a:pt x="122" y="294"/>
                  </a:lnTo>
                  <a:lnTo>
                    <a:pt x="124" y="292"/>
                  </a:lnTo>
                  <a:lnTo>
                    <a:pt x="124" y="292"/>
                  </a:lnTo>
                  <a:lnTo>
                    <a:pt x="128" y="292"/>
                  </a:lnTo>
                  <a:lnTo>
                    <a:pt x="128" y="292"/>
                  </a:lnTo>
                  <a:lnTo>
                    <a:pt x="130" y="288"/>
                  </a:lnTo>
                  <a:lnTo>
                    <a:pt x="130" y="288"/>
                  </a:lnTo>
                  <a:lnTo>
                    <a:pt x="132" y="294"/>
                  </a:lnTo>
                  <a:lnTo>
                    <a:pt x="132" y="294"/>
                  </a:lnTo>
                  <a:lnTo>
                    <a:pt x="138" y="292"/>
                  </a:lnTo>
                  <a:lnTo>
                    <a:pt x="144" y="290"/>
                  </a:lnTo>
                  <a:lnTo>
                    <a:pt x="144" y="290"/>
                  </a:lnTo>
                  <a:lnTo>
                    <a:pt x="146" y="286"/>
                  </a:lnTo>
                  <a:lnTo>
                    <a:pt x="146" y="286"/>
                  </a:lnTo>
                  <a:lnTo>
                    <a:pt x="150" y="286"/>
                  </a:lnTo>
                  <a:lnTo>
                    <a:pt x="150" y="286"/>
                  </a:lnTo>
                  <a:lnTo>
                    <a:pt x="148" y="292"/>
                  </a:lnTo>
                  <a:lnTo>
                    <a:pt x="146" y="296"/>
                  </a:lnTo>
                  <a:lnTo>
                    <a:pt x="146" y="296"/>
                  </a:lnTo>
                  <a:lnTo>
                    <a:pt x="144" y="298"/>
                  </a:lnTo>
                  <a:lnTo>
                    <a:pt x="140" y="302"/>
                  </a:lnTo>
                  <a:lnTo>
                    <a:pt x="140" y="302"/>
                  </a:lnTo>
                  <a:lnTo>
                    <a:pt x="140" y="304"/>
                  </a:lnTo>
                  <a:lnTo>
                    <a:pt x="140" y="308"/>
                  </a:lnTo>
                  <a:lnTo>
                    <a:pt x="136" y="308"/>
                  </a:lnTo>
                  <a:lnTo>
                    <a:pt x="136" y="308"/>
                  </a:lnTo>
                  <a:lnTo>
                    <a:pt x="136" y="320"/>
                  </a:lnTo>
                  <a:lnTo>
                    <a:pt x="136" y="320"/>
                  </a:lnTo>
                  <a:lnTo>
                    <a:pt x="134" y="320"/>
                  </a:lnTo>
                  <a:lnTo>
                    <a:pt x="134" y="320"/>
                  </a:lnTo>
                  <a:lnTo>
                    <a:pt x="132" y="324"/>
                  </a:lnTo>
                  <a:lnTo>
                    <a:pt x="132" y="326"/>
                  </a:lnTo>
                  <a:lnTo>
                    <a:pt x="132" y="326"/>
                  </a:lnTo>
                  <a:lnTo>
                    <a:pt x="128" y="330"/>
                  </a:lnTo>
                  <a:lnTo>
                    <a:pt x="126" y="332"/>
                  </a:lnTo>
                  <a:lnTo>
                    <a:pt x="126" y="332"/>
                  </a:lnTo>
                  <a:lnTo>
                    <a:pt x="126" y="336"/>
                  </a:lnTo>
                  <a:lnTo>
                    <a:pt x="126" y="336"/>
                  </a:lnTo>
                  <a:lnTo>
                    <a:pt x="122" y="336"/>
                  </a:lnTo>
                  <a:lnTo>
                    <a:pt x="122" y="336"/>
                  </a:lnTo>
                  <a:lnTo>
                    <a:pt x="120" y="338"/>
                  </a:lnTo>
                  <a:lnTo>
                    <a:pt x="116" y="342"/>
                  </a:lnTo>
                  <a:lnTo>
                    <a:pt x="116" y="342"/>
                  </a:lnTo>
                  <a:lnTo>
                    <a:pt x="114" y="342"/>
                  </a:lnTo>
                  <a:lnTo>
                    <a:pt x="114" y="342"/>
                  </a:lnTo>
                  <a:lnTo>
                    <a:pt x="108" y="344"/>
                  </a:lnTo>
                  <a:lnTo>
                    <a:pt x="104" y="346"/>
                  </a:lnTo>
                  <a:lnTo>
                    <a:pt x="102" y="350"/>
                  </a:lnTo>
                  <a:lnTo>
                    <a:pt x="102" y="356"/>
                  </a:lnTo>
                  <a:lnTo>
                    <a:pt x="102" y="356"/>
                  </a:lnTo>
                  <a:lnTo>
                    <a:pt x="94" y="358"/>
                  </a:lnTo>
                  <a:lnTo>
                    <a:pt x="94" y="358"/>
                  </a:lnTo>
                  <a:lnTo>
                    <a:pt x="96" y="354"/>
                  </a:lnTo>
                  <a:lnTo>
                    <a:pt x="96" y="354"/>
                  </a:lnTo>
                  <a:lnTo>
                    <a:pt x="86" y="356"/>
                  </a:lnTo>
                  <a:lnTo>
                    <a:pt x="78" y="358"/>
                  </a:lnTo>
                  <a:lnTo>
                    <a:pt x="78" y="358"/>
                  </a:lnTo>
                  <a:lnTo>
                    <a:pt x="78" y="360"/>
                  </a:lnTo>
                  <a:lnTo>
                    <a:pt x="78" y="364"/>
                  </a:lnTo>
                  <a:lnTo>
                    <a:pt x="78" y="364"/>
                  </a:lnTo>
                  <a:lnTo>
                    <a:pt x="74" y="366"/>
                  </a:lnTo>
                  <a:lnTo>
                    <a:pt x="74" y="366"/>
                  </a:lnTo>
                  <a:lnTo>
                    <a:pt x="72" y="370"/>
                  </a:lnTo>
                  <a:lnTo>
                    <a:pt x="72" y="370"/>
                  </a:lnTo>
                  <a:lnTo>
                    <a:pt x="68" y="374"/>
                  </a:lnTo>
                  <a:lnTo>
                    <a:pt x="64" y="376"/>
                  </a:lnTo>
                  <a:lnTo>
                    <a:pt x="64" y="376"/>
                  </a:lnTo>
                  <a:lnTo>
                    <a:pt x="64" y="378"/>
                  </a:lnTo>
                  <a:lnTo>
                    <a:pt x="64" y="378"/>
                  </a:lnTo>
                  <a:lnTo>
                    <a:pt x="66" y="376"/>
                  </a:lnTo>
                  <a:lnTo>
                    <a:pt x="66" y="376"/>
                  </a:lnTo>
                  <a:lnTo>
                    <a:pt x="66" y="378"/>
                  </a:lnTo>
                  <a:lnTo>
                    <a:pt x="70" y="378"/>
                  </a:lnTo>
                  <a:lnTo>
                    <a:pt x="70" y="374"/>
                  </a:lnTo>
                  <a:lnTo>
                    <a:pt x="72" y="374"/>
                  </a:lnTo>
                  <a:lnTo>
                    <a:pt x="72" y="374"/>
                  </a:lnTo>
                  <a:lnTo>
                    <a:pt x="74" y="376"/>
                  </a:lnTo>
                  <a:lnTo>
                    <a:pt x="76" y="378"/>
                  </a:lnTo>
                  <a:lnTo>
                    <a:pt x="76" y="378"/>
                  </a:lnTo>
                  <a:lnTo>
                    <a:pt x="84" y="362"/>
                  </a:lnTo>
                  <a:lnTo>
                    <a:pt x="84" y="362"/>
                  </a:lnTo>
                  <a:lnTo>
                    <a:pt x="90" y="362"/>
                  </a:lnTo>
                  <a:lnTo>
                    <a:pt x="90" y="362"/>
                  </a:lnTo>
                  <a:lnTo>
                    <a:pt x="90" y="362"/>
                  </a:lnTo>
                  <a:lnTo>
                    <a:pt x="88" y="364"/>
                  </a:lnTo>
                  <a:lnTo>
                    <a:pt x="86" y="366"/>
                  </a:lnTo>
                  <a:lnTo>
                    <a:pt x="86" y="366"/>
                  </a:lnTo>
                  <a:lnTo>
                    <a:pt x="94" y="366"/>
                  </a:lnTo>
                  <a:lnTo>
                    <a:pt x="94" y="364"/>
                  </a:lnTo>
                  <a:lnTo>
                    <a:pt x="94" y="364"/>
                  </a:lnTo>
                  <a:lnTo>
                    <a:pt x="102" y="362"/>
                  </a:lnTo>
                  <a:lnTo>
                    <a:pt x="106" y="358"/>
                  </a:lnTo>
                  <a:lnTo>
                    <a:pt x="106" y="358"/>
                  </a:lnTo>
                  <a:lnTo>
                    <a:pt x="110" y="358"/>
                  </a:lnTo>
                  <a:lnTo>
                    <a:pt x="110" y="358"/>
                  </a:lnTo>
                  <a:lnTo>
                    <a:pt x="110" y="362"/>
                  </a:lnTo>
                  <a:lnTo>
                    <a:pt x="110" y="362"/>
                  </a:lnTo>
                  <a:lnTo>
                    <a:pt x="112" y="360"/>
                  </a:lnTo>
                  <a:lnTo>
                    <a:pt x="112" y="356"/>
                  </a:lnTo>
                  <a:lnTo>
                    <a:pt x="112" y="356"/>
                  </a:lnTo>
                  <a:lnTo>
                    <a:pt x="114" y="358"/>
                  </a:lnTo>
                  <a:lnTo>
                    <a:pt x="116" y="358"/>
                  </a:lnTo>
                  <a:lnTo>
                    <a:pt x="116" y="358"/>
                  </a:lnTo>
                  <a:lnTo>
                    <a:pt x="118" y="354"/>
                  </a:lnTo>
                  <a:lnTo>
                    <a:pt x="118" y="350"/>
                  </a:lnTo>
                  <a:lnTo>
                    <a:pt x="118" y="350"/>
                  </a:lnTo>
                  <a:lnTo>
                    <a:pt x="122" y="354"/>
                  </a:lnTo>
                  <a:lnTo>
                    <a:pt x="124" y="348"/>
                  </a:lnTo>
                  <a:lnTo>
                    <a:pt x="124" y="348"/>
                  </a:lnTo>
                  <a:lnTo>
                    <a:pt x="122" y="348"/>
                  </a:lnTo>
                  <a:lnTo>
                    <a:pt x="122" y="346"/>
                  </a:lnTo>
                  <a:lnTo>
                    <a:pt x="122" y="346"/>
                  </a:lnTo>
                  <a:lnTo>
                    <a:pt x="124" y="346"/>
                  </a:lnTo>
                  <a:lnTo>
                    <a:pt x="124" y="346"/>
                  </a:lnTo>
                  <a:lnTo>
                    <a:pt x="124" y="346"/>
                  </a:lnTo>
                  <a:lnTo>
                    <a:pt x="124" y="346"/>
                  </a:lnTo>
                  <a:lnTo>
                    <a:pt x="132" y="342"/>
                  </a:lnTo>
                  <a:lnTo>
                    <a:pt x="132" y="342"/>
                  </a:lnTo>
                  <a:lnTo>
                    <a:pt x="130" y="342"/>
                  </a:lnTo>
                  <a:lnTo>
                    <a:pt x="130" y="340"/>
                  </a:lnTo>
                  <a:lnTo>
                    <a:pt x="130" y="340"/>
                  </a:lnTo>
                  <a:lnTo>
                    <a:pt x="134" y="340"/>
                  </a:lnTo>
                  <a:lnTo>
                    <a:pt x="136" y="340"/>
                  </a:lnTo>
                  <a:lnTo>
                    <a:pt x="136" y="340"/>
                  </a:lnTo>
                  <a:lnTo>
                    <a:pt x="138" y="334"/>
                  </a:lnTo>
                  <a:lnTo>
                    <a:pt x="138" y="334"/>
                  </a:lnTo>
                  <a:lnTo>
                    <a:pt x="142" y="336"/>
                  </a:lnTo>
                  <a:lnTo>
                    <a:pt x="142" y="336"/>
                  </a:lnTo>
                  <a:lnTo>
                    <a:pt x="148" y="330"/>
                  </a:lnTo>
                  <a:lnTo>
                    <a:pt x="148" y="330"/>
                  </a:lnTo>
                  <a:lnTo>
                    <a:pt x="148" y="324"/>
                  </a:lnTo>
                  <a:lnTo>
                    <a:pt x="148" y="324"/>
                  </a:lnTo>
                  <a:lnTo>
                    <a:pt x="154" y="322"/>
                  </a:lnTo>
                  <a:lnTo>
                    <a:pt x="154" y="320"/>
                  </a:lnTo>
                  <a:lnTo>
                    <a:pt x="154" y="320"/>
                  </a:lnTo>
                  <a:lnTo>
                    <a:pt x="156" y="320"/>
                  </a:lnTo>
                  <a:lnTo>
                    <a:pt x="156" y="320"/>
                  </a:lnTo>
                  <a:lnTo>
                    <a:pt x="160" y="316"/>
                  </a:lnTo>
                  <a:lnTo>
                    <a:pt x="164" y="312"/>
                  </a:lnTo>
                  <a:lnTo>
                    <a:pt x="164" y="312"/>
                  </a:lnTo>
                  <a:lnTo>
                    <a:pt x="168" y="310"/>
                  </a:lnTo>
                  <a:lnTo>
                    <a:pt x="168" y="310"/>
                  </a:lnTo>
                  <a:lnTo>
                    <a:pt x="168" y="308"/>
                  </a:lnTo>
                  <a:lnTo>
                    <a:pt x="172" y="304"/>
                  </a:lnTo>
                  <a:lnTo>
                    <a:pt x="172" y="304"/>
                  </a:lnTo>
                  <a:lnTo>
                    <a:pt x="180" y="302"/>
                  </a:lnTo>
                  <a:lnTo>
                    <a:pt x="180" y="302"/>
                  </a:lnTo>
                  <a:lnTo>
                    <a:pt x="182" y="300"/>
                  </a:lnTo>
                  <a:lnTo>
                    <a:pt x="182" y="300"/>
                  </a:lnTo>
                  <a:lnTo>
                    <a:pt x="182" y="296"/>
                  </a:lnTo>
                  <a:lnTo>
                    <a:pt x="182" y="296"/>
                  </a:lnTo>
                  <a:lnTo>
                    <a:pt x="184" y="294"/>
                  </a:lnTo>
                  <a:lnTo>
                    <a:pt x="186" y="292"/>
                  </a:lnTo>
                  <a:lnTo>
                    <a:pt x="186" y="290"/>
                  </a:lnTo>
                  <a:lnTo>
                    <a:pt x="186" y="290"/>
                  </a:lnTo>
                  <a:lnTo>
                    <a:pt x="190" y="288"/>
                  </a:lnTo>
                  <a:lnTo>
                    <a:pt x="190" y="288"/>
                  </a:lnTo>
                  <a:lnTo>
                    <a:pt x="190" y="284"/>
                  </a:lnTo>
                  <a:lnTo>
                    <a:pt x="190" y="284"/>
                  </a:lnTo>
                  <a:lnTo>
                    <a:pt x="182" y="284"/>
                  </a:lnTo>
                  <a:lnTo>
                    <a:pt x="182" y="284"/>
                  </a:lnTo>
                  <a:lnTo>
                    <a:pt x="182" y="280"/>
                  </a:lnTo>
                  <a:lnTo>
                    <a:pt x="182" y="276"/>
                  </a:lnTo>
                  <a:lnTo>
                    <a:pt x="182" y="276"/>
                  </a:lnTo>
                  <a:lnTo>
                    <a:pt x="186" y="272"/>
                  </a:lnTo>
                  <a:lnTo>
                    <a:pt x="186" y="272"/>
                  </a:lnTo>
                  <a:lnTo>
                    <a:pt x="186" y="268"/>
                  </a:lnTo>
                  <a:lnTo>
                    <a:pt x="186" y="268"/>
                  </a:lnTo>
                  <a:lnTo>
                    <a:pt x="194" y="268"/>
                  </a:lnTo>
                  <a:lnTo>
                    <a:pt x="194" y="268"/>
                  </a:lnTo>
                  <a:lnTo>
                    <a:pt x="196" y="264"/>
                  </a:lnTo>
                  <a:lnTo>
                    <a:pt x="196" y="264"/>
                  </a:lnTo>
                  <a:lnTo>
                    <a:pt x="200" y="262"/>
                  </a:lnTo>
                  <a:lnTo>
                    <a:pt x="200" y="262"/>
                  </a:lnTo>
                  <a:lnTo>
                    <a:pt x="198" y="258"/>
                  </a:lnTo>
                  <a:lnTo>
                    <a:pt x="198" y="258"/>
                  </a:lnTo>
                  <a:lnTo>
                    <a:pt x="202" y="260"/>
                  </a:lnTo>
                  <a:lnTo>
                    <a:pt x="202" y="260"/>
                  </a:lnTo>
                  <a:lnTo>
                    <a:pt x="204" y="258"/>
                  </a:lnTo>
                  <a:lnTo>
                    <a:pt x="206" y="258"/>
                  </a:lnTo>
                  <a:lnTo>
                    <a:pt x="206" y="258"/>
                  </a:lnTo>
                  <a:lnTo>
                    <a:pt x="208" y="252"/>
                  </a:lnTo>
                  <a:lnTo>
                    <a:pt x="208" y="248"/>
                  </a:lnTo>
                  <a:lnTo>
                    <a:pt x="212" y="246"/>
                  </a:lnTo>
                  <a:lnTo>
                    <a:pt x="212" y="246"/>
                  </a:lnTo>
                  <a:lnTo>
                    <a:pt x="214" y="246"/>
                  </a:lnTo>
                  <a:lnTo>
                    <a:pt x="216" y="246"/>
                  </a:lnTo>
                  <a:lnTo>
                    <a:pt x="216" y="246"/>
                  </a:lnTo>
                  <a:lnTo>
                    <a:pt x="218" y="240"/>
                  </a:lnTo>
                  <a:lnTo>
                    <a:pt x="218" y="240"/>
                  </a:lnTo>
                  <a:lnTo>
                    <a:pt x="220" y="238"/>
                  </a:lnTo>
                  <a:lnTo>
                    <a:pt x="224" y="238"/>
                  </a:lnTo>
                  <a:lnTo>
                    <a:pt x="224" y="238"/>
                  </a:lnTo>
                  <a:lnTo>
                    <a:pt x="232" y="230"/>
                  </a:lnTo>
                  <a:lnTo>
                    <a:pt x="232" y="230"/>
                  </a:lnTo>
                  <a:lnTo>
                    <a:pt x="234" y="234"/>
                  </a:lnTo>
                  <a:lnTo>
                    <a:pt x="234" y="234"/>
                  </a:lnTo>
                  <a:lnTo>
                    <a:pt x="242" y="232"/>
                  </a:lnTo>
                  <a:lnTo>
                    <a:pt x="242" y="232"/>
                  </a:lnTo>
                  <a:lnTo>
                    <a:pt x="244" y="230"/>
                  </a:lnTo>
                  <a:lnTo>
                    <a:pt x="244" y="230"/>
                  </a:lnTo>
                  <a:lnTo>
                    <a:pt x="246" y="230"/>
                  </a:lnTo>
                  <a:lnTo>
                    <a:pt x="244" y="234"/>
                  </a:lnTo>
                  <a:lnTo>
                    <a:pt x="244" y="234"/>
                  </a:lnTo>
                  <a:lnTo>
                    <a:pt x="242" y="234"/>
                  </a:lnTo>
                  <a:lnTo>
                    <a:pt x="242" y="236"/>
                  </a:lnTo>
                  <a:lnTo>
                    <a:pt x="242" y="236"/>
                  </a:lnTo>
                  <a:lnTo>
                    <a:pt x="242" y="236"/>
                  </a:lnTo>
                  <a:lnTo>
                    <a:pt x="246" y="240"/>
                  </a:lnTo>
                  <a:lnTo>
                    <a:pt x="246" y="240"/>
                  </a:lnTo>
                  <a:lnTo>
                    <a:pt x="246" y="242"/>
                  </a:lnTo>
                  <a:lnTo>
                    <a:pt x="244" y="242"/>
                  </a:lnTo>
                  <a:lnTo>
                    <a:pt x="240" y="242"/>
                  </a:lnTo>
                  <a:lnTo>
                    <a:pt x="232" y="240"/>
                  </a:lnTo>
                  <a:lnTo>
                    <a:pt x="232" y="240"/>
                  </a:lnTo>
                  <a:lnTo>
                    <a:pt x="230" y="242"/>
                  </a:lnTo>
                  <a:lnTo>
                    <a:pt x="230" y="242"/>
                  </a:lnTo>
                  <a:lnTo>
                    <a:pt x="220" y="246"/>
                  </a:lnTo>
                  <a:lnTo>
                    <a:pt x="220" y="246"/>
                  </a:lnTo>
                  <a:lnTo>
                    <a:pt x="222" y="262"/>
                  </a:lnTo>
                  <a:lnTo>
                    <a:pt x="222" y="262"/>
                  </a:lnTo>
                  <a:lnTo>
                    <a:pt x="216" y="266"/>
                  </a:lnTo>
                  <a:lnTo>
                    <a:pt x="216" y="266"/>
                  </a:lnTo>
                  <a:lnTo>
                    <a:pt x="218" y="270"/>
                  </a:lnTo>
                  <a:lnTo>
                    <a:pt x="218" y="272"/>
                  </a:lnTo>
                  <a:lnTo>
                    <a:pt x="218" y="272"/>
                  </a:lnTo>
                  <a:lnTo>
                    <a:pt x="220" y="272"/>
                  </a:lnTo>
                  <a:lnTo>
                    <a:pt x="222" y="272"/>
                  </a:lnTo>
                  <a:lnTo>
                    <a:pt x="222" y="272"/>
                  </a:lnTo>
                  <a:lnTo>
                    <a:pt x="224" y="272"/>
                  </a:lnTo>
                  <a:lnTo>
                    <a:pt x="224" y="272"/>
                  </a:lnTo>
                  <a:lnTo>
                    <a:pt x="222" y="276"/>
                  </a:lnTo>
                  <a:lnTo>
                    <a:pt x="222" y="276"/>
                  </a:lnTo>
                  <a:lnTo>
                    <a:pt x="216" y="276"/>
                  </a:lnTo>
                  <a:lnTo>
                    <a:pt x="216" y="276"/>
                  </a:lnTo>
                  <a:lnTo>
                    <a:pt x="214" y="282"/>
                  </a:lnTo>
                  <a:lnTo>
                    <a:pt x="214" y="282"/>
                  </a:lnTo>
                  <a:lnTo>
                    <a:pt x="218" y="282"/>
                  </a:lnTo>
                  <a:lnTo>
                    <a:pt x="222" y="282"/>
                  </a:lnTo>
                  <a:lnTo>
                    <a:pt x="222" y="282"/>
                  </a:lnTo>
                  <a:lnTo>
                    <a:pt x="224" y="280"/>
                  </a:lnTo>
                  <a:lnTo>
                    <a:pt x="224" y="280"/>
                  </a:lnTo>
                  <a:lnTo>
                    <a:pt x="228" y="280"/>
                  </a:lnTo>
                  <a:lnTo>
                    <a:pt x="230" y="280"/>
                  </a:lnTo>
                  <a:lnTo>
                    <a:pt x="230" y="278"/>
                  </a:lnTo>
                  <a:lnTo>
                    <a:pt x="230" y="278"/>
                  </a:lnTo>
                  <a:lnTo>
                    <a:pt x="232" y="278"/>
                  </a:lnTo>
                  <a:lnTo>
                    <a:pt x="236" y="276"/>
                  </a:lnTo>
                  <a:lnTo>
                    <a:pt x="236" y="276"/>
                  </a:lnTo>
                  <a:lnTo>
                    <a:pt x="236" y="272"/>
                  </a:lnTo>
                  <a:lnTo>
                    <a:pt x="236" y="272"/>
                  </a:lnTo>
                  <a:lnTo>
                    <a:pt x="240" y="272"/>
                  </a:lnTo>
                  <a:lnTo>
                    <a:pt x="244" y="270"/>
                  </a:lnTo>
                  <a:lnTo>
                    <a:pt x="244" y="270"/>
                  </a:lnTo>
                  <a:lnTo>
                    <a:pt x="242" y="268"/>
                  </a:lnTo>
                  <a:lnTo>
                    <a:pt x="244" y="266"/>
                  </a:lnTo>
                  <a:lnTo>
                    <a:pt x="244" y="266"/>
                  </a:lnTo>
                  <a:lnTo>
                    <a:pt x="246" y="266"/>
                  </a:lnTo>
                  <a:lnTo>
                    <a:pt x="248" y="268"/>
                  </a:lnTo>
                  <a:lnTo>
                    <a:pt x="248" y="268"/>
                  </a:lnTo>
                  <a:lnTo>
                    <a:pt x="248" y="264"/>
                  </a:lnTo>
                  <a:lnTo>
                    <a:pt x="248" y="264"/>
                  </a:lnTo>
                  <a:lnTo>
                    <a:pt x="250" y="260"/>
                  </a:lnTo>
                  <a:lnTo>
                    <a:pt x="250" y="260"/>
                  </a:lnTo>
                  <a:lnTo>
                    <a:pt x="252" y="262"/>
                  </a:lnTo>
                  <a:lnTo>
                    <a:pt x="252" y="264"/>
                  </a:lnTo>
                  <a:lnTo>
                    <a:pt x="252" y="264"/>
                  </a:lnTo>
                  <a:lnTo>
                    <a:pt x="254" y="262"/>
                  </a:lnTo>
                  <a:lnTo>
                    <a:pt x="254" y="262"/>
                  </a:lnTo>
                  <a:lnTo>
                    <a:pt x="266" y="264"/>
                  </a:lnTo>
                  <a:lnTo>
                    <a:pt x="266" y="264"/>
                  </a:lnTo>
                  <a:lnTo>
                    <a:pt x="266" y="258"/>
                  </a:lnTo>
                  <a:lnTo>
                    <a:pt x="266" y="258"/>
                  </a:lnTo>
                  <a:lnTo>
                    <a:pt x="270" y="258"/>
                  </a:lnTo>
                  <a:lnTo>
                    <a:pt x="270" y="258"/>
                  </a:lnTo>
                  <a:lnTo>
                    <a:pt x="270" y="254"/>
                  </a:lnTo>
                  <a:lnTo>
                    <a:pt x="270" y="248"/>
                  </a:lnTo>
                  <a:lnTo>
                    <a:pt x="270" y="248"/>
                  </a:lnTo>
                  <a:lnTo>
                    <a:pt x="268" y="250"/>
                  </a:lnTo>
                  <a:lnTo>
                    <a:pt x="266" y="250"/>
                  </a:lnTo>
                  <a:lnTo>
                    <a:pt x="266" y="248"/>
                  </a:lnTo>
                  <a:lnTo>
                    <a:pt x="266" y="248"/>
                  </a:lnTo>
                  <a:lnTo>
                    <a:pt x="264" y="248"/>
                  </a:lnTo>
                  <a:lnTo>
                    <a:pt x="264" y="248"/>
                  </a:lnTo>
                  <a:lnTo>
                    <a:pt x="262" y="238"/>
                  </a:lnTo>
                  <a:lnTo>
                    <a:pt x="262" y="238"/>
                  </a:lnTo>
                  <a:lnTo>
                    <a:pt x="270" y="240"/>
                  </a:lnTo>
                  <a:lnTo>
                    <a:pt x="276" y="242"/>
                  </a:lnTo>
                  <a:lnTo>
                    <a:pt x="276" y="242"/>
                  </a:lnTo>
                  <a:lnTo>
                    <a:pt x="276" y="238"/>
                  </a:lnTo>
                  <a:lnTo>
                    <a:pt x="276" y="238"/>
                  </a:lnTo>
                  <a:lnTo>
                    <a:pt x="278" y="240"/>
                  </a:lnTo>
                  <a:lnTo>
                    <a:pt x="278" y="240"/>
                  </a:lnTo>
                  <a:lnTo>
                    <a:pt x="278" y="240"/>
                  </a:lnTo>
                  <a:lnTo>
                    <a:pt x="284" y="240"/>
                  </a:lnTo>
                  <a:lnTo>
                    <a:pt x="284" y="240"/>
                  </a:lnTo>
                  <a:lnTo>
                    <a:pt x="286" y="236"/>
                  </a:lnTo>
                  <a:lnTo>
                    <a:pt x="286" y="236"/>
                  </a:lnTo>
                  <a:lnTo>
                    <a:pt x="286" y="240"/>
                  </a:lnTo>
                  <a:lnTo>
                    <a:pt x="286" y="240"/>
                  </a:lnTo>
                  <a:lnTo>
                    <a:pt x="286" y="240"/>
                  </a:lnTo>
                  <a:lnTo>
                    <a:pt x="286" y="242"/>
                  </a:lnTo>
                  <a:lnTo>
                    <a:pt x="286" y="242"/>
                  </a:lnTo>
                  <a:lnTo>
                    <a:pt x="290" y="244"/>
                  </a:lnTo>
                  <a:lnTo>
                    <a:pt x="290" y="244"/>
                  </a:lnTo>
                  <a:lnTo>
                    <a:pt x="286" y="246"/>
                  </a:lnTo>
                  <a:lnTo>
                    <a:pt x="286" y="246"/>
                  </a:lnTo>
                  <a:lnTo>
                    <a:pt x="292" y="246"/>
                  </a:lnTo>
                  <a:lnTo>
                    <a:pt x="292" y="248"/>
                  </a:lnTo>
                  <a:lnTo>
                    <a:pt x="292" y="248"/>
                  </a:lnTo>
                  <a:lnTo>
                    <a:pt x="298" y="248"/>
                  </a:lnTo>
                  <a:lnTo>
                    <a:pt x="298" y="248"/>
                  </a:lnTo>
                  <a:lnTo>
                    <a:pt x="296" y="252"/>
                  </a:lnTo>
                  <a:lnTo>
                    <a:pt x="296" y="252"/>
                  </a:lnTo>
                  <a:lnTo>
                    <a:pt x="296" y="252"/>
                  </a:lnTo>
                  <a:lnTo>
                    <a:pt x="296" y="256"/>
                  </a:lnTo>
                  <a:lnTo>
                    <a:pt x="296" y="256"/>
                  </a:lnTo>
                  <a:lnTo>
                    <a:pt x="302" y="254"/>
                  </a:lnTo>
                  <a:lnTo>
                    <a:pt x="302" y="254"/>
                  </a:lnTo>
                  <a:lnTo>
                    <a:pt x="306" y="252"/>
                  </a:lnTo>
                  <a:lnTo>
                    <a:pt x="306" y="252"/>
                  </a:lnTo>
                  <a:lnTo>
                    <a:pt x="306" y="258"/>
                  </a:lnTo>
                  <a:lnTo>
                    <a:pt x="306" y="258"/>
                  </a:lnTo>
                  <a:lnTo>
                    <a:pt x="310" y="260"/>
                  </a:lnTo>
                  <a:lnTo>
                    <a:pt x="310" y="260"/>
                  </a:lnTo>
                  <a:lnTo>
                    <a:pt x="314" y="260"/>
                  </a:lnTo>
                  <a:lnTo>
                    <a:pt x="314" y="260"/>
                  </a:lnTo>
                  <a:lnTo>
                    <a:pt x="318" y="264"/>
                  </a:lnTo>
                  <a:lnTo>
                    <a:pt x="318" y="264"/>
                  </a:lnTo>
                  <a:lnTo>
                    <a:pt x="332" y="268"/>
                  </a:lnTo>
                  <a:lnTo>
                    <a:pt x="332" y="268"/>
                  </a:lnTo>
                  <a:lnTo>
                    <a:pt x="336" y="266"/>
                  </a:lnTo>
                  <a:lnTo>
                    <a:pt x="340" y="264"/>
                  </a:lnTo>
                  <a:lnTo>
                    <a:pt x="342" y="264"/>
                  </a:lnTo>
                  <a:lnTo>
                    <a:pt x="342" y="264"/>
                  </a:lnTo>
                  <a:lnTo>
                    <a:pt x="346" y="266"/>
                  </a:lnTo>
                  <a:lnTo>
                    <a:pt x="350" y="268"/>
                  </a:lnTo>
                  <a:lnTo>
                    <a:pt x="350" y="268"/>
                  </a:lnTo>
                  <a:lnTo>
                    <a:pt x="352" y="266"/>
                  </a:lnTo>
                  <a:lnTo>
                    <a:pt x="354" y="266"/>
                  </a:lnTo>
                  <a:lnTo>
                    <a:pt x="354" y="266"/>
                  </a:lnTo>
                  <a:lnTo>
                    <a:pt x="356" y="270"/>
                  </a:lnTo>
                  <a:lnTo>
                    <a:pt x="356" y="270"/>
                  </a:lnTo>
                  <a:lnTo>
                    <a:pt x="366" y="272"/>
                  </a:lnTo>
                  <a:lnTo>
                    <a:pt x="372" y="272"/>
                  </a:lnTo>
                  <a:lnTo>
                    <a:pt x="378" y="272"/>
                  </a:lnTo>
                  <a:lnTo>
                    <a:pt x="378" y="272"/>
                  </a:lnTo>
                  <a:lnTo>
                    <a:pt x="382" y="268"/>
                  </a:lnTo>
                  <a:lnTo>
                    <a:pt x="382" y="268"/>
                  </a:lnTo>
                  <a:lnTo>
                    <a:pt x="382" y="276"/>
                  </a:lnTo>
                  <a:lnTo>
                    <a:pt x="382" y="276"/>
                  </a:lnTo>
                  <a:lnTo>
                    <a:pt x="378" y="278"/>
                  </a:lnTo>
                  <a:lnTo>
                    <a:pt x="378" y="278"/>
                  </a:lnTo>
                  <a:lnTo>
                    <a:pt x="382" y="280"/>
                  </a:lnTo>
                  <a:lnTo>
                    <a:pt x="382" y="280"/>
                  </a:lnTo>
                  <a:lnTo>
                    <a:pt x="386" y="280"/>
                  </a:lnTo>
                  <a:lnTo>
                    <a:pt x="386" y="280"/>
                  </a:lnTo>
                  <a:lnTo>
                    <a:pt x="388" y="284"/>
                  </a:lnTo>
                  <a:lnTo>
                    <a:pt x="388" y="284"/>
                  </a:lnTo>
                  <a:lnTo>
                    <a:pt x="392" y="284"/>
                  </a:lnTo>
                  <a:lnTo>
                    <a:pt x="392" y="284"/>
                  </a:lnTo>
                  <a:lnTo>
                    <a:pt x="394" y="284"/>
                  </a:lnTo>
                  <a:lnTo>
                    <a:pt x="394" y="284"/>
                  </a:lnTo>
                  <a:lnTo>
                    <a:pt x="394" y="284"/>
                  </a:lnTo>
                  <a:lnTo>
                    <a:pt x="394" y="282"/>
                  </a:lnTo>
                  <a:lnTo>
                    <a:pt x="394" y="282"/>
                  </a:lnTo>
                  <a:lnTo>
                    <a:pt x="394" y="280"/>
                  </a:lnTo>
                  <a:lnTo>
                    <a:pt x="394" y="280"/>
                  </a:lnTo>
                  <a:lnTo>
                    <a:pt x="400" y="280"/>
                  </a:lnTo>
                  <a:lnTo>
                    <a:pt x="400" y="280"/>
                  </a:lnTo>
                  <a:lnTo>
                    <a:pt x="396" y="288"/>
                  </a:lnTo>
                  <a:lnTo>
                    <a:pt x="396" y="288"/>
                  </a:lnTo>
                  <a:lnTo>
                    <a:pt x="408" y="302"/>
                  </a:lnTo>
                  <a:lnTo>
                    <a:pt x="408" y="302"/>
                  </a:lnTo>
                  <a:lnTo>
                    <a:pt x="414" y="302"/>
                  </a:lnTo>
                  <a:lnTo>
                    <a:pt x="416" y="302"/>
                  </a:lnTo>
                  <a:lnTo>
                    <a:pt x="416" y="302"/>
                  </a:lnTo>
                  <a:lnTo>
                    <a:pt x="416" y="306"/>
                  </a:lnTo>
                  <a:lnTo>
                    <a:pt x="416" y="306"/>
                  </a:lnTo>
                  <a:lnTo>
                    <a:pt x="420" y="306"/>
                  </a:lnTo>
                  <a:lnTo>
                    <a:pt x="424" y="312"/>
                  </a:lnTo>
                  <a:lnTo>
                    <a:pt x="424" y="312"/>
                  </a:lnTo>
                  <a:lnTo>
                    <a:pt x="424" y="316"/>
                  </a:lnTo>
                  <a:lnTo>
                    <a:pt x="424" y="318"/>
                  </a:lnTo>
                  <a:lnTo>
                    <a:pt x="424" y="318"/>
                  </a:lnTo>
                  <a:lnTo>
                    <a:pt x="428" y="320"/>
                  </a:lnTo>
                  <a:lnTo>
                    <a:pt x="430" y="320"/>
                  </a:lnTo>
                  <a:lnTo>
                    <a:pt x="430" y="320"/>
                  </a:lnTo>
                  <a:lnTo>
                    <a:pt x="434" y="326"/>
                  </a:lnTo>
                  <a:lnTo>
                    <a:pt x="434" y="326"/>
                  </a:lnTo>
                  <a:lnTo>
                    <a:pt x="436" y="326"/>
                  </a:lnTo>
                  <a:lnTo>
                    <a:pt x="436" y="326"/>
                  </a:lnTo>
                  <a:lnTo>
                    <a:pt x="436" y="320"/>
                  </a:lnTo>
                  <a:lnTo>
                    <a:pt x="436" y="320"/>
                  </a:lnTo>
                  <a:lnTo>
                    <a:pt x="442" y="326"/>
                  </a:lnTo>
                  <a:lnTo>
                    <a:pt x="442" y="326"/>
                  </a:lnTo>
                  <a:lnTo>
                    <a:pt x="446" y="326"/>
                  </a:lnTo>
                  <a:lnTo>
                    <a:pt x="446" y="326"/>
                  </a:lnTo>
                  <a:lnTo>
                    <a:pt x="446" y="318"/>
                  </a:lnTo>
                  <a:lnTo>
                    <a:pt x="446" y="318"/>
                  </a:lnTo>
                  <a:lnTo>
                    <a:pt x="442" y="318"/>
                  </a:lnTo>
                  <a:lnTo>
                    <a:pt x="442" y="318"/>
                  </a:lnTo>
                  <a:lnTo>
                    <a:pt x="444" y="316"/>
                  </a:lnTo>
                  <a:lnTo>
                    <a:pt x="444" y="314"/>
                  </a:lnTo>
                  <a:lnTo>
                    <a:pt x="440" y="312"/>
                  </a:lnTo>
                  <a:lnTo>
                    <a:pt x="424" y="310"/>
                  </a:lnTo>
                  <a:lnTo>
                    <a:pt x="424" y="310"/>
                  </a:lnTo>
                  <a:lnTo>
                    <a:pt x="424" y="306"/>
                  </a:lnTo>
                  <a:lnTo>
                    <a:pt x="424" y="306"/>
                  </a:lnTo>
                  <a:lnTo>
                    <a:pt x="426" y="308"/>
                  </a:lnTo>
                  <a:lnTo>
                    <a:pt x="426" y="308"/>
                  </a:lnTo>
                  <a:lnTo>
                    <a:pt x="432" y="306"/>
                  </a:lnTo>
                  <a:lnTo>
                    <a:pt x="438" y="302"/>
                  </a:lnTo>
                  <a:lnTo>
                    <a:pt x="438" y="302"/>
                  </a:lnTo>
                  <a:lnTo>
                    <a:pt x="440" y="306"/>
                  </a:lnTo>
                  <a:lnTo>
                    <a:pt x="442" y="306"/>
                  </a:lnTo>
                  <a:lnTo>
                    <a:pt x="442" y="306"/>
                  </a:lnTo>
                  <a:lnTo>
                    <a:pt x="440" y="300"/>
                  </a:lnTo>
                  <a:lnTo>
                    <a:pt x="442" y="292"/>
                  </a:lnTo>
                  <a:lnTo>
                    <a:pt x="442" y="292"/>
                  </a:lnTo>
                  <a:lnTo>
                    <a:pt x="444" y="294"/>
                  </a:lnTo>
                  <a:lnTo>
                    <a:pt x="444" y="294"/>
                  </a:lnTo>
                  <a:lnTo>
                    <a:pt x="444" y="300"/>
                  </a:lnTo>
                  <a:lnTo>
                    <a:pt x="446" y="304"/>
                  </a:lnTo>
                  <a:lnTo>
                    <a:pt x="450" y="306"/>
                  </a:lnTo>
                  <a:lnTo>
                    <a:pt x="450" y="306"/>
                  </a:lnTo>
                  <a:lnTo>
                    <a:pt x="454" y="304"/>
                  </a:lnTo>
                  <a:lnTo>
                    <a:pt x="454" y="304"/>
                  </a:lnTo>
                  <a:lnTo>
                    <a:pt x="456" y="310"/>
                  </a:lnTo>
                  <a:lnTo>
                    <a:pt x="456" y="310"/>
                  </a:lnTo>
                  <a:lnTo>
                    <a:pt x="458" y="310"/>
                  </a:lnTo>
                  <a:lnTo>
                    <a:pt x="460" y="310"/>
                  </a:lnTo>
                  <a:lnTo>
                    <a:pt x="460" y="310"/>
                  </a:lnTo>
                  <a:lnTo>
                    <a:pt x="460" y="312"/>
                  </a:lnTo>
                  <a:lnTo>
                    <a:pt x="460" y="316"/>
                  </a:lnTo>
                  <a:lnTo>
                    <a:pt x="464" y="320"/>
                  </a:lnTo>
                  <a:lnTo>
                    <a:pt x="464" y="320"/>
                  </a:lnTo>
                  <a:lnTo>
                    <a:pt x="464" y="324"/>
                  </a:lnTo>
                  <a:lnTo>
                    <a:pt x="466" y="332"/>
                  </a:lnTo>
                  <a:lnTo>
                    <a:pt x="466" y="332"/>
                  </a:lnTo>
                  <a:lnTo>
                    <a:pt x="472" y="334"/>
                  </a:lnTo>
                  <a:lnTo>
                    <a:pt x="472" y="334"/>
                  </a:lnTo>
                  <a:lnTo>
                    <a:pt x="472" y="336"/>
                  </a:lnTo>
                  <a:lnTo>
                    <a:pt x="472" y="340"/>
                  </a:lnTo>
                  <a:lnTo>
                    <a:pt x="472" y="340"/>
                  </a:lnTo>
                  <a:lnTo>
                    <a:pt x="472" y="340"/>
                  </a:lnTo>
                  <a:lnTo>
                    <a:pt x="474" y="342"/>
                  </a:lnTo>
                  <a:lnTo>
                    <a:pt x="474" y="342"/>
                  </a:lnTo>
                  <a:lnTo>
                    <a:pt x="476" y="342"/>
                  </a:lnTo>
                  <a:lnTo>
                    <a:pt x="476" y="342"/>
                  </a:lnTo>
                  <a:lnTo>
                    <a:pt x="482" y="348"/>
                  </a:lnTo>
                  <a:lnTo>
                    <a:pt x="482" y="348"/>
                  </a:lnTo>
                  <a:lnTo>
                    <a:pt x="480" y="348"/>
                  </a:lnTo>
                  <a:lnTo>
                    <a:pt x="480" y="350"/>
                  </a:lnTo>
                  <a:lnTo>
                    <a:pt x="480" y="350"/>
                  </a:lnTo>
                  <a:lnTo>
                    <a:pt x="482" y="352"/>
                  </a:lnTo>
                  <a:lnTo>
                    <a:pt x="482" y="352"/>
                  </a:lnTo>
                  <a:lnTo>
                    <a:pt x="482" y="350"/>
                  </a:lnTo>
                  <a:lnTo>
                    <a:pt x="484" y="348"/>
                  </a:lnTo>
                  <a:lnTo>
                    <a:pt x="484" y="348"/>
                  </a:lnTo>
                  <a:lnTo>
                    <a:pt x="486" y="350"/>
                  </a:lnTo>
                  <a:lnTo>
                    <a:pt x="486" y="350"/>
                  </a:lnTo>
                  <a:lnTo>
                    <a:pt x="484" y="364"/>
                  </a:lnTo>
                  <a:lnTo>
                    <a:pt x="484" y="364"/>
                  </a:lnTo>
                  <a:lnTo>
                    <a:pt x="486" y="364"/>
                  </a:lnTo>
                  <a:lnTo>
                    <a:pt x="488" y="364"/>
                  </a:lnTo>
                  <a:lnTo>
                    <a:pt x="488" y="364"/>
                  </a:lnTo>
                  <a:lnTo>
                    <a:pt x="488" y="358"/>
                  </a:lnTo>
                  <a:lnTo>
                    <a:pt x="488" y="358"/>
                  </a:lnTo>
                  <a:lnTo>
                    <a:pt x="494" y="356"/>
                  </a:lnTo>
                  <a:lnTo>
                    <a:pt x="494" y="356"/>
                  </a:lnTo>
                  <a:lnTo>
                    <a:pt x="494" y="360"/>
                  </a:lnTo>
                  <a:lnTo>
                    <a:pt x="494" y="360"/>
                  </a:lnTo>
                  <a:lnTo>
                    <a:pt x="492" y="360"/>
                  </a:lnTo>
                  <a:lnTo>
                    <a:pt x="492" y="360"/>
                  </a:lnTo>
                  <a:lnTo>
                    <a:pt x="490" y="366"/>
                  </a:lnTo>
                  <a:lnTo>
                    <a:pt x="490" y="366"/>
                  </a:lnTo>
                  <a:lnTo>
                    <a:pt x="492" y="372"/>
                  </a:lnTo>
                  <a:lnTo>
                    <a:pt x="492" y="372"/>
                  </a:lnTo>
                  <a:lnTo>
                    <a:pt x="498" y="372"/>
                  </a:lnTo>
                  <a:lnTo>
                    <a:pt x="498" y="364"/>
                  </a:lnTo>
                  <a:lnTo>
                    <a:pt x="498" y="364"/>
                  </a:lnTo>
                  <a:lnTo>
                    <a:pt x="500" y="366"/>
                  </a:lnTo>
                  <a:lnTo>
                    <a:pt x="500" y="366"/>
                  </a:lnTo>
                  <a:lnTo>
                    <a:pt x="502" y="372"/>
                  </a:lnTo>
                  <a:lnTo>
                    <a:pt x="502" y="372"/>
                  </a:lnTo>
                  <a:lnTo>
                    <a:pt x="502" y="374"/>
                  </a:lnTo>
                  <a:lnTo>
                    <a:pt x="502" y="376"/>
                  </a:lnTo>
                  <a:lnTo>
                    <a:pt x="502" y="376"/>
                  </a:lnTo>
                  <a:lnTo>
                    <a:pt x="498" y="376"/>
                  </a:lnTo>
                  <a:lnTo>
                    <a:pt x="496" y="376"/>
                  </a:lnTo>
                  <a:lnTo>
                    <a:pt x="496" y="376"/>
                  </a:lnTo>
                  <a:lnTo>
                    <a:pt x="496" y="376"/>
                  </a:lnTo>
                  <a:lnTo>
                    <a:pt x="498" y="378"/>
                  </a:lnTo>
                  <a:lnTo>
                    <a:pt x="498" y="378"/>
                  </a:lnTo>
                  <a:lnTo>
                    <a:pt x="498" y="378"/>
                  </a:lnTo>
                  <a:lnTo>
                    <a:pt x="498" y="380"/>
                  </a:lnTo>
                  <a:lnTo>
                    <a:pt x="500" y="380"/>
                  </a:lnTo>
                  <a:lnTo>
                    <a:pt x="502" y="380"/>
                  </a:lnTo>
                  <a:lnTo>
                    <a:pt x="502" y="380"/>
                  </a:lnTo>
                  <a:lnTo>
                    <a:pt x="498" y="382"/>
                  </a:lnTo>
                  <a:lnTo>
                    <a:pt x="500" y="384"/>
                  </a:lnTo>
                  <a:lnTo>
                    <a:pt x="500" y="384"/>
                  </a:lnTo>
                  <a:lnTo>
                    <a:pt x="502" y="384"/>
                  </a:lnTo>
                  <a:lnTo>
                    <a:pt x="506" y="386"/>
                  </a:lnTo>
                  <a:lnTo>
                    <a:pt x="506" y="386"/>
                  </a:lnTo>
                  <a:lnTo>
                    <a:pt x="508" y="382"/>
                  </a:lnTo>
                  <a:lnTo>
                    <a:pt x="510" y="378"/>
                  </a:lnTo>
                  <a:lnTo>
                    <a:pt x="510" y="378"/>
                  </a:lnTo>
                  <a:lnTo>
                    <a:pt x="512" y="378"/>
                  </a:lnTo>
                  <a:lnTo>
                    <a:pt x="512" y="378"/>
                  </a:lnTo>
                  <a:lnTo>
                    <a:pt x="512" y="376"/>
                  </a:lnTo>
                  <a:lnTo>
                    <a:pt x="512" y="376"/>
                  </a:lnTo>
                  <a:lnTo>
                    <a:pt x="514" y="372"/>
                  </a:lnTo>
                  <a:lnTo>
                    <a:pt x="514" y="372"/>
                  </a:lnTo>
                  <a:lnTo>
                    <a:pt x="516" y="370"/>
                  </a:lnTo>
                  <a:lnTo>
                    <a:pt x="514" y="366"/>
                  </a:lnTo>
                  <a:lnTo>
                    <a:pt x="514" y="366"/>
                  </a:lnTo>
                  <a:lnTo>
                    <a:pt x="514" y="364"/>
                  </a:lnTo>
                  <a:lnTo>
                    <a:pt x="516" y="362"/>
                  </a:lnTo>
                  <a:lnTo>
                    <a:pt x="518" y="360"/>
                  </a:lnTo>
                  <a:lnTo>
                    <a:pt x="516" y="360"/>
                  </a:lnTo>
                  <a:lnTo>
                    <a:pt x="516" y="360"/>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7" name="Freeform 266"/>
            <p:cNvSpPr>
              <a:spLocks noChangeAspect="1"/>
            </p:cNvSpPr>
            <p:nvPr/>
          </p:nvSpPr>
          <p:spPr bwMode="gray">
            <a:xfrm>
              <a:off x="5664358" y="3364960"/>
              <a:ext cx="302587" cy="233586"/>
            </a:xfrm>
            <a:custGeom>
              <a:avLst/>
              <a:gdLst/>
              <a:ahLst/>
              <a:cxnLst>
                <a:cxn ang="0">
                  <a:pos x="178" y="18"/>
                </a:cxn>
                <a:cxn ang="0">
                  <a:pos x="170" y="22"/>
                </a:cxn>
                <a:cxn ang="0">
                  <a:pos x="154" y="24"/>
                </a:cxn>
                <a:cxn ang="0">
                  <a:pos x="130" y="36"/>
                </a:cxn>
                <a:cxn ang="0">
                  <a:pos x="126" y="46"/>
                </a:cxn>
                <a:cxn ang="0">
                  <a:pos x="126" y="60"/>
                </a:cxn>
                <a:cxn ang="0">
                  <a:pos x="114" y="60"/>
                </a:cxn>
                <a:cxn ang="0">
                  <a:pos x="116" y="70"/>
                </a:cxn>
                <a:cxn ang="0">
                  <a:pos x="110" y="82"/>
                </a:cxn>
                <a:cxn ang="0">
                  <a:pos x="108" y="94"/>
                </a:cxn>
                <a:cxn ang="0">
                  <a:pos x="98" y="94"/>
                </a:cxn>
                <a:cxn ang="0">
                  <a:pos x="92" y="94"/>
                </a:cxn>
                <a:cxn ang="0">
                  <a:pos x="90" y="104"/>
                </a:cxn>
                <a:cxn ang="0">
                  <a:pos x="84" y="110"/>
                </a:cxn>
                <a:cxn ang="0">
                  <a:pos x="72" y="120"/>
                </a:cxn>
                <a:cxn ang="0">
                  <a:pos x="64" y="130"/>
                </a:cxn>
                <a:cxn ang="0">
                  <a:pos x="54" y="138"/>
                </a:cxn>
                <a:cxn ang="0">
                  <a:pos x="46" y="140"/>
                </a:cxn>
                <a:cxn ang="0">
                  <a:pos x="28" y="140"/>
                </a:cxn>
                <a:cxn ang="0">
                  <a:pos x="10" y="134"/>
                </a:cxn>
                <a:cxn ang="0">
                  <a:pos x="24" y="114"/>
                </a:cxn>
                <a:cxn ang="0">
                  <a:pos x="10" y="108"/>
                </a:cxn>
                <a:cxn ang="0">
                  <a:pos x="8" y="98"/>
                </a:cxn>
                <a:cxn ang="0">
                  <a:pos x="0" y="84"/>
                </a:cxn>
                <a:cxn ang="0">
                  <a:pos x="4" y="74"/>
                </a:cxn>
                <a:cxn ang="0">
                  <a:pos x="0" y="68"/>
                </a:cxn>
                <a:cxn ang="0">
                  <a:pos x="4" y="52"/>
                </a:cxn>
                <a:cxn ang="0">
                  <a:pos x="12" y="50"/>
                </a:cxn>
                <a:cxn ang="0">
                  <a:pos x="16" y="38"/>
                </a:cxn>
                <a:cxn ang="0">
                  <a:pos x="26" y="38"/>
                </a:cxn>
                <a:cxn ang="0">
                  <a:pos x="42" y="34"/>
                </a:cxn>
                <a:cxn ang="0">
                  <a:pos x="48" y="20"/>
                </a:cxn>
                <a:cxn ang="0">
                  <a:pos x="50" y="8"/>
                </a:cxn>
                <a:cxn ang="0">
                  <a:pos x="54" y="0"/>
                </a:cxn>
                <a:cxn ang="0">
                  <a:pos x="64" y="4"/>
                </a:cxn>
                <a:cxn ang="0">
                  <a:pos x="76" y="6"/>
                </a:cxn>
                <a:cxn ang="0">
                  <a:pos x="86" y="10"/>
                </a:cxn>
                <a:cxn ang="0">
                  <a:pos x="100" y="10"/>
                </a:cxn>
                <a:cxn ang="0">
                  <a:pos x="108" y="4"/>
                </a:cxn>
                <a:cxn ang="0">
                  <a:pos x="116" y="2"/>
                </a:cxn>
                <a:cxn ang="0">
                  <a:pos x="122" y="12"/>
                </a:cxn>
                <a:cxn ang="0">
                  <a:pos x="118" y="26"/>
                </a:cxn>
                <a:cxn ang="0">
                  <a:pos x="130" y="30"/>
                </a:cxn>
                <a:cxn ang="0">
                  <a:pos x="140" y="20"/>
                </a:cxn>
                <a:cxn ang="0">
                  <a:pos x="154" y="14"/>
                </a:cxn>
                <a:cxn ang="0">
                  <a:pos x="168" y="14"/>
                </a:cxn>
              </a:cxnLst>
              <a:rect l="0" t="0" r="r" b="b"/>
              <a:pathLst>
                <a:path w="178" h="142">
                  <a:moveTo>
                    <a:pt x="178" y="14"/>
                  </a:moveTo>
                  <a:lnTo>
                    <a:pt x="178" y="18"/>
                  </a:lnTo>
                  <a:lnTo>
                    <a:pt x="176" y="22"/>
                  </a:lnTo>
                  <a:lnTo>
                    <a:pt x="170" y="22"/>
                  </a:lnTo>
                  <a:lnTo>
                    <a:pt x="162" y="22"/>
                  </a:lnTo>
                  <a:lnTo>
                    <a:pt x="154" y="24"/>
                  </a:lnTo>
                  <a:lnTo>
                    <a:pt x="144" y="26"/>
                  </a:lnTo>
                  <a:lnTo>
                    <a:pt x="130" y="36"/>
                  </a:lnTo>
                  <a:lnTo>
                    <a:pt x="130" y="44"/>
                  </a:lnTo>
                  <a:lnTo>
                    <a:pt x="126" y="46"/>
                  </a:lnTo>
                  <a:lnTo>
                    <a:pt x="128" y="52"/>
                  </a:lnTo>
                  <a:lnTo>
                    <a:pt x="126" y="60"/>
                  </a:lnTo>
                  <a:lnTo>
                    <a:pt x="120" y="62"/>
                  </a:lnTo>
                  <a:lnTo>
                    <a:pt x="114" y="60"/>
                  </a:lnTo>
                  <a:lnTo>
                    <a:pt x="112" y="66"/>
                  </a:lnTo>
                  <a:lnTo>
                    <a:pt x="116" y="70"/>
                  </a:lnTo>
                  <a:lnTo>
                    <a:pt x="116" y="78"/>
                  </a:lnTo>
                  <a:lnTo>
                    <a:pt x="110" y="82"/>
                  </a:lnTo>
                  <a:lnTo>
                    <a:pt x="110" y="88"/>
                  </a:lnTo>
                  <a:lnTo>
                    <a:pt x="108" y="94"/>
                  </a:lnTo>
                  <a:lnTo>
                    <a:pt x="104" y="96"/>
                  </a:lnTo>
                  <a:lnTo>
                    <a:pt x="98" y="94"/>
                  </a:lnTo>
                  <a:lnTo>
                    <a:pt x="96" y="90"/>
                  </a:lnTo>
                  <a:lnTo>
                    <a:pt x="92" y="94"/>
                  </a:lnTo>
                  <a:lnTo>
                    <a:pt x="86" y="98"/>
                  </a:lnTo>
                  <a:lnTo>
                    <a:pt x="90" y="104"/>
                  </a:lnTo>
                  <a:lnTo>
                    <a:pt x="88" y="108"/>
                  </a:lnTo>
                  <a:lnTo>
                    <a:pt x="84" y="110"/>
                  </a:lnTo>
                  <a:lnTo>
                    <a:pt x="80" y="108"/>
                  </a:lnTo>
                  <a:lnTo>
                    <a:pt x="72" y="120"/>
                  </a:lnTo>
                  <a:lnTo>
                    <a:pt x="64" y="124"/>
                  </a:lnTo>
                  <a:lnTo>
                    <a:pt x="64" y="130"/>
                  </a:lnTo>
                  <a:lnTo>
                    <a:pt x="62" y="136"/>
                  </a:lnTo>
                  <a:lnTo>
                    <a:pt x="54" y="138"/>
                  </a:lnTo>
                  <a:lnTo>
                    <a:pt x="52" y="142"/>
                  </a:lnTo>
                  <a:lnTo>
                    <a:pt x="46" y="140"/>
                  </a:lnTo>
                  <a:lnTo>
                    <a:pt x="34" y="140"/>
                  </a:lnTo>
                  <a:lnTo>
                    <a:pt x="28" y="140"/>
                  </a:lnTo>
                  <a:lnTo>
                    <a:pt x="24" y="142"/>
                  </a:lnTo>
                  <a:lnTo>
                    <a:pt x="10" y="134"/>
                  </a:lnTo>
                  <a:lnTo>
                    <a:pt x="24" y="118"/>
                  </a:lnTo>
                  <a:lnTo>
                    <a:pt x="24" y="114"/>
                  </a:lnTo>
                  <a:lnTo>
                    <a:pt x="22" y="110"/>
                  </a:lnTo>
                  <a:lnTo>
                    <a:pt x="10" y="108"/>
                  </a:lnTo>
                  <a:lnTo>
                    <a:pt x="8" y="106"/>
                  </a:lnTo>
                  <a:lnTo>
                    <a:pt x="8" y="98"/>
                  </a:lnTo>
                  <a:lnTo>
                    <a:pt x="6" y="90"/>
                  </a:lnTo>
                  <a:lnTo>
                    <a:pt x="0" y="84"/>
                  </a:lnTo>
                  <a:lnTo>
                    <a:pt x="0" y="78"/>
                  </a:lnTo>
                  <a:lnTo>
                    <a:pt x="4" y="74"/>
                  </a:lnTo>
                  <a:lnTo>
                    <a:pt x="0" y="72"/>
                  </a:lnTo>
                  <a:lnTo>
                    <a:pt x="0" y="68"/>
                  </a:lnTo>
                  <a:lnTo>
                    <a:pt x="0" y="58"/>
                  </a:lnTo>
                  <a:lnTo>
                    <a:pt x="4" y="52"/>
                  </a:lnTo>
                  <a:lnTo>
                    <a:pt x="6" y="50"/>
                  </a:lnTo>
                  <a:lnTo>
                    <a:pt x="12" y="50"/>
                  </a:lnTo>
                  <a:lnTo>
                    <a:pt x="14" y="44"/>
                  </a:lnTo>
                  <a:lnTo>
                    <a:pt x="16" y="38"/>
                  </a:lnTo>
                  <a:lnTo>
                    <a:pt x="22" y="40"/>
                  </a:lnTo>
                  <a:lnTo>
                    <a:pt x="26" y="38"/>
                  </a:lnTo>
                  <a:lnTo>
                    <a:pt x="30" y="40"/>
                  </a:lnTo>
                  <a:lnTo>
                    <a:pt x="42" y="34"/>
                  </a:lnTo>
                  <a:lnTo>
                    <a:pt x="40" y="28"/>
                  </a:lnTo>
                  <a:lnTo>
                    <a:pt x="48" y="20"/>
                  </a:lnTo>
                  <a:lnTo>
                    <a:pt x="50" y="16"/>
                  </a:lnTo>
                  <a:lnTo>
                    <a:pt x="50" y="8"/>
                  </a:lnTo>
                  <a:lnTo>
                    <a:pt x="52" y="4"/>
                  </a:lnTo>
                  <a:lnTo>
                    <a:pt x="54" y="0"/>
                  </a:lnTo>
                  <a:lnTo>
                    <a:pt x="60" y="2"/>
                  </a:lnTo>
                  <a:lnTo>
                    <a:pt x="64" y="4"/>
                  </a:lnTo>
                  <a:lnTo>
                    <a:pt x="70" y="6"/>
                  </a:lnTo>
                  <a:lnTo>
                    <a:pt x="76" y="6"/>
                  </a:lnTo>
                  <a:lnTo>
                    <a:pt x="80" y="12"/>
                  </a:lnTo>
                  <a:lnTo>
                    <a:pt x="86" y="10"/>
                  </a:lnTo>
                  <a:lnTo>
                    <a:pt x="96" y="8"/>
                  </a:lnTo>
                  <a:lnTo>
                    <a:pt x="100" y="10"/>
                  </a:lnTo>
                  <a:lnTo>
                    <a:pt x="106" y="6"/>
                  </a:lnTo>
                  <a:lnTo>
                    <a:pt x="108" y="4"/>
                  </a:lnTo>
                  <a:lnTo>
                    <a:pt x="112" y="0"/>
                  </a:lnTo>
                  <a:lnTo>
                    <a:pt x="116" y="2"/>
                  </a:lnTo>
                  <a:lnTo>
                    <a:pt x="118" y="6"/>
                  </a:lnTo>
                  <a:lnTo>
                    <a:pt x="122" y="12"/>
                  </a:lnTo>
                  <a:lnTo>
                    <a:pt x="120" y="16"/>
                  </a:lnTo>
                  <a:lnTo>
                    <a:pt x="118" y="26"/>
                  </a:lnTo>
                  <a:lnTo>
                    <a:pt x="124" y="32"/>
                  </a:lnTo>
                  <a:lnTo>
                    <a:pt x="130" y="30"/>
                  </a:lnTo>
                  <a:lnTo>
                    <a:pt x="136" y="24"/>
                  </a:lnTo>
                  <a:lnTo>
                    <a:pt x="140" y="20"/>
                  </a:lnTo>
                  <a:lnTo>
                    <a:pt x="144" y="18"/>
                  </a:lnTo>
                  <a:lnTo>
                    <a:pt x="154" y="14"/>
                  </a:lnTo>
                  <a:lnTo>
                    <a:pt x="158" y="12"/>
                  </a:lnTo>
                  <a:lnTo>
                    <a:pt x="168" y="14"/>
                  </a:lnTo>
                  <a:lnTo>
                    <a:pt x="178" y="14"/>
                  </a:lnTo>
                  <a:close/>
                </a:path>
              </a:pathLst>
            </a:custGeom>
            <a:grpFill/>
            <a:ln w="3175" cmpd="sng">
              <a:solidFill>
                <a:srgbClr val="FFFFFF"/>
              </a:solidFill>
              <a:prstDash val="solid"/>
              <a:round/>
              <a:headEnd/>
              <a:tailEnd/>
            </a:ln>
          </p:spPr>
          <p:txBody>
            <a:bodyP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sp>
          <p:nvSpPr>
            <p:cNvPr id="508" name="Freeform 271"/>
            <p:cNvSpPr>
              <a:spLocks noChangeAspect="1"/>
            </p:cNvSpPr>
            <p:nvPr/>
          </p:nvSpPr>
          <p:spPr bwMode="gray">
            <a:xfrm>
              <a:off x="4702991" y="3187076"/>
              <a:ext cx="44207" cy="46030"/>
            </a:xfrm>
            <a:custGeom>
              <a:avLst/>
              <a:gdLst/>
              <a:ahLst/>
              <a:cxnLst>
                <a:cxn ang="0">
                  <a:pos x="188" y="510"/>
                </a:cxn>
                <a:cxn ang="0">
                  <a:pos x="85" y="407"/>
                </a:cxn>
                <a:cxn ang="0">
                  <a:pos x="36" y="407"/>
                </a:cxn>
                <a:cxn ang="0">
                  <a:pos x="0" y="340"/>
                </a:cxn>
                <a:cxn ang="0">
                  <a:pos x="0" y="176"/>
                </a:cxn>
                <a:cxn ang="0">
                  <a:pos x="36" y="103"/>
                </a:cxn>
                <a:cxn ang="0">
                  <a:pos x="151" y="85"/>
                </a:cxn>
                <a:cxn ang="0">
                  <a:pos x="188" y="0"/>
                </a:cxn>
                <a:cxn ang="0">
                  <a:pos x="327" y="6"/>
                </a:cxn>
                <a:cxn ang="0">
                  <a:pos x="424" y="134"/>
                </a:cxn>
                <a:cxn ang="0">
                  <a:pos x="473" y="249"/>
                </a:cxn>
                <a:cxn ang="0">
                  <a:pos x="503" y="340"/>
                </a:cxn>
                <a:cxn ang="0">
                  <a:pos x="460" y="376"/>
                </a:cxn>
                <a:cxn ang="0">
                  <a:pos x="424" y="437"/>
                </a:cxn>
                <a:cxn ang="0">
                  <a:pos x="388" y="334"/>
                </a:cxn>
                <a:cxn ang="0">
                  <a:pos x="218" y="400"/>
                </a:cxn>
                <a:cxn ang="0">
                  <a:pos x="188" y="510"/>
                </a:cxn>
              </a:cxnLst>
              <a:rect l="0" t="0" r="r" b="b"/>
              <a:pathLst>
                <a:path w="503" h="510">
                  <a:moveTo>
                    <a:pt x="188" y="510"/>
                  </a:moveTo>
                  <a:lnTo>
                    <a:pt x="85" y="407"/>
                  </a:lnTo>
                  <a:lnTo>
                    <a:pt x="36" y="407"/>
                  </a:lnTo>
                  <a:lnTo>
                    <a:pt x="0" y="340"/>
                  </a:lnTo>
                  <a:lnTo>
                    <a:pt x="0" y="176"/>
                  </a:lnTo>
                  <a:lnTo>
                    <a:pt x="36" y="103"/>
                  </a:lnTo>
                  <a:lnTo>
                    <a:pt x="151" y="85"/>
                  </a:lnTo>
                  <a:lnTo>
                    <a:pt x="188" y="0"/>
                  </a:lnTo>
                  <a:lnTo>
                    <a:pt x="327" y="6"/>
                  </a:lnTo>
                  <a:lnTo>
                    <a:pt x="424" y="134"/>
                  </a:lnTo>
                  <a:lnTo>
                    <a:pt x="473" y="249"/>
                  </a:lnTo>
                  <a:lnTo>
                    <a:pt x="503" y="340"/>
                  </a:lnTo>
                  <a:lnTo>
                    <a:pt x="460" y="376"/>
                  </a:lnTo>
                  <a:lnTo>
                    <a:pt x="424" y="437"/>
                  </a:lnTo>
                  <a:lnTo>
                    <a:pt x="388" y="334"/>
                  </a:lnTo>
                  <a:lnTo>
                    <a:pt x="218" y="400"/>
                  </a:lnTo>
                  <a:lnTo>
                    <a:pt x="188" y="510"/>
                  </a:lnTo>
                  <a:close/>
                </a:path>
              </a:pathLst>
            </a:custGeom>
            <a:grpFill/>
            <a:ln w="9525" cap="flat" cmpd="sng">
              <a:solidFill>
                <a:srgbClr val="FFFFFF"/>
              </a:solidFill>
              <a:prstDash val="solid"/>
              <a:round/>
              <a:headEnd/>
              <a:tailEnd/>
            </a:ln>
            <a:effectLst/>
          </p:spPr>
          <p:txBody>
            <a:bodyPr wrap="none" lIns="40500" tIns="40500" rIns="40500" bIns="40500" anchor="ctr"/>
            <a:lstStyle/>
            <a:p>
              <a:pPr defTabSz="685523" eaLnBrk="1" fontAlgn="auto" hangingPunct="1">
                <a:spcBef>
                  <a:spcPts val="0"/>
                </a:spcBef>
                <a:spcAft>
                  <a:spcPts val="0"/>
                </a:spcAft>
                <a:defRPr/>
              </a:pPr>
              <a:endParaRPr lang="en-GB" sz="1350" kern="0" dirty="0">
                <a:solidFill>
                  <a:srgbClr val="000000"/>
                </a:solidFill>
                <a:cs typeface="Calibri" panose="020F0502020204030204" pitchFamily="34" charset="0"/>
              </a:endParaRPr>
            </a:p>
          </p:txBody>
        </p:sp>
      </p:grpSp>
      <p:sp>
        <p:nvSpPr>
          <p:cNvPr id="2" name="Title 1"/>
          <p:cNvSpPr>
            <a:spLocks noGrp="1"/>
          </p:cNvSpPr>
          <p:nvPr>
            <p:ph type="title"/>
          </p:nvPr>
        </p:nvSpPr>
        <p:spPr/>
        <p:txBody>
          <a:bodyPr>
            <a:noAutofit/>
          </a:bodyPr>
          <a:lstStyle/>
          <a:p>
            <a:r>
              <a:rPr lang="en-US" sz="2100" dirty="0"/>
              <a:t>Team is based out of Silicon Valley &amp; Dublin, Ireland</a:t>
            </a:r>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2</a:t>
            </a:fld>
            <a:endParaRPr lang="de-DE" altLang="en-US"/>
          </a:p>
        </p:txBody>
      </p:sp>
      <p:grpSp>
        <p:nvGrpSpPr>
          <p:cNvPr id="284" name="Group 283"/>
          <p:cNvGrpSpPr/>
          <p:nvPr/>
        </p:nvGrpSpPr>
        <p:grpSpPr>
          <a:xfrm>
            <a:off x="5463283" y="3244390"/>
            <a:ext cx="3100781" cy="2197562"/>
            <a:chOff x="6277594" y="3329490"/>
            <a:chExt cx="4134374" cy="3100518"/>
          </a:xfrm>
        </p:grpSpPr>
        <p:sp>
          <p:nvSpPr>
            <p:cNvPr id="21" name="Content Placeholder 5"/>
            <p:cNvSpPr txBox="1">
              <a:spLocks/>
            </p:cNvSpPr>
            <p:nvPr/>
          </p:nvSpPr>
          <p:spPr bwMode="auto">
            <a:xfrm>
              <a:off x="6277595" y="3638721"/>
              <a:ext cx="4134373" cy="2791287"/>
            </a:xfrm>
            <a:prstGeom prst="rect">
              <a:avLst/>
            </a:prstGeom>
            <a:solidFill>
              <a:schemeClr val="accent1">
                <a:lumMod val="20000"/>
                <a:lumOff val="80000"/>
              </a:schemeClr>
            </a:solidFill>
            <a:ln>
              <a:noFill/>
            </a:ln>
          </p:spPr>
          <p:txBody>
            <a:bodyPr vert="horz" wrap="square" lIns="68580" tIns="34290" rIns="68580" bIns="3429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charset="0"/>
                <a:buChar char="–"/>
                <a:defRPr sz="16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1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14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12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50" b="1" dirty="0"/>
                <a:t>Bogdan </a:t>
              </a:r>
              <a:r>
                <a:rPr lang="en-US" sz="1050" b="1" dirty="0" err="1"/>
                <a:t>Staszewski</a:t>
              </a:r>
              <a:r>
                <a:rPr lang="en-US" sz="1050" b="1" dirty="0"/>
                <a:t> </a:t>
              </a:r>
              <a:r>
                <a:rPr lang="en-US" sz="1050" dirty="0"/>
                <a:t>- CSO</a:t>
              </a:r>
            </a:p>
            <a:p>
              <a:r>
                <a:rPr lang="en-US" sz="1050" b="1" dirty="0" err="1"/>
                <a:t>Cagri</a:t>
              </a:r>
              <a:r>
                <a:rPr lang="en-US" sz="1050" b="1" dirty="0"/>
                <a:t> </a:t>
              </a:r>
              <a:r>
                <a:rPr lang="en-US" sz="1050" b="1" dirty="0" err="1"/>
                <a:t>Cetintepe</a:t>
              </a:r>
              <a:r>
                <a:rPr lang="en-US" sz="1050" dirty="0"/>
                <a:t> - SOC integration </a:t>
              </a:r>
              <a:endParaRPr lang="en-US" sz="1050" b="1" dirty="0"/>
            </a:p>
            <a:p>
              <a:r>
                <a:rPr lang="en-US" sz="1050" b="1" dirty="0"/>
                <a:t>Panagiotis </a:t>
              </a:r>
              <a:r>
                <a:rPr lang="en-US" sz="1050" b="1" dirty="0" err="1"/>
                <a:t>Giounanlis</a:t>
              </a:r>
              <a:r>
                <a:rPr lang="en-US" sz="1050" b="1" dirty="0"/>
                <a:t> </a:t>
              </a:r>
              <a:r>
                <a:rPr lang="en-US" sz="1050" dirty="0"/>
                <a:t>–</a:t>
              </a:r>
              <a:r>
                <a:rPr lang="en-US" sz="1050" b="1" dirty="0"/>
                <a:t> </a:t>
              </a:r>
              <a:r>
                <a:rPr lang="en-US" sz="1050" dirty="0"/>
                <a:t>Q-modeling</a:t>
              </a:r>
              <a:endParaRPr lang="en-US" sz="1050" b="1" dirty="0"/>
            </a:p>
            <a:p>
              <a:r>
                <a:rPr lang="en-US" sz="1050" b="1" dirty="0"/>
                <a:t>Elena </a:t>
              </a:r>
              <a:r>
                <a:rPr lang="en-US" sz="1050" b="1" dirty="0" err="1"/>
                <a:t>Blokhina</a:t>
              </a:r>
              <a:r>
                <a:rPr lang="en-US" sz="1050" dirty="0"/>
                <a:t> – Physical-modeling</a:t>
              </a:r>
            </a:p>
            <a:p>
              <a:r>
                <a:rPr lang="en-US" sz="1050" b="1" dirty="0"/>
                <a:t>Krzysztof </a:t>
              </a:r>
              <a:r>
                <a:rPr lang="en-US" sz="1050" b="1" dirty="0" err="1"/>
                <a:t>Pomorski</a:t>
              </a:r>
              <a:r>
                <a:rPr lang="en-US" sz="1050" dirty="0"/>
                <a:t> - Cryogenic Design </a:t>
              </a:r>
              <a:endParaRPr lang="en-US" sz="1050" b="1" dirty="0"/>
            </a:p>
            <a:p>
              <a:r>
                <a:rPr lang="en-US" sz="1050" b="1" dirty="0" err="1"/>
                <a:t>Teerachot</a:t>
              </a:r>
              <a:r>
                <a:rPr lang="en-US" sz="1050" b="1" dirty="0"/>
                <a:t> </a:t>
              </a:r>
              <a:r>
                <a:rPr lang="en-US" sz="1050" b="1" dirty="0" err="1"/>
                <a:t>Siriburanon</a:t>
              </a:r>
              <a:r>
                <a:rPr lang="en-US" sz="1050" b="1" dirty="0"/>
                <a:t> </a:t>
              </a:r>
              <a:r>
                <a:rPr lang="en-US" sz="1050" dirty="0"/>
                <a:t>- SOC Design</a:t>
              </a:r>
              <a:endParaRPr lang="en-US" sz="1050" b="1" dirty="0"/>
            </a:p>
            <a:p>
              <a:r>
                <a:rPr lang="en-US" sz="1050" b="1" dirty="0" err="1"/>
                <a:t>Hongying</a:t>
              </a:r>
              <a:r>
                <a:rPr lang="en-US" sz="1050" b="1" dirty="0"/>
                <a:t> Wang</a:t>
              </a:r>
              <a:r>
                <a:rPr lang="en-US" sz="1050" dirty="0"/>
                <a:t> – SOC Design</a:t>
              </a:r>
              <a:endParaRPr lang="en-US" sz="1050" b="1" dirty="0"/>
            </a:p>
            <a:p>
              <a:r>
                <a:rPr lang="en-US" sz="1050" b="1" dirty="0"/>
                <a:t>Ali </a:t>
              </a:r>
              <a:r>
                <a:rPr lang="en-US" sz="1050" b="1" dirty="0" err="1"/>
                <a:t>Esmailiyan</a:t>
              </a:r>
              <a:r>
                <a:rPr lang="en-US" sz="1050" dirty="0"/>
                <a:t> – SOC Design </a:t>
              </a:r>
              <a:endParaRPr lang="en-US" sz="1050" b="1" dirty="0"/>
            </a:p>
          </p:txBody>
        </p:sp>
        <p:sp>
          <p:nvSpPr>
            <p:cNvPr id="9" name="Rounded Rectangle 8"/>
            <p:cNvSpPr/>
            <p:nvPr/>
          </p:nvSpPr>
          <p:spPr>
            <a:xfrm>
              <a:off x="6277594" y="3329490"/>
              <a:ext cx="4134373" cy="293548"/>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Dublin, Ireland</a:t>
              </a:r>
            </a:p>
          </p:txBody>
        </p:sp>
      </p:grpSp>
      <p:sp>
        <p:nvSpPr>
          <p:cNvPr id="6" name="Content Placeholder 5"/>
          <p:cNvSpPr>
            <a:spLocks noGrp="1"/>
          </p:cNvSpPr>
          <p:nvPr>
            <p:ph idx="1"/>
          </p:nvPr>
        </p:nvSpPr>
        <p:spPr>
          <a:xfrm>
            <a:off x="2065539" y="3845646"/>
            <a:ext cx="2454059" cy="1607627"/>
          </a:xfrm>
          <a:solidFill>
            <a:schemeClr val="accent1">
              <a:lumMod val="20000"/>
              <a:lumOff val="80000"/>
            </a:schemeClr>
          </a:solidFill>
        </p:spPr>
        <p:txBody>
          <a:bodyPr>
            <a:noAutofit/>
          </a:bodyPr>
          <a:lstStyle/>
          <a:p>
            <a:r>
              <a:rPr lang="en-US" sz="1050" b="1" dirty="0"/>
              <a:t>Dirk Leipold </a:t>
            </a:r>
            <a:r>
              <a:rPr lang="en-US" sz="1050" dirty="0"/>
              <a:t>- CEO</a:t>
            </a:r>
            <a:endParaRPr lang="en-US" sz="1050" b="1" dirty="0"/>
          </a:p>
          <a:p>
            <a:r>
              <a:rPr lang="en-US" sz="1050" b="1" dirty="0"/>
              <a:t>George Maxim</a:t>
            </a:r>
            <a:r>
              <a:rPr lang="en-US" sz="1050" dirty="0"/>
              <a:t> - CTO</a:t>
            </a:r>
            <a:endParaRPr lang="en-US" sz="1050" b="1" dirty="0"/>
          </a:p>
          <a:p>
            <a:r>
              <a:rPr lang="en-US" sz="1050" b="1" dirty="0"/>
              <a:t>Mike Asker </a:t>
            </a:r>
            <a:r>
              <a:rPr lang="en-US" sz="1050" dirty="0"/>
              <a:t>- CIO</a:t>
            </a:r>
          </a:p>
          <a:p>
            <a:r>
              <a:rPr lang="en-US" sz="1050" b="1" dirty="0"/>
              <a:t>Imran Bashir </a:t>
            </a:r>
            <a:r>
              <a:rPr lang="en-US" sz="1050" dirty="0"/>
              <a:t>– SOC Design </a:t>
            </a:r>
          </a:p>
        </p:txBody>
      </p:sp>
      <p:sp>
        <p:nvSpPr>
          <p:cNvPr id="287" name="Rounded Rectangle 286"/>
          <p:cNvSpPr/>
          <p:nvPr/>
        </p:nvSpPr>
        <p:spPr>
          <a:xfrm>
            <a:off x="2071620" y="3636197"/>
            <a:ext cx="2460671" cy="22867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ilicon Valley</a:t>
            </a:r>
          </a:p>
        </p:txBody>
      </p:sp>
      <p:sp>
        <p:nvSpPr>
          <p:cNvPr id="291" name="Oval 290"/>
          <p:cNvSpPr/>
          <p:nvPr/>
        </p:nvSpPr>
        <p:spPr>
          <a:xfrm>
            <a:off x="5690640" y="2667113"/>
            <a:ext cx="68580" cy="68580"/>
          </a:xfrm>
          <a:prstGeom prst="ellipse">
            <a:avLst/>
          </a:prstGeom>
          <a:solidFill>
            <a:srgbClr val="D24C5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3" name="Oval 292"/>
          <p:cNvSpPr/>
          <p:nvPr/>
        </p:nvSpPr>
        <p:spPr>
          <a:xfrm>
            <a:off x="3275928" y="3184583"/>
            <a:ext cx="68580" cy="68580"/>
          </a:xfrm>
          <a:prstGeom prst="ellipse">
            <a:avLst/>
          </a:prstGeom>
          <a:solidFill>
            <a:srgbClr val="D24C5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a:extLst>
              <a:ext uri="{FF2B5EF4-FFF2-40B4-BE49-F238E27FC236}">
                <a16:creationId xmlns:a16="http://schemas.microsoft.com/office/drawing/2014/main" id="{D77E8920-D4C8-41DB-BF44-D166E4B02732}"/>
              </a:ext>
            </a:extLst>
          </p:cNvPr>
          <p:cNvCxnSpPr>
            <a:cxnSpLocks/>
          </p:cNvCxnSpPr>
          <p:nvPr/>
        </p:nvCxnSpPr>
        <p:spPr>
          <a:xfrm flipV="1">
            <a:off x="3289930" y="3280800"/>
            <a:ext cx="23930" cy="35539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5" name="Straight Arrow Connector 284">
            <a:extLst>
              <a:ext uri="{FF2B5EF4-FFF2-40B4-BE49-F238E27FC236}">
                <a16:creationId xmlns:a16="http://schemas.microsoft.com/office/drawing/2014/main" id="{573B36D7-6BD8-4C08-B107-9D59FEDC45CD}"/>
              </a:ext>
            </a:extLst>
          </p:cNvPr>
          <p:cNvCxnSpPr>
            <a:cxnSpLocks/>
          </p:cNvCxnSpPr>
          <p:nvPr/>
        </p:nvCxnSpPr>
        <p:spPr>
          <a:xfrm flipH="1" flipV="1">
            <a:off x="5770092" y="2735695"/>
            <a:ext cx="1247699" cy="52894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88" name="Picture 287">
            <a:extLst>
              <a:ext uri="{FF2B5EF4-FFF2-40B4-BE49-F238E27FC236}">
                <a16:creationId xmlns:a16="http://schemas.microsoft.com/office/drawing/2014/main" id="{4BA4694A-9386-4980-BF35-CCFCBB78B81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72464" y="359927"/>
            <a:ext cx="1567736" cy="497324"/>
          </a:xfrm>
          <a:prstGeom prst="rect">
            <a:avLst/>
          </a:prstGeom>
        </p:spPr>
      </p:pic>
      <p:sp>
        <p:nvSpPr>
          <p:cNvPr id="286" name="Rectangle 285">
            <a:extLst>
              <a:ext uri="{FF2B5EF4-FFF2-40B4-BE49-F238E27FC236}">
                <a16:creationId xmlns:a16="http://schemas.microsoft.com/office/drawing/2014/main" id="{2CDC4804-965C-4105-95A5-537576DA2950}"/>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292" name="Footer Placeholder 3">
            <a:extLst>
              <a:ext uri="{FF2B5EF4-FFF2-40B4-BE49-F238E27FC236}">
                <a16:creationId xmlns:a16="http://schemas.microsoft.com/office/drawing/2014/main" id="{326A8DF5-B6A7-4F26-9C10-92F2B614E7CC}"/>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1758158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97CDB-590A-4426-9847-863453D9B084}"/>
              </a:ext>
            </a:extLst>
          </p:cNvPr>
          <p:cNvSpPr>
            <a:spLocks noGrp="1"/>
          </p:cNvSpPr>
          <p:nvPr>
            <p:ph type="title"/>
          </p:nvPr>
        </p:nvSpPr>
        <p:spPr/>
        <p:txBody>
          <a:bodyPr/>
          <a:lstStyle/>
          <a:p>
            <a:r>
              <a:rPr lang="en-US" dirty="0"/>
              <a:t>CDAC design layout</a:t>
            </a:r>
          </a:p>
        </p:txBody>
      </p:sp>
      <p:sp>
        <p:nvSpPr>
          <p:cNvPr id="3" name="Content Placeholder 2">
            <a:extLst>
              <a:ext uri="{FF2B5EF4-FFF2-40B4-BE49-F238E27FC236}">
                <a16:creationId xmlns:a16="http://schemas.microsoft.com/office/drawing/2014/main" id="{CE3D6D47-EEDF-4E67-B003-3F2269DCF838}"/>
              </a:ext>
            </a:extLst>
          </p:cNvPr>
          <p:cNvSpPr>
            <a:spLocks noGrp="1"/>
          </p:cNvSpPr>
          <p:nvPr>
            <p:ph idx="1"/>
          </p:nvPr>
        </p:nvSpPr>
        <p:spPr>
          <a:xfrm>
            <a:off x="609600" y="990600"/>
            <a:ext cx="6026460" cy="5365750"/>
          </a:xfrm>
        </p:spPr>
        <p:txBody>
          <a:bodyPr/>
          <a:lstStyle/>
          <a:p>
            <a:r>
              <a:rPr lang="en-US" dirty="0"/>
              <a:t>Capacitor is stacked and embedding with logic</a:t>
            </a:r>
          </a:p>
          <a:p>
            <a:r>
              <a:rPr lang="en-US" dirty="0"/>
              <a:t>Decoupling cap is integrated with CDAC via the metallization as MOM cap</a:t>
            </a:r>
          </a:p>
          <a:p>
            <a:r>
              <a:rPr lang="en-US" dirty="0"/>
              <a:t>Pulses are gated at remote edge of CDAC</a:t>
            </a:r>
          </a:p>
          <a:p>
            <a:r>
              <a:rPr lang="en-US" dirty="0"/>
              <a:t>Area is 3x30 um^2</a:t>
            </a:r>
          </a:p>
        </p:txBody>
      </p:sp>
      <p:sp>
        <p:nvSpPr>
          <p:cNvPr id="4" name="Footer Placeholder 3">
            <a:extLst>
              <a:ext uri="{FF2B5EF4-FFF2-40B4-BE49-F238E27FC236}">
                <a16:creationId xmlns:a16="http://schemas.microsoft.com/office/drawing/2014/main" id="{A8EF1097-19BD-49DA-A69B-964C510717FC}"/>
              </a:ext>
            </a:extLst>
          </p:cNvPr>
          <p:cNvSpPr>
            <a:spLocks noGrp="1"/>
          </p:cNvSpPr>
          <p:nvPr>
            <p:ph type="ftr" sz="quarter" idx="11"/>
          </p:nvPr>
        </p:nvSpPr>
        <p:spPr/>
        <p:txBody>
          <a:bodyPr/>
          <a:lstStyle/>
          <a:p>
            <a:pPr>
              <a:defRPr/>
            </a:pPr>
            <a:r>
              <a:rPr lang="de-DE" altLang="en-US"/>
              <a:t>2019 ®Equal1 Proprietary &amp; Confidential</a:t>
            </a:r>
          </a:p>
        </p:txBody>
      </p:sp>
      <p:sp>
        <p:nvSpPr>
          <p:cNvPr id="5" name="Slide Number Placeholder 4">
            <a:extLst>
              <a:ext uri="{FF2B5EF4-FFF2-40B4-BE49-F238E27FC236}">
                <a16:creationId xmlns:a16="http://schemas.microsoft.com/office/drawing/2014/main" id="{E0B2FB60-8CFD-4A87-BAFB-DDBB29084B21}"/>
              </a:ext>
            </a:extLst>
          </p:cNvPr>
          <p:cNvSpPr>
            <a:spLocks noGrp="1"/>
          </p:cNvSpPr>
          <p:nvPr>
            <p:ph type="sldNum" sz="quarter" idx="12"/>
          </p:nvPr>
        </p:nvSpPr>
        <p:spPr/>
        <p:txBody>
          <a:bodyPr/>
          <a:lstStyle/>
          <a:p>
            <a:fld id="{BDDA4418-520B-4E43-A742-115F1EFE0E3F}" type="slidenum">
              <a:rPr lang="de-DE" altLang="en-US" smtClean="0"/>
              <a:pPr/>
              <a:t>20</a:t>
            </a:fld>
            <a:endParaRPr lang="de-DE" altLang="en-US"/>
          </a:p>
        </p:txBody>
      </p:sp>
      <p:sp>
        <p:nvSpPr>
          <p:cNvPr id="7" name="Rectangle 4">
            <a:extLst>
              <a:ext uri="{FF2B5EF4-FFF2-40B4-BE49-F238E27FC236}">
                <a16:creationId xmlns:a16="http://schemas.microsoft.com/office/drawing/2014/main" id="{6E5C52A1-E225-4968-9E2F-F601AE7864B4}"/>
              </a:ext>
            </a:extLst>
          </p:cNvPr>
          <p:cNvSpPr>
            <a:spLocks noChangeArrowheads="1"/>
          </p:cNvSpPr>
          <p:nvPr/>
        </p:nvSpPr>
        <p:spPr bwMode="auto">
          <a:xfrm flipV="1">
            <a:off x="0" y="-1"/>
            <a:ext cx="479294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8" name="Rectangle 6">
            <a:extLst>
              <a:ext uri="{FF2B5EF4-FFF2-40B4-BE49-F238E27FC236}">
                <a16:creationId xmlns:a16="http://schemas.microsoft.com/office/drawing/2014/main" id="{8CED4592-1F08-491E-8FBA-51A075729F78}"/>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4101" name="Picture 5" descr="cid:part3.116C6FBB.7FE71C17@equal1.com">
            <a:extLst>
              <a:ext uri="{FF2B5EF4-FFF2-40B4-BE49-F238E27FC236}">
                <a16:creationId xmlns:a16="http://schemas.microsoft.com/office/drawing/2014/main" id="{7755C1C5-077B-4112-84B7-E72411C62413}"/>
              </a:ext>
            </a:extLst>
          </p:cNvPr>
          <p:cNvPicPr>
            <a:picLocks noChangeAspect="1" noChangeArrowheads="1"/>
          </p:cNvPicPr>
          <p:nvPr/>
        </p:nvPicPr>
        <p:blipFill>
          <a:blip r:embed="rId2" r:link="rId3">
            <a:extLst>
              <a:ext uri="{28A0092B-C50C-407E-A947-70E740481C1C}">
                <a14:useLocalDpi xmlns:a14="http://schemas.microsoft.com/office/drawing/2010/main"/>
              </a:ext>
            </a:extLst>
          </a:blip>
          <a:srcRect/>
          <a:stretch>
            <a:fillRect/>
          </a:stretch>
        </p:blipFill>
        <p:spPr bwMode="auto">
          <a:xfrm>
            <a:off x="7428148" y="1219520"/>
            <a:ext cx="3720666" cy="5003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52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en-US" altLang="en-US" dirty="0" err="1">
                <a:latin typeface="Arial" charset="0"/>
                <a:ea typeface="ＭＳ Ｐゴシック" charset="-128"/>
                <a:cs typeface="Arial" charset="0"/>
              </a:rPr>
              <a:t>Veriloga</a:t>
            </a:r>
            <a:r>
              <a:rPr lang="en-US" altLang="en-US" dirty="0">
                <a:latin typeface="Arial" charset="0"/>
                <a:ea typeface="ＭＳ Ｐゴシック" charset="-128"/>
                <a:cs typeface="Arial" charset="0"/>
              </a:rPr>
              <a:t> </a:t>
            </a:r>
            <a:r>
              <a:rPr lang="en-US" altLang="en-US" dirty="0" err="1">
                <a:latin typeface="Arial" charset="0"/>
                <a:ea typeface="ＭＳ Ｐゴシック" charset="-128"/>
                <a:cs typeface="Arial" charset="0"/>
              </a:rPr>
              <a:t>Qcell</a:t>
            </a:r>
            <a:r>
              <a:rPr lang="en-US" altLang="en-US" dirty="0">
                <a:latin typeface="Arial" charset="0"/>
                <a:ea typeface="ＭＳ Ｐゴシック" charset="-128"/>
                <a:cs typeface="Arial" charset="0"/>
              </a:rPr>
              <a:t> Model for system level verification</a:t>
            </a:r>
          </a:p>
        </p:txBody>
      </p:sp>
      <p:sp>
        <p:nvSpPr>
          <p:cNvPr id="1741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2000">
                <a:solidFill>
                  <a:schemeClr val="tx1"/>
                </a:solidFill>
                <a:latin typeface="Calibri" charset="0"/>
                <a:ea typeface="ＭＳ Ｐゴシック" charset="-128"/>
              </a:defRPr>
            </a:lvl1pPr>
            <a:lvl2pPr marL="742950" indent="-285750">
              <a:spcBef>
                <a:spcPct val="20000"/>
              </a:spcBef>
              <a:buFont typeface="Arial" charset="0"/>
              <a:buChar char="–"/>
              <a:defRPr sz="1600">
                <a:solidFill>
                  <a:schemeClr val="tx1"/>
                </a:solidFill>
                <a:latin typeface="Calibri" charset="0"/>
                <a:ea typeface="ＭＳ Ｐゴシック" charset="-128"/>
              </a:defRPr>
            </a:lvl2pPr>
            <a:lvl3pPr marL="1143000" indent="-228600">
              <a:spcBef>
                <a:spcPct val="20000"/>
              </a:spcBef>
              <a:buFont typeface="Arial" charset="0"/>
              <a:buChar char="•"/>
              <a:defRPr sz="1400">
                <a:solidFill>
                  <a:schemeClr val="tx1"/>
                </a:solidFill>
                <a:latin typeface="Calibri" charset="0"/>
                <a:ea typeface="ＭＳ Ｐゴシック" charset="-128"/>
              </a:defRPr>
            </a:lvl3pPr>
            <a:lvl4pPr marL="1600200" indent="-228600">
              <a:spcBef>
                <a:spcPct val="20000"/>
              </a:spcBef>
              <a:buFont typeface="Arial" charset="0"/>
              <a:buChar char="–"/>
              <a:defRPr sz="1400">
                <a:solidFill>
                  <a:schemeClr val="tx1"/>
                </a:solidFill>
                <a:latin typeface="Calibri" charset="0"/>
                <a:ea typeface="ＭＳ Ｐゴシック" charset="-128"/>
              </a:defRPr>
            </a:lvl4pPr>
            <a:lvl5pPr marL="2057400" indent="-228600">
              <a:spcBef>
                <a:spcPct val="20000"/>
              </a:spcBef>
              <a:buFont typeface="Arial" charset="0"/>
              <a:buChar char="»"/>
              <a:defRPr sz="1200">
                <a:solidFill>
                  <a:schemeClr val="tx1"/>
                </a:solidFill>
                <a:latin typeface="Calibri" charset="0"/>
                <a:ea typeface="ＭＳ Ｐゴシック" charset="-128"/>
              </a:defRPr>
            </a:lvl5pPr>
            <a:lvl6pPr marL="2514600" indent="-228600" defTabSz="457200" eaLnBrk="0" fontAlgn="base" hangingPunct="0">
              <a:spcBef>
                <a:spcPct val="20000"/>
              </a:spcBef>
              <a:spcAft>
                <a:spcPct val="0"/>
              </a:spcAft>
              <a:buFont typeface="Arial" charset="0"/>
              <a:buChar char="»"/>
              <a:defRPr sz="1200">
                <a:solidFill>
                  <a:schemeClr val="tx1"/>
                </a:solidFill>
                <a:latin typeface="Calibri" charset="0"/>
                <a:ea typeface="ＭＳ Ｐゴシック" charset="-128"/>
              </a:defRPr>
            </a:lvl6pPr>
            <a:lvl7pPr marL="2971800" indent="-228600" defTabSz="457200" eaLnBrk="0" fontAlgn="base" hangingPunct="0">
              <a:spcBef>
                <a:spcPct val="20000"/>
              </a:spcBef>
              <a:spcAft>
                <a:spcPct val="0"/>
              </a:spcAft>
              <a:buFont typeface="Arial" charset="0"/>
              <a:buChar char="»"/>
              <a:defRPr sz="1200">
                <a:solidFill>
                  <a:schemeClr val="tx1"/>
                </a:solidFill>
                <a:latin typeface="Calibri" charset="0"/>
                <a:ea typeface="ＭＳ Ｐゴシック" charset="-128"/>
              </a:defRPr>
            </a:lvl7pPr>
            <a:lvl8pPr marL="3429000" indent="-228600" defTabSz="457200" eaLnBrk="0" fontAlgn="base" hangingPunct="0">
              <a:spcBef>
                <a:spcPct val="20000"/>
              </a:spcBef>
              <a:spcAft>
                <a:spcPct val="0"/>
              </a:spcAft>
              <a:buFont typeface="Arial" charset="0"/>
              <a:buChar char="»"/>
              <a:defRPr sz="1200">
                <a:solidFill>
                  <a:schemeClr val="tx1"/>
                </a:solidFill>
                <a:latin typeface="Calibri" charset="0"/>
                <a:ea typeface="ＭＳ Ｐゴシック" charset="-128"/>
              </a:defRPr>
            </a:lvl8pPr>
            <a:lvl9pPr marL="3886200" indent="-228600" defTabSz="457200" eaLnBrk="0" fontAlgn="base" hangingPunct="0">
              <a:spcBef>
                <a:spcPct val="20000"/>
              </a:spcBef>
              <a:spcAft>
                <a:spcPct val="0"/>
              </a:spcAft>
              <a:buFont typeface="Arial" charset="0"/>
              <a:buChar char="»"/>
              <a:defRPr sz="1200">
                <a:solidFill>
                  <a:schemeClr val="tx1"/>
                </a:solidFill>
                <a:latin typeface="Calibri" charset="0"/>
                <a:ea typeface="ＭＳ Ｐゴシック" charset="-128"/>
              </a:defRPr>
            </a:lvl9pPr>
          </a:lstStyle>
          <a:p>
            <a:pPr>
              <a:spcBef>
                <a:spcPct val="0"/>
              </a:spcBef>
              <a:buFontTx/>
              <a:buNone/>
            </a:pPr>
            <a:fld id="{F34CA89D-2D01-5B48-9CCF-3065F0CA8042}" type="slidenum">
              <a:rPr lang="de-DE" altLang="en-US" sz="1200">
                <a:solidFill>
                  <a:srgbClr val="898989"/>
                </a:solidFill>
              </a:rPr>
              <a:pPr>
                <a:spcBef>
                  <a:spcPct val="0"/>
                </a:spcBef>
                <a:buFontTx/>
                <a:buNone/>
              </a:pPr>
              <a:t>21</a:t>
            </a:fld>
            <a:endParaRPr lang="de-DE" altLang="en-US" sz="1200">
              <a:solidFill>
                <a:srgbClr val="898989"/>
              </a:solidFill>
            </a:endParaRPr>
          </a:p>
        </p:txBody>
      </p:sp>
      <p:pic>
        <p:nvPicPr>
          <p:cNvPr id="17413" name="Picture 6"/>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676400" y="1066801"/>
            <a:ext cx="8839200" cy="482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a:extLst>
              <a:ext uri="{FF2B5EF4-FFF2-40B4-BE49-F238E27FC236}">
                <a16:creationId xmlns:a16="http://schemas.microsoft.com/office/drawing/2014/main" id="{2170DB4B-B49E-4F21-BCE4-32438A6E00DA}"/>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7" name="Footer Placeholder 3">
            <a:extLst>
              <a:ext uri="{FF2B5EF4-FFF2-40B4-BE49-F238E27FC236}">
                <a16:creationId xmlns:a16="http://schemas.microsoft.com/office/drawing/2014/main" id="{CF5C3729-2AF4-4C2B-9DA1-A900E7C620F5}"/>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0085403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F5C65-6809-6E4C-B73B-25D3EFEC5EE5}"/>
              </a:ext>
            </a:extLst>
          </p:cNvPr>
          <p:cNvSpPr>
            <a:spLocks noGrp="1"/>
          </p:cNvSpPr>
          <p:nvPr>
            <p:ph type="title"/>
          </p:nvPr>
        </p:nvSpPr>
        <p:spPr/>
        <p:txBody>
          <a:bodyPr/>
          <a:lstStyle/>
          <a:p>
            <a:r>
              <a:rPr lang="en-US" dirty="0"/>
              <a:t>Quantum core schematic and layout</a:t>
            </a:r>
          </a:p>
        </p:txBody>
      </p:sp>
      <p:sp>
        <p:nvSpPr>
          <p:cNvPr id="5" name="Slide Number Placeholder 4">
            <a:extLst>
              <a:ext uri="{FF2B5EF4-FFF2-40B4-BE49-F238E27FC236}">
                <a16:creationId xmlns:a16="http://schemas.microsoft.com/office/drawing/2014/main" id="{B3D387FE-8009-EA47-9972-0F205F158D09}"/>
              </a:ext>
            </a:extLst>
          </p:cNvPr>
          <p:cNvSpPr>
            <a:spLocks noGrp="1"/>
          </p:cNvSpPr>
          <p:nvPr>
            <p:ph type="sldNum" sz="quarter" idx="12"/>
          </p:nvPr>
        </p:nvSpPr>
        <p:spPr/>
        <p:txBody>
          <a:bodyPr/>
          <a:lstStyle/>
          <a:p>
            <a:pPr>
              <a:defRPr/>
            </a:pPr>
            <a:fld id="{70E4F3E5-B2CC-4899-94A4-15E32FD54AF4}" type="slidenum">
              <a:rPr lang="de-DE" altLang="en-US" smtClean="0"/>
              <a:pPr>
                <a:defRPr/>
              </a:pPr>
              <a:t>22</a:t>
            </a:fld>
            <a:endParaRPr lang="de-DE" altLang="en-US"/>
          </a:p>
        </p:txBody>
      </p:sp>
      <p:pic>
        <p:nvPicPr>
          <p:cNvPr id="8" name="Content Placeholder 6">
            <a:extLst>
              <a:ext uri="{FF2B5EF4-FFF2-40B4-BE49-F238E27FC236}">
                <a16:creationId xmlns:a16="http://schemas.microsoft.com/office/drawing/2014/main" id="{B6270EAA-0181-7A40-845A-A2BA4950228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auto">
          <a:xfrm>
            <a:off x="8869131" y="3556891"/>
            <a:ext cx="2834767" cy="262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F591D8C8-18DC-FF46-8F1E-DB3DD7670B5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3667" y="1196753"/>
            <a:ext cx="6968547" cy="2232248"/>
          </a:xfrm>
          <a:prstGeom prst="rect">
            <a:avLst/>
          </a:prstGeom>
        </p:spPr>
      </p:pic>
      <p:pic>
        <p:nvPicPr>
          <p:cNvPr id="10" name="Picture 9">
            <a:extLst>
              <a:ext uri="{FF2B5EF4-FFF2-40B4-BE49-F238E27FC236}">
                <a16:creationId xmlns:a16="http://schemas.microsoft.com/office/drawing/2014/main" id="{A73C026A-505B-324E-8578-3443793DC5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31367" y="3556892"/>
            <a:ext cx="3994427" cy="2627033"/>
          </a:xfrm>
          <a:prstGeom prst="rect">
            <a:avLst/>
          </a:prstGeom>
        </p:spPr>
      </p:pic>
      <p:sp>
        <p:nvSpPr>
          <p:cNvPr id="11" name="Rectangle 10">
            <a:extLst>
              <a:ext uri="{FF2B5EF4-FFF2-40B4-BE49-F238E27FC236}">
                <a16:creationId xmlns:a16="http://schemas.microsoft.com/office/drawing/2014/main" id="{1BA1A78F-4628-41D8-9859-3E953C88F0C1}"/>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2" name="Footer Placeholder 3">
            <a:extLst>
              <a:ext uri="{FF2B5EF4-FFF2-40B4-BE49-F238E27FC236}">
                <a16:creationId xmlns:a16="http://schemas.microsoft.com/office/drawing/2014/main" id="{8D6C3D11-0A4D-43D0-A1DC-B5E1F0D7C6E4}"/>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
        <p:nvSpPr>
          <p:cNvPr id="3" name="Content Placeholder 2">
            <a:extLst>
              <a:ext uri="{FF2B5EF4-FFF2-40B4-BE49-F238E27FC236}">
                <a16:creationId xmlns:a16="http://schemas.microsoft.com/office/drawing/2014/main" id="{D4C008D8-B220-4F9B-BA1D-66F326E04A10}"/>
              </a:ext>
            </a:extLst>
          </p:cNvPr>
          <p:cNvSpPr>
            <a:spLocks noGrp="1"/>
          </p:cNvSpPr>
          <p:nvPr>
            <p:ph idx="1"/>
          </p:nvPr>
        </p:nvSpPr>
        <p:spPr>
          <a:xfrm>
            <a:off x="299356" y="990600"/>
            <a:ext cx="4392488" cy="5365750"/>
          </a:xfrm>
        </p:spPr>
        <p:txBody>
          <a:bodyPr/>
          <a:lstStyle/>
          <a:p>
            <a:r>
              <a:rPr lang="en-US" dirty="0"/>
              <a:t>Readout via source follower connected to last SET transistor</a:t>
            </a:r>
          </a:p>
          <a:p>
            <a:r>
              <a:rPr lang="en-US" dirty="0"/>
              <a:t>Reset device and imposer quantum cell gates have gate voltage close to channel potential by using 0V </a:t>
            </a:r>
            <a:r>
              <a:rPr lang="en-US" dirty="0" err="1"/>
              <a:t>backgate</a:t>
            </a:r>
            <a:r>
              <a:rPr lang="en-US" dirty="0"/>
              <a:t> bias but using negative channel potential </a:t>
            </a:r>
          </a:p>
        </p:txBody>
      </p:sp>
    </p:spTree>
    <p:extLst>
      <p:ext uri="{BB962C8B-B14F-4D97-AF65-F5344CB8AC3E}">
        <p14:creationId xmlns:p14="http://schemas.microsoft.com/office/powerpoint/2010/main" val="18971293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86B5C-6505-7A4F-9A17-C92BAB625BDE}"/>
              </a:ext>
            </a:extLst>
          </p:cNvPr>
          <p:cNvSpPr>
            <a:spLocks noGrp="1"/>
          </p:cNvSpPr>
          <p:nvPr>
            <p:ph type="title"/>
          </p:nvPr>
        </p:nvSpPr>
        <p:spPr/>
        <p:txBody>
          <a:bodyPr/>
          <a:lstStyle/>
          <a:p>
            <a:r>
              <a:rPr lang="en-US" dirty="0"/>
              <a:t>Single electron detector readout</a:t>
            </a:r>
          </a:p>
        </p:txBody>
      </p:sp>
      <p:pic>
        <p:nvPicPr>
          <p:cNvPr id="7" name="Content Placeholder 6">
            <a:extLst>
              <a:ext uri="{FF2B5EF4-FFF2-40B4-BE49-F238E27FC236}">
                <a16:creationId xmlns:a16="http://schemas.microsoft.com/office/drawing/2014/main" id="{2F5EAA17-9315-D04F-932F-424204682C4A}"/>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527211" y="1032894"/>
            <a:ext cx="4704292" cy="2646164"/>
          </a:xfrm>
        </p:spPr>
      </p:pic>
      <p:sp>
        <p:nvSpPr>
          <p:cNvPr id="5" name="Slide Number Placeholder 4">
            <a:extLst>
              <a:ext uri="{FF2B5EF4-FFF2-40B4-BE49-F238E27FC236}">
                <a16:creationId xmlns:a16="http://schemas.microsoft.com/office/drawing/2014/main" id="{50686F51-2212-214D-8617-3203514EAF77}"/>
              </a:ext>
            </a:extLst>
          </p:cNvPr>
          <p:cNvSpPr>
            <a:spLocks noGrp="1"/>
          </p:cNvSpPr>
          <p:nvPr>
            <p:ph type="sldNum" sz="quarter" idx="12"/>
          </p:nvPr>
        </p:nvSpPr>
        <p:spPr/>
        <p:txBody>
          <a:bodyPr/>
          <a:lstStyle/>
          <a:p>
            <a:fld id="{BDDA4418-520B-4E43-A742-115F1EFE0E3F}" type="slidenum">
              <a:rPr lang="de-DE" altLang="en-US" smtClean="0"/>
              <a:pPr/>
              <a:t>23</a:t>
            </a:fld>
            <a:endParaRPr lang="de-DE" altLang="en-US"/>
          </a:p>
        </p:txBody>
      </p:sp>
      <p:pic>
        <p:nvPicPr>
          <p:cNvPr id="9" name="Picture 8">
            <a:extLst>
              <a:ext uri="{FF2B5EF4-FFF2-40B4-BE49-F238E27FC236}">
                <a16:creationId xmlns:a16="http://schemas.microsoft.com/office/drawing/2014/main" id="{5BB8EC11-B50F-C04C-97C1-1F976203AA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83965" y="3537012"/>
            <a:ext cx="4884035" cy="2747270"/>
          </a:xfrm>
          <a:prstGeom prst="rect">
            <a:avLst/>
          </a:prstGeom>
        </p:spPr>
      </p:pic>
      <p:sp>
        <p:nvSpPr>
          <p:cNvPr id="10" name="Rounded Rectangular Callout 9">
            <a:extLst>
              <a:ext uri="{FF2B5EF4-FFF2-40B4-BE49-F238E27FC236}">
                <a16:creationId xmlns:a16="http://schemas.microsoft.com/office/drawing/2014/main" id="{C41D6B05-4DE7-0F41-8366-0CDEC3C8432B}"/>
              </a:ext>
            </a:extLst>
          </p:cNvPr>
          <p:cNvSpPr/>
          <p:nvPr/>
        </p:nvSpPr>
        <p:spPr>
          <a:xfrm>
            <a:off x="1579877" y="2952894"/>
            <a:ext cx="936104" cy="180020"/>
          </a:xfrm>
          <a:prstGeom prst="wedgeRoundRectCallout">
            <a:avLst>
              <a:gd name="adj1" fmla="val -20833"/>
              <a:gd name="adj2" fmla="val -331340"/>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CDS reset</a:t>
            </a:r>
          </a:p>
        </p:txBody>
      </p:sp>
      <p:sp>
        <p:nvSpPr>
          <p:cNvPr id="11" name="TextBox 10">
            <a:extLst>
              <a:ext uri="{FF2B5EF4-FFF2-40B4-BE49-F238E27FC236}">
                <a16:creationId xmlns:a16="http://schemas.microsoft.com/office/drawing/2014/main" id="{907FC3C6-29CF-8749-A373-0D54D75DC00D}"/>
              </a:ext>
            </a:extLst>
          </p:cNvPr>
          <p:cNvSpPr txBox="1"/>
          <p:nvPr/>
        </p:nvSpPr>
        <p:spPr>
          <a:xfrm>
            <a:off x="4115781" y="2520774"/>
            <a:ext cx="1324465" cy="369332"/>
          </a:xfrm>
          <a:prstGeom prst="rect">
            <a:avLst/>
          </a:prstGeom>
          <a:noFill/>
        </p:spPr>
        <p:txBody>
          <a:bodyPr wrap="none" rtlCol="0">
            <a:spAutoFit/>
          </a:bodyPr>
          <a:lstStyle/>
          <a:p>
            <a:r>
              <a:rPr lang="en-US" dirty="0">
                <a:solidFill>
                  <a:srgbClr val="FFC000"/>
                </a:solidFill>
              </a:rPr>
              <a:t>Single trace </a:t>
            </a:r>
          </a:p>
        </p:txBody>
      </p:sp>
      <p:sp>
        <p:nvSpPr>
          <p:cNvPr id="12" name="TextBox 11">
            <a:extLst>
              <a:ext uri="{FF2B5EF4-FFF2-40B4-BE49-F238E27FC236}">
                <a16:creationId xmlns:a16="http://schemas.microsoft.com/office/drawing/2014/main" id="{4EFBFF7B-A0C7-AE41-90F3-53CE5480EABC}"/>
              </a:ext>
            </a:extLst>
          </p:cNvPr>
          <p:cNvSpPr txBox="1"/>
          <p:nvPr/>
        </p:nvSpPr>
        <p:spPr>
          <a:xfrm>
            <a:off x="7608169" y="4493869"/>
            <a:ext cx="1100045" cy="369332"/>
          </a:xfrm>
          <a:prstGeom prst="rect">
            <a:avLst/>
          </a:prstGeom>
          <a:noFill/>
        </p:spPr>
        <p:txBody>
          <a:bodyPr wrap="none" rtlCol="0">
            <a:spAutoFit/>
          </a:bodyPr>
          <a:lstStyle/>
          <a:p>
            <a:r>
              <a:rPr lang="en-US" dirty="0">
                <a:solidFill>
                  <a:srgbClr val="FFC000"/>
                </a:solidFill>
              </a:rPr>
              <a:t>16x trace </a:t>
            </a:r>
          </a:p>
        </p:txBody>
      </p:sp>
      <p:sp>
        <p:nvSpPr>
          <p:cNvPr id="13" name="Rounded Rectangular Callout 12">
            <a:extLst>
              <a:ext uri="{FF2B5EF4-FFF2-40B4-BE49-F238E27FC236}">
                <a16:creationId xmlns:a16="http://schemas.microsoft.com/office/drawing/2014/main" id="{4C68365C-8057-DD4B-A0FE-AB99161D53C5}"/>
              </a:ext>
            </a:extLst>
          </p:cNvPr>
          <p:cNvSpPr/>
          <p:nvPr/>
        </p:nvSpPr>
        <p:spPr>
          <a:xfrm>
            <a:off x="3263570" y="3140968"/>
            <a:ext cx="2328374" cy="180020"/>
          </a:xfrm>
          <a:prstGeom prst="wedgeRoundRectCallout">
            <a:avLst>
              <a:gd name="adj1" fmla="val -66195"/>
              <a:gd name="adj2" fmla="val -265087"/>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CDS readout with electron injection</a:t>
            </a:r>
          </a:p>
        </p:txBody>
      </p:sp>
      <p:sp>
        <p:nvSpPr>
          <p:cNvPr id="14" name="Rounded Rectangular Callout 13">
            <a:extLst>
              <a:ext uri="{FF2B5EF4-FFF2-40B4-BE49-F238E27FC236}">
                <a16:creationId xmlns:a16="http://schemas.microsoft.com/office/drawing/2014/main" id="{12DAC05D-F243-FE4D-A696-51C2A455C32C}"/>
              </a:ext>
            </a:extLst>
          </p:cNvPr>
          <p:cNvSpPr/>
          <p:nvPr/>
        </p:nvSpPr>
        <p:spPr>
          <a:xfrm>
            <a:off x="3188999" y="1943720"/>
            <a:ext cx="2487737" cy="180020"/>
          </a:xfrm>
          <a:prstGeom prst="wedgeRoundRectCallout">
            <a:avLst>
              <a:gd name="adj1" fmla="val -47697"/>
              <a:gd name="adj2" fmla="val 161880"/>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2x CDS readout without electron injection</a:t>
            </a:r>
          </a:p>
        </p:txBody>
      </p:sp>
      <p:sp>
        <p:nvSpPr>
          <p:cNvPr id="15" name="TextBox 14">
            <a:extLst>
              <a:ext uri="{FF2B5EF4-FFF2-40B4-BE49-F238E27FC236}">
                <a16:creationId xmlns:a16="http://schemas.microsoft.com/office/drawing/2014/main" id="{5A31092E-5788-7147-B4C3-BEDB6F80CA8A}"/>
              </a:ext>
            </a:extLst>
          </p:cNvPr>
          <p:cNvSpPr txBox="1"/>
          <p:nvPr/>
        </p:nvSpPr>
        <p:spPr>
          <a:xfrm>
            <a:off x="1883533" y="3929920"/>
            <a:ext cx="3556713"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t>Noise dominated by bias generation and wiring solution</a:t>
            </a:r>
          </a:p>
          <a:p>
            <a:pPr marL="285750" indent="-285750">
              <a:buFont typeface="Arial" panose="020B0604020202020204" pitchFamily="34" charset="0"/>
              <a:buChar char="•"/>
            </a:pPr>
            <a:r>
              <a:rPr lang="en-US" sz="1400" dirty="0"/>
              <a:t>Flex board solution and local high density decoupling capacitors on flex board will improve noise performance</a:t>
            </a:r>
          </a:p>
          <a:p>
            <a:pPr marL="285750" indent="-285750">
              <a:buFont typeface="Arial" panose="020B0604020202020204" pitchFamily="34" charset="0"/>
              <a:buChar char="•"/>
            </a:pPr>
            <a:r>
              <a:rPr lang="en-US" sz="1400" dirty="0"/>
              <a:t>Noise on 0.8 V supply dominates working on improved supply decoupling</a:t>
            </a:r>
          </a:p>
        </p:txBody>
      </p:sp>
      <p:sp>
        <p:nvSpPr>
          <p:cNvPr id="16" name="TextBox 15">
            <a:extLst>
              <a:ext uri="{FF2B5EF4-FFF2-40B4-BE49-F238E27FC236}">
                <a16:creationId xmlns:a16="http://schemas.microsoft.com/office/drawing/2014/main" id="{320FCD3F-2C16-E94C-A30B-865AF5AB9E1A}"/>
              </a:ext>
            </a:extLst>
          </p:cNvPr>
          <p:cNvSpPr txBox="1"/>
          <p:nvPr/>
        </p:nvSpPr>
        <p:spPr>
          <a:xfrm>
            <a:off x="6379834" y="1315713"/>
            <a:ext cx="3556713"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t>Full signal chain with on chip pattern generation, clock pulse generation and single electron correlated double sampler readout</a:t>
            </a:r>
          </a:p>
          <a:p>
            <a:pPr marL="285750" indent="-285750">
              <a:buFont typeface="Arial" panose="020B0604020202020204" pitchFamily="34" charset="0"/>
              <a:buChar char="•"/>
            </a:pPr>
            <a:r>
              <a:rPr lang="en-US" sz="1400" dirty="0"/>
              <a:t>Full design verification including electron transport in quantum structure</a:t>
            </a:r>
          </a:p>
        </p:txBody>
      </p:sp>
      <p:sp>
        <p:nvSpPr>
          <p:cNvPr id="17" name="Rectangle 16">
            <a:extLst>
              <a:ext uri="{FF2B5EF4-FFF2-40B4-BE49-F238E27FC236}">
                <a16:creationId xmlns:a16="http://schemas.microsoft.com/office/drawing/2014/main" id="{C6972C1A-3FA7-4B27-80BC-7B94ABFA8EBC}"/>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8" name="Footer Placeholder 3">
            <a:extLst>
              <a:ext uri="{FF2B5EF4-FFF2-40B4-BE49-F238E27FC236}">
                <a16:creationId xmlns:a16="http://schemas.microsoft.com/office/drawing/2014/main" id="{72E9C110-D7A0-4121-95F7-E5D77338CBE4}"/>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5665554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22F40-23B9-CB45-AD62-12D3455A7F1B}"/>
              </a:ext>
            </a:extLst>
          </p:cNvPr>
          <p:cNvSpPr>
            <a:spLocks noGrp="1"/>
          </p:cNvSpPr>
          <p:nvPr>
            <p:ph type="title"/>
          </p:nvPr>
        </p:nvSpPr>
        <p:spPr/>
        <p:txBody>
          <a:bodyPr/>
          <a:lstStyle/>
          <a:p>
            <a:r>
              <a:rPr lang="en-US" dirty="0"/>
              <a:t>Single electron operation on Quantum cell verified</a:t>
            </a:r>
          </a:p>
        </p:txBody>
      </p:sp>
      <p:sp>
        <p:nvSpPr>
          <p:cNvPr id="3" name="Content Placeholder 2">
            <a:extLst>
              <a:ext uri="{FF2B5EF4-FFF2-40B4-BE49-F238E27FC236}">
                <a16:creationId xmlns:a16="http://schemas.microsoft.com/office/drawing/2014/main" id="{70C425FE-2C2E-2346-ABB2-4D6D1FF5B867}"/>
              </a:ext>
            </a:extLst>
          </p:cNvPr>
          <p:cNvSpPr>
            <a:spLocks noGrp="1"/>
          </p:cNvSpPr>
          <p:nvPr>
            <p:ph idx="1"/>
          </p:nvPr>
        </p:nvSpPr>
        <p:spPr/>
        <p:txBody>
          <a:bodyPr/>
          <a:lstStyle/>
          <a:p>
            <a:pPr marL="0" indent="0">
              <a:buNone/>
            </a:pPr>
            <a:endParaRPr lang="en-US" dirty="0"/>
          </a:p>
          <a:p>
            <a:r>
              <a:rPr lang="en-US" dirty="0"/>
              <a:t>single electron detection in analog chain verified</a:t>
            </a:r>
          </a:p>
          <a:p>
            <a:r>
              <a:rPr lang="en-US" dirty="0"/>
              <a:t>Electron transport through quantum structure verified</a:t>
            </a:r>
          </a:p>
          <a:p>
            <a:r>
              <a:rPr lang="en-US" dirty="0"/>
              <a:t>Verification of intentional design rule violation in quantum structures</a:t>
            </a:r>
          </a:p>
          <a:p>
            <a:endParaRPr lang="en-US" dirty="0"/>
          </a:p>
        </p:txBody>
      </p:sp>
      <p:sp>
        <p:nvSpPr>
          <p:cNvPr id="5" name="Slide Number Placeholder 4">
            <a:extLst>
              <a:ext uri="{FF2B5EF4-FFF2-40B4-BE49-F238E27FC236}">
                <a16:creationId xmlns:a16="http://schemas.microsoft.com/office/drawing/2014/main" id="{67B337CB-0FB5-4A4F-B998-8837315D7E08}"/>
              </a:ext>
            </a:extLst>
          </p:cNvPr>
          <p:cNvSpPr>
            <a:spLocks noGrp="1"/>
          </p:cNvSpPr>
          <p:nvPr>
            <p:ph type="sldNum" sz="quarter" idx="12"/>
          </p:nvPr>
        </p:nvSpPr>
        <p:spPr/>
        <p:txBody>
          <a:bodyPr/>
          <a:lstStyle/>
          <a:p>
            <a:fld id="{BDDA4418-520B-4E43-A742-115F1EFE0E3F}" type="slidenum">
              <a:rPr lang="de-DE" altLang="en-US" smtClean="0"/>
              <a:pPr/>
              <a:t>24</a:t>
            </a:fld>
            <a:endParaRPr lang="de-DE" altLang="en-US"/>
          </a:p>
        </p:txBody>
      </p:sp>
      <p:pic>
        <p:nvPicPr>
          <p:cNvPr id="6" name="Picture 5">
            <a:extLst>
              <a:ext uri="{FF2B5EF4-FFF2-40B4-BE49-F238E27FC236}">
                <a16:creationId xmlns:a16="http://schemas.microsoft.com/office/drawing/2014/main" id="{8FE8F8D8-B9A9-194E-B7C4-EB440673C6B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25216" y="2506765"/>
            <a:ext cx="3719427" cy="2315774"/>
          </a:xfrm>
          <a:prstGeom prst="rect">
            <a:avLst/>
          </a:prstGeom>
        </p:spPr>
      </p:pic>
      <p:pic>
        <p:nvPicPr>
          <p:cNvPr id="7" name="Picture 6">
            <a:extLst>
              <a:ext uri="{FF2B5EF4-FFF2-40B4-BE49-F238E27FC236}">
                <a16:creationId xmlns:a16="http://schemas.microsoft.com/office/drawing/2014/main" id="{30E4F13B-57DC-4340-9208-B6704551882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60196" y="2528900"/>
            <a:ext cx="2395736" cy="2395736"/>
          </a:xfrm>
          <a:prstGeom prst="rect">
            <a:avLst/>
          </a:prstGeom>
        </p:spPr>
      </p:pic>
      <p:pic>
        <p:nvPicPr>
          <p:cNvPr id="8" name="Picture 7">
            <a:extLst>
              <a:ext uri="{FF2B5EF4-FFF2-40B4-BE49-F238E27FC236}">
                <a16:creationId xmlns:a16="http://schemas.microsoft.com/office/drawing/2014/main" id="{E795FDF3-6E56-8B45-84F4-15A7BFD744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17360" y="4005064"/>
            <a:ext cx="2097704" cy="2097704"/>
          </a:xfrm>
          <a:prstGeom prst="rect">
            <a:avLst/>
          </a:prstGeom>
        </p:spPr>
      </p:pic>
      <p:sp>
        <p:nvSpPr>
          <p:cNvPr id="9" name="Rounded Rectangular Callout 8">
            <a:extLst>
              <a:ext uri="{FF2B5EF4-FFF2-40B4-BE49-F238E27FC236}">
                <a16:creationId xmlns:a16="http://schemas.microsoft.com/office/drawing/2014/main" id="{3609785A-F0D2-7549-8B65-6973FAB87B73}"/>
              </a:ext>
            </a:extLst>
          </p:cNvPr>
          <p:cNvSpPr/>
          <p:nvPr/>
        </p:nvSpPr>
        <p:spPr>
          <a:xfrm>
            <a:off x="8423920" y="3879050"/>
            <a:ext cx="1440160" cy="252028"/>
          </a:xfrm>
          <a:prstGeom prst="wedgeRoundRectCallout">
            <a:avLst>
              <a:gd name="adj1" fmla="val -32795"/>
              <a:gd name="adj2" fmla="val -213557"/>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Transport channel</a:t>
            </a:r>
          </a:p>
        </p:txBody>
      </p:sp>
      <p:sp>
        <p:nvSpPr>
          <p:cNvPr id="10" name="Rounded Rectangular Callout 9">
            <a:extLst>
              <a:ext uri="{FF2B5EF4-FFF2-40B4-BE49-F238E27FC236}">
                <a16:creationId xmlns:a16="http://schemas.microsoft.com/office/drawing/2014/main" id="{7D9CA578-396F-6F4E-8203-6E4CE85AFA3A}"/>
              </a:ext>
            </a:extLst>
          </p:cNvPr>
          <p:cNvSpPr/>
          <p:nvPr/>
        </p:nvSpPr>
        <p:spPr>
          <a:xfrm>
            <a:off x="6492044" y="5615372"/>
            <a:ext cx="900100" cy="252028"/>
          </a:xfrm>
          <a:prstGeom prst="wedgeRoundRectCallout">
            <a:avLst>
              <a:gd name="adj1" fmla="val 9534"/>
              <a:gd name="adj2" fmla="val -168862"/>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Readout node</a:t>
            </a:r>
          </a:p>
        </p:txBody>
      </p:sp>
      <p:sp>
        <p:nvSpPr>
          <p:cNvPr id="11" name="Rounded Rectangular Callout 10">
            <a:extLst>
              <a:ext uri="{FF2B5EF4-FFF2-40B4-BE49-F238E27FC236}">
                <a16:creationId xmlns:a16="http://schemas.microsoft.com/office/drawing/2014/main" id="{43F2F015-37DE-384F-BB44-D94B9D9F677F}"/>
              </a:ext>
            </a:extLst>
          </p:cNvPr>
          <p:cNvSpPr/>
          <p:nvPr/>
        </p:nvSpPr>
        <p:spPr>
          <a:xfrm>
            <a:off x="1825215" y="3538638"/>
            <a:ext cx="900100" cy="252028"/>
          </a:xfrm>
          <a:prstGeom prst="wedgeRoundRectCallout">
            <a:avLst>
              <a:gd name="adj1" fmla="val -2244"/>
              <a:gd name="adj2" fmla="val -174120"/>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Readout node</a:t>
            </a:r>
          </a:p>
        </p:txBody>
      </p:sp>
      <p:sp>
        <p:nvSpPr>
          <p:cNvPr id="12" name="Rounded Rectangular Callout 11">
            <a:extLst>
              <a:ext uri="{FF2B5EF4-FFF2-40B4-BE49-F238E27FC236}">
                <a16:creationId xmlns:a16="http://schemas.microsoft.com/office/drawing/2014/main" id="{EE14E1A6-9F6B-F44B-99B0-9DB380F78418}"/>
              </a:ext>
            </a:extLst>
          </p:cNvPr>
          <p:cNvSpPr/>
          <p:nvPr/>
        </p:nvSpPr>
        <p:spPr>
          <a:xfrm>
            <a:off x="4274006" y="3726768"/>
            <a:ext cx="900100" cy="252028"/>
          </a:xfrm>
          <a:prstGeom prst="wedgeRoundRectCallout">
            <a:avLst>
              <a:gd name="adj1" fmla="val -45677"/>
              <a:gd name="adj2" fmla="val -210927"/>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Transport channel</a:t>
            </a:r>
          </a:p>
        </p:txBody>
      </p:sp>
      <p:sp>
        <p:nvSpPr>
          <p:cNvPr id="13" name="Rounded Rectangular Callout 12">
            <a:extLst>
              <a:ext uri="{FF2B5EF4-FFF2-40B4-BE49-F238E27FC236}">
                <a16:creationId xmlns:a16="http://schemas.microsoft.com/office/drawing/2014/main" id="{8B1F3E68-FB9D-CD4C-8188-15052A966815}"/>
              </a:ext>
            </a:extLst>
          </p:cNvPr>
          <p:cNvSpPr/>
          <p:nvPr/>
        </p:nvSpPr>
        <p:spPr>
          <a:xfrm>
            <a:off x="2171564" y="2489913"/>
            <a:ext cx="900100" cy="252028"/>
          </a:xfrm>
          <a:prstGeom prst="wedgeRoundRectCallout">
            <a:avLst>
              <a:gd name="adj1" fmla="val 42661"/>
              <a:gd name="adj2" fmla="val 138744"/>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dirty="0"/>
              <a:t>Imposer gate</a:t>
            </a:r>
          </a:p>
        </p:txBody>
      </p:sp>
      <p:sp>
        <p:nvSpPr>
          <p:cNvPr id="14" name="Rectangle 13">
            <a:extLst>
              <a:ext uri="{FF2B5EF4-FFF2-40B4-BE49-F238E27FC236}">
                <a16:creationId xmlns:a16="http://schemas.microsoft.com/office/drawing/2014/main" id="{756C07DD-8260-48C5-83EF-A473B11F58D6}"/>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5" name="Footer Placeholder 3">
            <a:extLst>
              <a:ext uri="{FF2B5EF4-FFF2-40B4-BE49-F238E27FC236}">
                <a16:creationId xmlns:a16="http://schemas.microsoft.com/office/drawing/2014/main" id="{78A63CEB-4683-4A11-997E-10F498C6262B}"/>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
        <p:nvSpPr>
          <p:cNvPr id="4" name="TextBox 3">
            <a:extLst>
              <a:ext uri="{FF2B5EF4-FFF2-40B4-BE49-F238E27FC236}">
                <a16:creationId xmlns:a16="http://schemas.microsoft.com/office/drawing/2014/main" id="{D573F886-1EC0-4F05-B9C1-0A26179B41E1}"/>
              </a:ext>
            </a:extLst>
          </p:cNvPr>
          <p:cNvSpPr txBox="1"/>
          <p:nvPr/>
        </p:nvSpPr>
        <p:spPr>
          <a:xfrm>
            <a:off x="479376" y="5338082"/>
            <a:ext cx="4941435" cy="923330"/>
          </a:xfrm>
          <a:prstGeom prst="rect">
            <a:avLst/>
          </a:prstGeom>
          <a:noFill/>
        </p:spPr>
        <p:txBody>
          <a:bodyPr wrap="square" rtlCol="0">
            <a:spAutoFit/>
          </a:bodyPr>
          <a:lstStyle/>
          <a:p>
            <a:pPr algn="ctr"/>
            <a:r>
              <a:rPr lang="en-US" dirty="0"/>
              <a:t>Pictures courtesy Global Foundry</a:t>
            </a:r>
          </a:p>
          <a:p>
            <a:pPr algn="ctr"/>
            <a:r>
              <a:rPr lang="en-US" dirty="0"/>
              <a:t>We like to thank Global foundry from their continuing development support</a:t>
            </a:r>
          </a:p>
        </p:txBody>
      </p:sp>
    </p:spTree>
    <p:extLst>
      <p:ext uri="{BB962C8B-B14F-4D97-AF65-F5344CB8AC3E}">
        <p14:creationId xmlns:p14="http://schemas.microsoft.com/office/powerpoint/2010/main" val="16103589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699D3-EE4D-2843-9EB6-F6C1FCB7D58C}"/>
              </a:ext>
            </a:extLst>
          </p:cNvPr>
          <p:cNvSpPr>
            <a:spLocks noGrp="1"/>
          </p:cNvSpPr>
          <p:nvPr>
            <p:ph type="title"/>
          </p:nvPr>
        </p:nvSpPr>
        <p:spPr/>
        <p:txBody>
          <a:bodyPr/>
          <a:lstStyle/>
          <a:p>
            <a:r>
              <a:rPr lang="en-US" dirty="0"/>
              <a:t>Single electron detector statistics</a:t>
            </a:r>
          </a:p>
        </p:txBody>
      </p:sp>
      <p:sp>
        <p:nvSpPr>
          <p:cNvPr id="3" name="Content Placeholder 2">
            <a:extLst>
              <a:ext uri="{FF2B5EF4-FFF2-40B4-BE49-F238E27FC236}">
                <a16:creationId xmlns:a16="http://schemas.microsoft.com/office/drawing/2014/main" id="{85010CC0-54EA-1C43-A057-C106F2EC6DA1}"/>
              </a:ext>
            </a:extLst>
          </p:cNvPr>
          <p:cNvSpPr>
            <a:spLocks noGrp="1"/>
          </p:cNvSpPr>
          <p:nvPr>
            <p:ph idx="1"/>
          </p:nvPr>
        </p:nvSpPr>
        <p:spPr>
          <a:xfrm>
            <a:off x="1981200" y="5640388"/>
            <a:ext cx="8229600" cy="715962"/>
          </a:xfrm>
        </p:spPr>
        <p:txBody>
          <a:bodyPr/>
          <a:lstStyle/>
          <a:p>
            <a:r>
              <a:rPr lang="en-US" dirty="0"/>
              <a:t>Detector signal about 4mV per electron</a:t>
            </a:r>
          </a:p>
          <a:p>
            <a:r>
              <a:rPr lang="en-US" dirty="0"/>
              <a:t>Full signal chain gain about 100mV per electron</a:t>
            </a:r>
          </a:p>
        </p:txBody>
      </p:sp>
      <p:sp>
        <p:nvSpPr>
          <p:cNvPr id="5" name="Slide Number Placeholder 4">
            <a:extLst>
              <a:ext uri="{FF2B5EF4-FFF2-40B4-BE49-F238E27FC236}">
                <a16:creationId xmlns:a16="http://schemas.microsoft.com/office/drawing/2014/main" id="{EA2B8944-B23F-8B4E-BD3A-450EB199D21C}"/>
              </a:ext>
            </a:extLst>
          </p:cNvPr>
          <p:cNvSpPr>
            <a:spLocks noGrp="1"/>
          </p:cNvSpPr>
          <p:nvPr>
            <p:ph type="sldNum" sz="quarter" idx="12"/>
          </p:nvPr>
        </p:nvSpPr>
        <p:spPr/>
        <p:txBody>
          <a:bodyPr/>
          <a:lstStyle/>
          <a:p>
            <a:fld id="{BDDA4418-520B-4E43-A742-115F1EFE0E3F}" type="slidenum">
              <a:rPr lang="de-DE" altLang="en-US" smtClean="0"/>
              <a:pPr/>
              <a:t>25</a:t>
            </a:fld>
            <a:endParaRPr lang="de-DE" altLang="en-US"/>
          </a:p>
        </p:txBody>
      </p:sp>
      <p:pic>
        <p:nvPicPr>
          <p:cNvPr id="7" name="Picture 6">
            <a:extLst>
              <a:ext uri="{FF2B5EF4-FFF2-40B4-BE49-F238E27FC236}">
                <a16:creationId xmlns:a16="http://schemas.microsoft.com/office/drawing/2014/main" id="{D31B439E-43A2-5540-B901-D44F9C943382}"/>
              </a:ext>
            </a:extLst>
          </p:cNvPr>
          <p:cNvPicPr>
            <a:picLocks noChangeAspect="1"/>
          </p:cNvPicPr>
          <p:nvPr/>
        </p:nvPicPr>
        <p:blipFill>
          <a:blip r:embed="rId2"/>
          <a:stretch>
            <a:fillRect/>
          </a:stretch>
        </p:blipFill>
        <p:spPr>
          <a:xfrm>
            <a:off x="5051884" y="1142253"/>
            <a:ext cx="2958311" cy="1972207"/>
          </a:xfrm>
          <a:prstGeom prst="rect">
            <a:avLst/>
          </a:prstGeom>
        </p:spPr>
      </p:pic>
      <p:pic>
        <p:nvPicPr>
          <p:cNvPr id="9" name="Picture 8">
            <a:extLst>
              <a:ext uri="{FF2B5EF4-FFF2-40B4-BE49-F238E27FC236}">
                <a16:creationId xmlns:a16="http://schemas.microsoft.com/office/drawing/2014/main" id="{C708DA3F-2E81-7345-9546-AD32C11167D6}"/>
              </a:ext>
            </a:extLst>
          </p:cNvPr>
          <p:cNvPicPr>
            <a:picLocks noChangeAspect="1"/>
          </p:cNvPicPr>
          <p:nvPr/>
        </p:nvPicPr>
        <p:blipFill>
          <a:blip r:embed="rId3"/>
          <a:stretch>
            <a:fillRect/>
          </a:stretch>
        </p:blipFill>
        <p:spPr>
          <a:xfrm>
            <a:off x="1766760" y="3256993"/>
            <a:ext cx="3102758" cy="2068505"/>
          </a:xfrm>
          <a:prstGeom prst="rect">
            <a:avLst/>
          </a:prstGeom>
        </p:spPr>
      </p:pic>
      <p:pic>
        <p:nvPicPr>
          <p:cNvPr id="13" name="Picture 12">
            <a:extLst>
              <a:ext uri="{FF2B5EF4-FFF2-40B4-BE49-F238E27FC236}">
                <a16:creationId xmlns:a16="http://schemas.microsoft.com/office/drawing/2014/main" id="{91347BC9-D3F2-A848-BE68-0E6B1016F47A}"/>
              </a:ext>
            </a:extLst>
          </p:cNvPr>
          <p:cNvPicPr>
            <a:picLocks noChangeAspect="1"/>
          </p:cNvPicPr>
          <p:nvPr/>
        </p:nvPicPr>
        <p:blipFill>
          <a:blip r:embed="rId4"/>
          <a:stretch>
            <a:fillRect/>
          </a:stretch>
        </p:blipFill>
        <p:spPr>
          <a:xfrm>
            <a:off x="1811524" y="1037943"/>
            <a:ext cx="3013230" cy="2008820"/>
          </a:xfrm>
          <a:prstGeom prst="rect">
            <a:avLst/>
          </a:prstGeom>
        </p:spPr>
      </p:pic>
      <p:pic>
        <p:nvPicPr>
          <p:cNvPr id="15" name="Picture 14">
            <a:extLst>
              <a:ext uri="{FF2B5EF4-FFF2-40B4-BE49-F238E27FC236}">
                <a16:creationId xmlns:a16="http://schemas.microsoft.com/office/drawing/2014/main" id="{77FF49EB-AEB5-9048-AE33-A01A8AA35498}"/>
              </a:ext>
            </a:extLst>
          </p:cNvPr>
          <p:cNvPicPr>
            <a:picLocks noChangeAspect="1"/>
          </p:cNvPicPr>
          <p:nvPr/>
        </p:nvPicPr>
        <p:blipFill>
          <a:blip r:embed="rId5"/>
          <a:stretch>
            <a:fillRect/>
          </a:stretch>
        </p:blipFill>
        <p:spPr>
          <a:xfrm>
            <a:off x="5165449" y="3429000"/>
            <a:ext cx="2844746" cy="1896497"/>
          </a:xfrm>
          <a:prstGeom prst="rect">
            <a:avLst/>
          </a:prstGeom>
        </p:spPr>
      </p:pic>
      <p:sp>
        <p:nvSpPr>
          <p:cNvPr id="21" name="Rectangular Callout 20">
            <a:extLst>
              <a:ext uri="{FF2B5EF4-FFF2-40B4-BE49-F238E27FC236}">
                <a16:creationId xmlns:a16="http://schemas.microsoft.com/office/drawing/2014/main" id="{F59A4306-BF4F-A143-A3EC-AD4CEC596442}"/>
              </a:ext>
            </a:extLst>
          </p:cNvPr>
          <p:cNvSpPr/>
          <p:nvPr/>
        </p:nvSpPr>
        <p:spPr>
          <a:xfrm>
            <a:off x="2747628" y="1352483"/>
            <a:ext cx="1245850" cy="180021"/>
          </a:xfrm>
          <a:prstGeom prst="wedgeRectCallout">
            <a:avLst>
              <a:gd name="adj1" fmla="val -59701"/>
              <a:gd name="adj2" fmla="val 9364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0 electrons</a:t>
            </a:r>
          </a:p>
        </p:txBody>
      </p:sp>
      <p:sp>
        <p:nvSpPr>
          <p:cNvPr id="22" name="Rectangular Callout 21">
            <a:extLst>
              <a:ext uri="{FF2B5EF4-FFF2-40B4-BE49-F238E27FC236}">
                <a16:creationId xmlns:a16="http://schemas.microsoft.com/office/drawing/2014/main" id="{52E343BC-E8FE-CB45-8ED9-20C88E7ECD62}"/>
              </a:ext>
            </a:extLst>
          </p:cNvPr>
          <p:cNvSpPr/>
          <p:nvPr/>
        </p:nvSpPr>
        <p:spPr>
          <a:xfrm>
            <a:off x="2839210" y="3766241"/>
            <a:ext cx="1245850" cy="180021"/>
          </a:xfrm>
          <a:prstGeom prst="wedgeRectCallout">
            <a:avLst>
              <a:gd name="adj1" fmla="val -57574"/>
              <a:gd name="adj2" fmla="val 34025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0 electrons</a:t>
            </a:r>
          </a:p>
        </p:txBody>
      </p:sp>
      <p:sp>
        <p:nvSpPr>
          <p:cNvPr id="23" name="Rectangular Callout 22">
            <a:extLst>
              <a:ext uri="{FF2B5EF4-FFF2-40B4-BE49-F238E27FC236}">
                <a16:creationId xmlns:a16="http://schemas.microsoft.com/office/drawing/2014/main" id="{2F6D68CC-1918-7A48-91AC-C17E7F6A1CB5}"/>
              </a:ext>
            </a:extLst>
          </p:cNvPr>
          <p:cNvSpPr/>
          <p:nvPr/>
        </p:nvSpPr>
        <p:spPr>
          <a:xfrm>
            <a:off x="3215680" y="4182756"/>
            <a:ext cx="1245850" cy="180021"/>
          </a:xfrm>
          <a:prstGeom prst="wedgeRectCallout">
            <a:avLst>
              <a:gd name="adj1" fmla="val -29385"/>
              <a:gd name="adj2" fmla="val 248239"/>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1 electrons</a:t>
            </a:r>
          </a:p>
        </p:txBody>
      </p:sp>
      <p:sp>
        <p:nvSpPr>
          <p:cNvPr id="24" name="Rectangular Callout 23">
            <a:extLst>
              <a:ext uri="{FF2B5EF4-FFF2-40B4-BE49-F238E27FC236}">
                <a16:creationId xmlns:a16="http://schemas.microsoft.com/office/drawing/2014/main" id="{384D0C8C-718F-C845-8E5A-FEB0EB19B6B1}"/>
              </a:ext>
            </a:extLst>
          </p:cNvPr>
          <p:cNvSpPr/>
          <p:nvPr/>
        </p:nvSpPr>
        <p:spPr>
          <a:xfrm>
            <a:off x="5447928" y="1898337"/>
            <a:ext cx="1008112" cy="144016"/>
          </a:xfrm>
          <a:prstGeom prst="wedgeRectCallout">
            <a:avLst>
              <a:gd name="adj1" fmla="val -3075"/>
              <a:gd name="adj2" fmla="val 54576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0 electrons</a:t>
            </a:r>
          </a:p>
        </p:txBody>
      </p:sp>
      <p:sp>
        <p:nvSpPr>
          <p:cNvPr id="25" name="Rectangular Callout 24">
            <a:extLst>
              <a:ext uri="{FF2B5EF4-FFF2-40B4-BE49-F238E27FC236}">
                <a16:creationId xmlns:a16="http://schemas.microsoft.com/office/drawing/2014/main" id="{30DC07C2-DDF9-AF4F-B2AD-CCCE7EF7186E}"/>
              </a:ext>
            </a:extLst>
          </p:cNvPr>
          <p:cNvSpPr/>
          <p:nvPr/>
        </p:nvSpPr>
        <p:spPr>
          <a:xfrm>
            <a:off x="5951984" y="1405302"/>
            <a:ext cx="1245850" cy="180021"/>
          </a:xfrm>
          <a:prstGeom prst="wedgeRectCallout">
            <a:avLst>
              <a:gd name="adj1" fmla="val 3590"/>
              <a:gd name="adj2" fmla="val 20407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1 electrons</a:t>
            </a:r>
          </a:p>
        </p:txBody>
      </p:sp>
      <p:sp>
        <p:nvSpPr>
          <p:cNvPr id="26" name="Rectangular Callout 25">
            <a:extLst>
              <a:ext uri="{FF2B5EF4-FFF2-40B4-BE49-F238E27FC236}">
                <a16:creationId xmlns:a16="http://schemas.microsoft.com/office/drawing/2014/main" id="{F82C7B16-363E-3D46-846F-27D3D5D6204D}"/>
              </a:ext>
            </a:extLst>
          </p:cNvPr>
          <p:cNvSpPr/>
          <p:nvPr/>
        </p:nvSpPr>
        <p:spPr>
          <a:xfrm>
            <a:off x="6573591" y="1927327"/>
            <a:ext cx="1245850" cy="180021"/>
          </a:xfrm>
          <a:prstGeom prst="wedgeRectCallout">
            <a:avLst>
              <a:gd name="adj1" fmla="val 3590"/>
              <a:gd name="adj2" fmla="val 20407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2 electrons</a:t>
            </a:r>
          </a:p>
        </p:txBody>
      </p:sp>
      <p:sp>
        <p:nvSpPr>
          <p:cNvPr id="27" name="Rectangular Callout 26">
            <a:extLst>
              <a:ext uri="{FF2B5EF4-FFF2-40B4-BE49-F238E27FC236}">
                <a16:creationId xmlns:a16="http://schemas.microsoft.com/office/drawing/2014/main" id="{FC4F9FE3-3B90-5748-A8C7-93CB73EA1392}"/>
              </a:ext>
            </a:extLst>
          </p:cNvPr>
          <p:cNvSpPr/>
          <p:nvPr/>
        </p:nvSpPr>
        <p:spPr>
          <a:xfrm>
            <a:off x="5549275" y="3700700"/>
            <a:ext cx="1245850" cy="180021"/>
          </a:xfrm>
          <a:prstGeom prst="wedgeRectCallout">
            <a:avLst>
              <a:gd name="adj1" fmla="val -3325"/>
              <a:gd name="adj2" fmla="val 222474"/>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0 electrons</a:t>
            </a:r>
          </a:p>
        </p:txBody>
      </p:sp>
      <p:sp>
        <p:nvSpPr>
          <p:cNvPr id="28" name="Rectangular Callout 27">
            <a:extLst>
              <a:ext uri="{FF2B5EF4-FFF2-40B4-BE49-F238E27FC236}">
                <a16:creationId xmlns:a16="http://schemas.microsoft.com/office/drawing/2014/main" id="{6943AF06-53C3-BB45-9973-438E3594A9DF}"/>
              </a:ext>
            </a:extLst>
          </p:cNvPr>
          <p:cNvSpPr/>
          <p:nvPr/>
        </p:nvSpPr>
        <p:spPr>
          <a:xfrm>
            <a:off x="6506707" y="3880721"/>
            <a:ext cx="1245850" cy="180021"/>
          </a:xfrm>
          <a:prstGeom prst="wedgeRectCallout">
            <a:avLst>
              <a:gd name="adj1" fmla="val -32576"/>
              <a:gd name="adj2" fmla="val 10837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1 electrons</a:t>
            </a:r>
          </a:p>
        </p:txBody>
      </p:sp>
      <p:sp>
        <p:nvSpPr>
          <p:cNvPr id="18" name="Rectangle 17">
            <a:extLst>
              <a:ext uri="{FF2B5EF4-FFF2-40B4-BE49-F238E27FC236}">
                <a16:creationId xmlns:a16="http://schemas.microsoft.com/office/drawing/2014/main" id="{9B5FBD98-A4F9-42B7-8B6F-2A65384C2D08}"/>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9" name="Footer Placeholder 3">
            <a:extLst>
              <a:ext uri="{FF2B5EF4-FFF2-40B4-BE49-F238E27FC236}">
                <a16:creationId xmlns:a16="http://schemas.microsoft.com/office/drawing/2014/main" id="{9387C099-AAA0-4142-A6AA-3A7347D60AD9}"/>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7042975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CA1996-BC1A-444F-9951-6C46BCC8F46F}"/>
              </a:ext>
            </a:extLst>
          </p:cNvPr>
          <p:cNvSpPr>
            <a:spLocks noGrp="1"/>
          </p:cNvSpPr>
          <p:nvPr>
            <p:ph type="title"/>
          </p:nvPr>
        </p:nvSpPr>
        <p:spPr/>
        <p:txBody>
          <a:bodyPr/>
          <a:lstStyle/>
          <a:p>
            <a:r>
              <a:rPr lang="en-US" dirty="0"/>
              <a:t>Current state of qubit measurements</a:t>
            </a:r>
          </a:p>
        </p:txBody>
      </p:sp>
      <p:sp>
        <p:nvSpPr>
          <p:cNvPr id="3" name="Content Placeholder 2">
            <a:extLst>
              <a:ext uri="{FF2B5EF4-FFF2-40B4-BE49-F238E27FC236}">
                <a16:creationId xmlns:a16="http://schemas.microsoft.com/office/drawing/2014/main" id="{0C9FB4DD-7A35-4C40-A042-473E0B955DE2}"/>
              </a:ext>
            </a:extLst>
          </p:cNvPr>
          <p:cNvSpPr>
            <a:spLocks noGrp="1"/>
          </p:cNvSpPr>
          <p:nvPr>
            <p:ph idx="1"/>
          </p:nvPr>
        </p:nvSpPr>
        <p:spPr>
          <a:xfrm>
            <a:off x="695400" y="5193196"/>
            <a:ext cx="10972800" cy="715962"/>
          </a:xfrm>
        </p:spPr>
        <p:txBody>
          <a:bodyPr/>
          <a:lstStyle/>
          <a:p>
            <a:r>
              <a:rPr lang="en-US" dirty="0"/>
              <a:t>We don’t claim positive confirmation of Rabi Oscillations (yet), but we do see non-trivial behavior of detector readout with pulse width</a:t>
            </a:r>
          </a:p>
          <a:p>
            <a:r>
              <a:rPr lang="en-US" dirty="0"/>
              <a:t>We are confident that noise can be reduced by room temperature technical measures</a:t>
            </a:r>
          </a:p>
          <a:p>
            <a:endParaRPr lang="en-US" dirty="0"/>
          </a:p>
        </p:txBody>
      </p:sp>
      <p:sp>
        <p:nvSpPr>
          <p:cNvPr id="4" name="Footer Placeholder 3">
            <a:extLst>
              <a:ext uri="{FF2B5EF4-FFF2-40B4-BE49-F238E27FC236}">
                <a16:creationId xmlns:a16="http://schemas.microsoft.com/office/drawing/2014/main" id="{235AC576-4637-4195-8CD9-90F3EA61AC49}"/>
              </a:ext>
            </a:extLst>
          </p:cNvPr>
          <p:cNvSpPr>
            <a:spLocks noGrp="1"/>
          </p:cNvSpPr>
          <p:nvPr>
            <p:ph type="ftr" sz="quarter" idx="11"/>
          </p:nvPr>
        </p:nvSpPr>
        <p:spPr/>
        <p:txBody>
          <a:bodyPr/>
          <a:lstStyle/>
          <a:p>
            <a:pPr>
              <a:defRPr/>
            </a:pPr>
            <a:r>
              <a:rPr lang="de-DE" altLang="en-US"/>
              <a:t>2019 ®Equal1 Proprietary &amp; Confidential</a:t>
            </a:r>
          </a:p>
        </p:txBody>
      </p:sp>
      <p:sp>
        <p:nvSpPr>
          <p:cNvPr id="5" name="Slide Number Placeholder 4">
            <a:extLst>
              <a:ext uri="{FF2B5EF4-FFF2-40B4-BE49-F238E27FC236}">
                <a16:creationId xmlns:a16="http://schemas.microsoft.com/office/drawing/2014/main" id="{8195701E-08FF-4C6E-97FB-279A9D3EFF9F}"/>
              </a:ext>
            </a:extLst>
          </p:cNvPr>
          <p:cNvSpPr>
            <a:spLocks noGrp="1"/>
          </p:cNvSpPr>
          <p:nvPr>
            <p:ph type="sldNum" sz="quarter" idx="12"/>
          </p:nvPr>
        </p:nvSpPr>
        <p:spPr/>
        <p:txBody>
          <a:bodyPr/>
          <a:lstStyle/>
          <a:p>
            <a:fld id="{BDDA4418-520B-4E43-A742-115F1EFE0E3F}" type="slidenum">
              <a:rPr lang="de-DE" altLang="en-US" smtClean="0"/>
              <a:pPr/>
              <a:t>26</a:t>
            </a:fld>
            <a:endParaRPr lang="de-DE" altLang="en-US"/>
          </a:p>
        </p:txBody>
      </p:sp>
      <p:pic>
        <p:nvPicPr>
          <p:cNvPr id="7" name="Picture 6">
            <a:extLst>
              <a:ext uri="{FF2B5EF4-FFF2-40B4-BE49-F238E27FC236}">
                <a16:creationId xmlns:a16="http://schemas.microsoft.com/office/drawing/2014/main" id="{B8633094-5C15-402D-9EF6-AF266E4746B3}"/>
              </a:ext>
            </a:extLst>
          </p:cNvPr>
          <p:cNvPicPr>
            <a:picLocks noChangeAspect="1"/>
          </p:cNvPicPr>
          <p:nvPr/>
        </p:nvPicPr>
        <p:blipFill>
          <a:blip r:embed="rId2"/>
          <a:stretch>
            <a:fillRect/>
          </a:stretch>
        </p:blipFill>
        <p:spPr>
          <a:xfrm>
            <a:off x="479376" y="1232756"/>
            <a:ext cx="5158334" cy="3868751"/>
          </a:xfrm>
          <a:prstGeom prst="rect">
            <a:avLst/>
          </a:prstGeom>
        </p:spPr>
      </p:pic>
      <p:pic>
        <p:nvPicPr>
          <p:cNvPr id="9" name="Picture 8">
            <a:extLst>
              <a:ext uri="{FF2B5EF4-FFF2-40B4-BE49-F238E27FC236}">
                <a16:creationId xmlns:a16="http://schemas.microsoft.com/office/drawing/2014/main" id="{61D68AE8-8844-41DE-B65E-A47D052331E6}"/>
              </a:ext>
            </a:extLst>
          </p:cNvPr>
          <p:cNvPicPr>
            <a:picLocks noChangeAspect="1"/>
          </p:cNvPicPr>
          <p:nvPr/>
        </p:nvPicPr>
        <p:blipFill>
          <a:blip r:embed="rId3"/>
          <a:stretch>
            <a:fillRect/>
          </a:stretch>
        </p:blipFill>
        <p:spPr>
          <a:xfrm>
            <a:off x="6023992" y="1180429"/>
            <a:ext cx="5158335" cy="3868751"/>
          </a:xfrm>
          <a:prstGeom prst="rect">
            <a:avLst/>
          </a:prstGeom>
        </p:spPr>
      </p:pic>
    </p:spTree>
    <p:extLst>
      <p:ext uri="{BB962C8B-B14F-4D97-AF65-F5344CB8AC3E}">
        <p14:creationId xmlns:p14="http://schemas.microsoft.com/office/powerpoint/2010/main" val="16360483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A6312-E4C7-9C4A-9D98-8F0F3B8408D6}"/>
              </a:ext>
            </a:extLst>
          </p:cNvPr>
          <p:cNvSpPr>
            <a:spLocks noGrp="1"/>
          </p:cNvSpPr>
          <p:nvPr>
            <p:ph type="title"/>
          </p:nvPr>
        </p:nvSpPr>
        <p:spPr/>
        <p:txBody>
          <a:bodyPr/>
          <a:lstStyle/>
          <a:p>
            <a:r>
              <a:rPr lang="en-US" dirty="0"/>
              <a:t>Alpha2 test chip</a:t>
            </a:r>
          </a:p>
        </p:txBody>
      </p:sp>
      <p:sp>
        <p:nvSpPr>
          <p:cNvPr id="3" name="Content Placeholder 2">
            <a:extLst>
              <a:ext uri="{FF2B5EF4-FFF2-40B4-BE49-F238E27FC236}">
                <a16:creationId xmlns:a16="http://schemas.microsoft.com/office/drawing/2014/main" id="{17679F4D-FFBA-604C-BE8C-673821A7BD7C}"/>
              </a:ext>
            </a:extLst>
          </p:cNvPr>
          <p:cNvSpPr>
            <a:spLocks noGrp="1"/>
          </p:cNvSpPr>
          <p:nvPr>
            <p:ph idx="1"/>
          </p:nvPr>
        </p:nvSpPr>
        <p:spPr>
          <a:xfrm>
            <a:off x="1595500" y="990600"/>
            <a:ext cx="3428764" cy="5365750"/>
          </a:xfrm>
        </p:spPr>
        <p:txBody>
          <a:bodyPr/>
          <a:lstStyle/>
          <a:p>
            <a:r>
              <a:rPr lang="en-US" dirty="0"/>
              <a:t>Tape out June 26</a:t>
            </a:r>
          </a:p>
          <a:p>
            <a:r>
              <a:rPr lang="en-US" dirty="0"/>
              <a:t>Correct any deficiencies on Alpha 1</a:t>
            </a:r>
          </a:p>
          <a:p>
            <a:pPr lvl="1"/>
            <a:r>
              <a:rPr lang="en-US" dirty="0"/>
              <a:t>Improve VDAC reset</a:t>
            </a:r>
          </a:p>
          <a:p>
            <a:r>
              <a:rPr lang="en-US" dirty="0"/>
              <a:t>GF suggested additions</a:t>
            </a:r>
          </a:p>
          <a:p>
            <a:pPr lvl="1"/>
            <a:r>
              <a:rPr lang="en-US" dirty="0"/>
              <a:t>Add metal resistance test structures on GF demand</a:t>
            </a:r>
          </a:p>
          <a:p>
            <a:pPr lvl="1"/>
            <a:r>
              <a:rPr lang="en-US" dirty="0"/>
              <a:t>Add additional Ring oscillator types for digital library verification</a:t>
            </a:r>
          </a:p>
          <a:p>
            <a:pPr lvl="1"/>
            <a:r>
              <a:rPr lang="en-US" dirty="0"/>
              <a:t>Improve RF transistor test structures</a:t>
            </a:r>
          </a:p>
          <a:p>
            <a:pPr lvl="1"/>
            <a:endParaRPr lang="en-US" dirty="0"/>
          </a:p>
          <a:p>
            <a:r>
              <a:rPr lang="en-US" dirty="0"/>
              <a:t>Use all resource on Alpha 1 to boost QC to 219 Qbit</a:t>
            </a:r>
          </a:p>
        </p:txBody>
      </p:sp>
      <p:sp>
        <p:nvSpPr>
          <p:cNvPr id="5" name="Slide Number Placeholder 4">
            <a:extLst>
              <a:ext uri="{FF2B5EF4-FFF2-40B4-BE49-F238E27FC236}">
                <a16:creationId xmlns:a16="http://schemas.microsoft.com/office/drawing/2014/main" id="{5576D806-7ACF-A642-A470-5245E104CB06}"/>
              </a:ext>
            </a:extLst>
          </p:cNvPr>
          <p:cNvSpPr>
            <a:spLocks noGrp="1"/>
          </p:cNvSpPr>
          <p:nvPr>
            <p:ph type="sldNum" sz="quarter" idx="12"/>
          </p:nvPr>
        </p:nvSpPr>
        <p:spPr/>
        <p:txBody>
          <a:bodyPr/>
          <a:lstStyle/>
          <a:p>
            <a:fld id="{BDDA4418-520B-4E43-A742-115F1EFE0E3F}" type="slidenum">
              <a:rPr lang="de-DE" altLang="en-US" smtClean="0"/>
              <a:pPr/>
              <a:t>27</a:t>
            </a:fld>
            <a:endParaRPr lang="de-DE" altLang="en-US"/>
          </a:p>
        </p:txBody>
      </p:sp>
      <p:pic>
        <p:nvPicPr>
          <p:cNvPr id="6" name="Picture 2">
            <a:extLst>
              <a:ext uri="{FF2B5EF4-FFF2-40B4-BE49-F238E27FC236}">
                <a16:creationId xmlns:a16="http://schemas.microsoft.com/office/drawing/2014/main" id="{7EEFE227-EC48-2543-B797-3EEF9A65C28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051884" y="1051229"/>
            <a:ext cx="5388454" cy="536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699DF313-9BCE-1B4E-A9A3-693187F98CBD}"/>
              </a:ext>
            </a:extLst>
          </p:cNvPr>
          <p:cNvSpPr txBox="1"/>
          <p:nvPr/>
        </p:nvSpPr>
        <p:spPr>
          <a:xfrm>
            <a:off x="6089927" y="233750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0</a:t>
            </a:r>
          </a:p>
        </p:txBody>
      </p:sp>
      <p:sp>
        <p:nvSpPr>
          <p:cNvPr id="8" name="TextBox 7">
            <a:extLst>
              <a:ext uri="{FF2B5EF4-FFF2-40B4-BE49-F238E27FC236}">
                <a16:creationId xmlns:a16="http://schemas.microsoft.com/office/drawing/2014/main" id="{2E96B4D7-1FF3-5748-8F0B-5BA97C91DFB1}"/>
              </a:ext>
            </a:extLst>
          </p:cNvPr>
          <p:cNvSpPr txBox="1"/>
          <p:nvPr/>
        </p:nvSpPr>
        <p:spPr>
          <a:xfrm>
            <a:off x="6521975" y="251076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1</a:t>
            </a:r>
          </a:p>
        </p:txBody>
      </p:sp>
      <p:sp>
        <p:nvSpPr>
          <p:cNvPr id="9" name="TextBox 8">
            <a:extLst>
              <a:ext uri="{FF2B5EF4-FFF2-40B4-BE49-F238E27FC236}">
                <a16:creationId xmlns:a16="http://schemas.microsoft.com/office/drawing/2014/main" id="{C6C99E71-866B-1F4A-8535-619D6BE007DC}"/>
              </a:ext>
            </a:extLst>
          </p:cNvPr>
          <p:cNvSpPr txBox="1"/>
          <p:nvPr/>
        </p:nvSpPr>
        <p:spPr>
          <a:xfrm>
            <a:off x="6990027" y="2325093"/>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10" name="TextBox 9">
            <a:extLst>
              <a:ext uri="{FF2B5EF4-FFF2-40B4-BE49-F238E27FC236}">
                <a16:creationId xmlns:a16="http://schemas.microsoft.com/office/drawing/2014/main" id="{784F5FF2-752C-1649-97A3-D78258D95483}"/>
              </a:ext>
            </a:extLst>
          </p:cNvPr>
          <p:cNvSpPr txBox="1"/>
          <p:nvPr/>
        </p:nvSpPr>
        <p:spPr>
          <a:xfrm>
            <a:off x="7422075" y="249686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3</a:t>
            </a:r>
          </a:p>
        </p:txBody>
      </p:sp>
      <p:sp>
        <p:nvSpPr>
          <p:cNvPr id="11" name="TextBox 10">
            <a:extLst>
              <a:ext uri="{FF2B5EF4-FFF2-40B4-BE49-F238E27FC236}">
                <a16:creationId xmlns:a16="http://schemas.microsoft.com/office/drawing/2014/main" id="{5F81AA35-BFF6-3D45-99A6-08D4978250CB}"/>
              </a:ext>
            </a:extLst>
          </p:cNvPr>
          <p:cNvSpPr txBox="1"/>
          <p:nvPr/>
        </p:nvSpPr>
        <p:spPr>
          <a:xfrm>
            <a:off x="7910342" y="232509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12" name="TextBox 11">
            <a:extLst>
              <a:ext uri="{FF2B5EF4-FFF2-40B4-BE49-F238E27FC236}">
                <a16:creationId xmlns:a16="http://schemas.microsoft.com/office/drawing/2014/main" id="{30806A31-DC03-0442-9254-6255BDA7EA44}"/>
              </a:ext>
            </a:extLst>
          </p:cNvPr>
          <p:cNvSpPr txBox="1"/>
          <p:nvPr/>
        </p:nvSpPr>
        <p:spPr>
          <a:xfrm>
            <a:off x="8258551" y="251076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5</a:t>
            </a:r>
          </a:p>
        </p:txBody>
      </p:sp>
      <p:sp>
        <p:nvSpPr>
          <p:cNvPr id="13" name="TextBox 12">
            <a:extLst>
              <a:ext uri="{FF2B5EF4-FFF2-40B4-BE49-F238E27FC236}">
                <a16:creationId xmlns:a16="http://schemas.microsoft.com/office/drawing/2014/main" id="{E7E4DBC6-7354-9143-892D-6B505D24DCF9}"/>
              </a:ext>
            </a:extLst>
          </p:cNvPr>
          <p:cNvSpPr txBox="1"/>
          <p:nvPr/>
        </p:nvSpPr>
        <p:spPr>
          <a:xfrm>
            <a:off x="8754223" y="2325091"/>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6</a:t>
            </a:r>
          </a:p>
        </p:txBody>
      </p:sp>
      <p:sp>
        <p:nvSpPr>
          <p:cNvPr id="14" name="TextBox 13">
            <a:extLst>
              <a:ext uri="{FF2B5EF4-FFF2-40B4-BE49-F238E27FC236}">
                <a16:creationId xmlns:a16="http://schemas.microsoft.com/office/drawing/2014/main" id="{D2C4663E-51BF-C449-A7C1-9F490F4BC639}"/>
              </a:ext>
            </a:extLst>
          </p:cNvPr>
          <p:cNvSpPr txBox="1"/>
          <p:nvPr/>
        </p:nvSpPr>
        <p:spPr>
          <a:xfrm>
            <a:off x="6089927" y="341762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7</a:t>
            </a:r>
          </a:p>
        </p:txBody>
      </p:sp>
      <p:sp>
        <p:nvSpPr>
          <p:cNvPr id="15" name="TextBox 14">
            <a:extLst>
              <a:ext uri="{FF2B5EF4-FFF2-40B4-BE49-F238E27FC236}">
                <a16:creationId xmlns:a16="http://schemas.microsoft.com/office/drawing/2014/main" id="{B323A55C-625C-0F4D-B8B0-3743D47FEF42}"/>
              </a:ext>
            </a:extLst>
          </p:cNvPr>
          <p:cNvSpPr txBox="1"/>
          <p:nvPr/>
        </p:nvSpPr>
        <p:spPr>
          <a:xfrm>
            <a:off x="6521975" y="359088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8</a:t>
            </a:r>
          </a:p>
        </p:txBody>
      </p:sp>
      <p:sp>
        <p:nvSpPr>
          <p:cNvPr id="16" name="TextBox 15">
            <a:extLst>
              <a:ext uri="{FF2B5EF4-FFF2-40B4-BE49-F238E27FC236}">
                <a16:creationId xmlns:a16="http://schemas.microsoft.com/office/drawing/2014/main" id="{3FF22ABE-327A-1740-B53D-7AFE8B47AFB4}"/>
              </a:ext>
            </a:extLst>
          </p:cNvPr>
          <p:cNvSpPr txBox="1"/>
          <p:nvPr/>
        </p:nvSpPr>
        <p:spPr>
          <a:xfrm>
            <a:off x="6990027" y="3405213"/>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9</a:t>
            </a:r>
          </a:p>
        </p:txBody>
      </p:sp>
      <p:sp>
        <p:nvSpPr>
          <p:cNvPr id="17" name="TextBox 16">
            <a:extLst>
              <a:ext uri="{FF2B5EF4-FFF2-40B4-BE49-F238E27FC236}">
                <a16:creationId xmlns:a16="http://schemas.microsoft.com/office/drawing/2014/main" id="{9F5AB9FC-F563-7D40-92EF-7D8EB590BF06}"/>
              </a:ext>
            </a:extLst>
          </p:cNvPr>
          <p:cNvSpPr txBox="1"/>
          <p:nvPr/>
        </p:nvSpPr>
        <p:spPr>
          <a:xfrm>
            <a:off x="7422075" y="357698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10</a:t>
            </a:r>
          </a:p>
        </p:txBody>
      </p:sp>
      <p:sp>
        <p:nvSpPr>
          <p:cNvPr id="18" name="TextBox 17">
            <a:extLst>
              <a:ext uri="{FF2B5EF4-FFF2-40B4-BE49-F238E27FC236}">
                <a16:creationId xmlns:a16="http://schemas.microsoft.com/office/drawing/2014/main" id="{2671C7F8-451C-DB40-A5DF-2FB3BB773728}"/>
              </a:ext>
            </a:extLst>
          </p:cNvPr>
          <p:cNvSpPr txBox="1"/>
          <p:nvPr/>
        </p:nvSpPr>
        <p:spPr>
          <a:xfrm>
            <a:off x="7910342" y="340521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11</a:t>
            </a:r>
          </a:p>
        </p:txBody>
      </p:sp>
      <p:sp>
        <p:nvSpPr>
          <p:cNvPr id="19" name="TextBox 18">
            <a:extLst>
              <a:ext uri="{FF2B5EF4-FFF2-40B4-BE49-F238E27FC236}">
                <a16:creationId xmlns:a16="http://schemas.microsoft.com/office/drawing/2014/main" id="{256846C9-413A-7E4F-A87A-5C3CE614A6E9}"/>
              </a:ext>
            </a:extLst>
          </p:cNvPr>
          <p:cNvSpPr txBox="1"/>
          <p:nvPr/>
        </p:nvSpPr>
        <p:spPr>
          <a:xfrm>
            <a:off x="8258551" y="359088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20" name="TextBox 19">
            <a:extLst>
              <a:ext uri="{FF2B5EF4-FFF2-40B4-BE49-F238E27FC236}">
                <a16:creationId xmlns:a16="http://schemas.microsoft.com/office/drawing/2014/main" id="{5C8F2DFA-7B3E-8245-BAC2-4068CC17387D}"/>
              </a:ext>
            </a:extLst>
          </p:cNvPr>
          <p:cNvSpPr txBox="1"/>
          <p:nvPr/>
        </p:nvSpPr>
        <p:spPr>
          <a:xfrm>
            <a:off x="8754223" y="3405211"/>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13</a:t>
            </a:r>
          </a:p>
        </p:txBody>
      </p:sp>
      <p:sp>
        <p:nvSpPr>
          <p:cNvPr id="21" name="TextBox 20">
            <a:extLst>
              <a:ext uri="{FF2B5EF4-FFF2-40B4-BE49-F238E27FC236}">
                <a16:creationId xmlns:a16="http://schemas.microsoft.com/office/drawing/2014/main" id="{48225EC2-3A0B-4A4B-9D41-F43077A6FC69}"/>
              </a:ext>
            </a:extLst>
          </p:cNvPr>
          <p:cNvSpPr txBox="1"/>
          <p:nvPr/>
        </p:nvSpPr>
        <p:spPr>
          <a:xfrm>
            <a:off x="6089927" y="413770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14</a:t>
            </a:r>
          </a:p>
        </p:txBody>
      </p:sp>
      <p:sp>
        <p:nvSpPr>
          <p:cNvPr id="22" name="TextBox 21">
            <a:extLst>
              <a:ext uri="{FF2B5EF4-FFF2-40B4-BE49-F238E27FC236}">
                <a16:creationId xmlns:a16="http://schemas.microsoft.com/office/drawing/2014/main" id="{6C806FE3-37F7-1046-A097-5AFB37C3374F}"/>
              </a:ext>
            </a:extLst>
          </p:cNvPr>
          <p:cNvSpPr txBox="1"/>
          <p:nvPr/>
        </p:nvSpPr>
        <p:spPr>
          <a:xfrm>
            <a:off x="6521975" y="431096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15</a:t>
            </a:r>
          </a:p>
        </p:txBody>
      </p:sp>
      <p:sp>
        <p:nvSpPr>
          <p:cNvPr id="23" name="TextBox 22">
            <a:extLst>
              <a:ext uri="{FF2B5EF4-FFF2-40B4-BE49-F238E27FC236}">
                <a16:creationId xmlns:a16="http://schemas.microsoft.com/office/drawing/2014/main" id="{FA245CBF-AC01-6D44-95CD-319FE650EA2F}"/>
              </a:ext>
            </a:extLst>
          </p:cNvPr>
          <p:cNvSpPr txBox="1"/>
          <p:nvPr/>
        </p:nvSpPr>
        <p:spPr>
          <a:xfrm>
            <a:off x="6990027" y="4125293"/>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16</a:t>
            </a:r>
          </a:p>
        </p:txBody>
      </p:sp>
      <p:sp>
        <p:nvSpPr>
          <p:cNvPr id="24" name="TextBox 23">
            <a:extLst>
              <a:ext uri="{FF2B5EF4-FFF2-40B4-BE49-F238E27FC236}">
                <a16:creationId xmlns:a16="http://schemas.microsoft.com/office/drawing/2014/main" id="{6E30583E-1CA3-084A-8CF1-465D799AE32B}"/>
              </a:ext>
            </a:extLst>
          </p:cNvPr>
          <p:cNvSpPr txBox="1"/>
          <p:nvPr/>
        </p:nvSpPr>
        <p:spPr>
          <a:xfrm>
            <a:off x="7422075" y="429706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26</a:t>
            </a:r>
          </a:p>
        </p:txBody>
      </p:sp>
      <p:sp>
        <p:nvSpPr>
          <p:cNvPr id="25" name="TextBox 24">
            <a:extLst>
              <a:ext uri="{FF2B5EF4-FFF2-40B4-BE49-F238E27FC236}">
                <a16:creationId xmlns:a16="http://schemas.microsoft.com/office/drawing/2014/main" id="{72EF71EB-D134-F344-8079-95462E7697AA}"/>
              </a:ext>
            </a:extLst>
          </p:cNvPr>
          <p:cNvSpPr txBox="1"/>
          <p:nvPr/>
        </p:nvSpPr>
        <p:spPr>
          <a:xfrm>
            <a:off x="7910342" y="412529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27</a:t>
            </a:r>
          </a:p>
        </p:txBody>
      </p:sp>
      <p:sp>
        <p:nvSpPr>
          <p:cNvPr id="26" name="TextBox 25">
            <a:extLst>
              <a:ext uri="{FF2B5EF4-FFF2-40B4-BE49-F238E27FC236}">
                <a16:creationId xmlns:a16="http://schemas.microsoft.com/office/drawing/2014/main" id="{1937FDDD-A16F-2045-9B3E-1A1098B6BE6E}"/>
              </a:ext>
            </a:extLst>
          </p:cNvPr>
          <p:cNvSpPr txBox="1"/>
          <p:nvPr/>
        </p:nvSpPr>
        <p:spPr>
          <a:xfrm>
            <a:off x="8258551" y="431096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27" name="TextBox 26">
            <a:extLst>
              <a:ext uri="{FF2B5EF4-FFF2-40B4-BE49-F238E27FC236}">
                <a16:creationId xmlns:a16="http://schemas.microsoft.com/office/drawing/2014/main" id="{1677E361-FF18-EA4C-9163-EF7B27F7BDD8}"/>
              </a:ext>
            </a:extLst>
          </p:cNvPr>
          <p:cNvSpPr txBox="1"/>
          <p:nvPr/>
        </p:nvSpPr>
        <p:spPr>
          <a:xfrm>
            <a:off x="8754223" y="4125291"/>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28" name="TextBox 27">
            <a:extLst>
              <a:ext uri="{FF2B5EF4-FFF2-40B4-BE49-F238E27FC236}">
                <a16:creationId xmlns:a16="http://schemas.microsoft.com/office/drawing/2014/main" id="{25EFE3F6-FE8C-6446-BBD5-AB25B29085CA}"/>
              </a:ext>
            </a:extLst>
          </p:cNvPr>
          <p:cNvSpPr txBox="1"/>
          <p:nvPr/>
        </p:nvSpPr>
        <p:spPr>
          <a:xfrm>
            <a:off x="6089927" y="485778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29" name="TextBox 28">
            <a:extLst>
              <a:ext uri="{FF2B5EF4-FFF2-40B4-BE49-F238E27FC236}">
                <a16:creationId xmlns:a16="http://schemas.microsoft.com/office/drawing/2014/main" id="{71816BF8-FAD8-E74F-BC52-513239E29C7F}"/>
              </a:ext>
            </a:extLst>
          </p:cNvPr>
          <p:cNvSpPr txBox="1"/>
          <p:nvPr/>
        </p:nvSpPr>
        <p:spPr>
          <a:xfrm>
            <a:off x="6521975" y="503104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30" name="TextBox 29">
            <a:extLst>
              <a:ext uri="{FF2B5EF4-FFF2-40B4-BE49-F238E27FC236}">
                <a16:creationId xmlns:a16="http://schemas.microsoft.com/office/drawing/2014/main" id="{9F7B1DB5-819D-134A-9128-F700AD595DCC}"/>
              </a:ext>
            </a:extLst>
          </p:cNvPr>
          <p:cNvSpPr txBox="1"/>
          <p:nvPr/>
        </p:nvSpPr>
        <p:spPr>
          <a:xfrm>
            <a:off x="6990027" y="4845373"/>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31" name="TextBox 30">
            <a:extLst>
              <a:ext uri="{FF2B5EF4-FFF2-40B4-BE49-F238E27FC236}">
                <a16:creationId xmlns:a16="http://schemas.microsoft.com/office/drawing/2014/main" id="{B3F6DA74-9615-4546-AF0F-D322106AD4BA}"/>
              </a:ext>
            </a:extLst>
          </p:cNvPr>
          <p:cNvSpPr txBox="1"/>
          <p:nvPr/>
        </p:nvSpPr>
        <p:spPr>
          <a:xfrm>
            <a:off x="7422075" y="501714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32" name="TextBox 31">
            <a:extLst>
              <a:ext uri="{FF2B5EF4-FFF2-40B4-BE49-F238E27FC236}">
                <a16:creationId xmlns:a16="http://schemas.microsoft.com/office/drawing/2014/main" id="{295DEA3C-AE25-444D-BC3E-49D63DEDF755}"/>
              </a:ext>
            </a:extLst>
          </p:cNvPr>
          <p:cNvSpPr txBox="1"/>
          <p:nvPr/>
        </p:nvSpPr>
        <p:spPr>
          <a:xfrm>
            <a:off x="7910342" y="4845372"/>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33" name="TextBox 32">
            <a:extLst>
              <a:ext uri="{FF2B5EF4-FFF2-40B4-BE49-F238E27FC236}">
                <a16:creationId xmlns:a16="http://schemas.microsoft.com/office/drawing/2014/main" id="{7000F608-1D1E-7244-A1B4-6F8F6FF279F7}"/>
              </a:ext>
            </a:extLst>
          </p:cNvPr>
          <p:cNvSpPr txBox="1"/>
          <p:nvPr/>
        </p:nvSpPr>
        <p:spPr>
          <a:xfrm>
            <a:off x="8258551" y="5031044"/>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34" name="TextBox 33">
            <a:extLst>
              <a:ext uri="{FF2B5EF4-FFF2-40B4-BE49-F238E27FC236}">
                <a16:creationId xmlns:a16="http://schemas.microsoft.com/office/drawing/2014/main" id="{EA057ADE-5F1D-4F4A-8B0E-7B0843CE301F}"/>
              </a:ext>
            </a:extLst>
          </p:cNvPr>
          <p:cNvSpPr txBox="1"/>
          <p:nvPr/>
        </p:nvSpPr>
        <p:spPr>
          <a:xfrm>
            <a:off x="8754223" y="4845371"/>
            <a:ext cx="684076" cy="276999"/>
          </a:xfrm>
          <a:prstGeom prst="rect">
            <a:avLst/>
          </a:prstGeom>
          <a:noFill/>
        </p:spPr>
        <p:txBody>
          <a:bodyPr wrap="square" rtlCol="0">
            <a:spAutoFit/>
          </a:bodyPr>
          <a:lstStyle/>
          <a:p>
            <a:r>
              <a:rPr lang="en-US" sz="1200" b="1" dirty="0">
                <a:solidFill>
                  <a:srgbClr val="FFFF00"/>
                </a:solidFill>
                <a:effectLst>
                  <a:outerShdw blurRad="38100" dist="38100" dir="2700000" algn="tl">
                    <a:srgbClr val="000000">
                      <a:alpha val="43137"/>
                    </a:srgbClr>
                  </a:outerShdw>
                </a:effectLst>
              </a:rPr>
              <a:t>QEC204</a:t>
            </a:r>
          </a:p>
        </p:txBody>
      </p:sp>
      <p:sp>
        <p:nvSpPr>
          <p:cNvPr id="35" name="Rectangle 34">
            <a:extLst>
              <a:ext uri="{FF2B5EF4-FFF2-40B4-BE49-F238E27FC236}">
                <a16:creationId xmlns:a16="http://schemas.microsoft.com/office/drawing/2014/main" id="{696C66C8-C8C9-4AA3-88C8-973389AE21C5}"/>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36" name="Footer Placeholder 3">
            <a:extLst>
              <a:ext uri="{FF2B5EF4-FFF2-40B4-BE49-F238E27FC236}">
                <a16:creationId xmlns:a16="http://schemas.microsoft.com/office/drawing/2014/main" id="{6EA47524-4529-4477-AB99-382BC750F355}"/>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729698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F0876-E197-4869-8FD5-F961CFA92E87}"/>
              </a:ext>
            </a:extLst>
          </p:cNvPr>
          <p:cNvSpPr>
            <a:spLocks noGrp="1"/>
          </p:cNvSpPr>
          <p:nvPr>
            <p:ph type="title"/>
          </p:nvPr>
        </p:nvSpPr>
        <p:spPr/>
        <p:txBody>
          <a:bodyPr/>
          <a:lstStyle/>
          <a:p>
            <a:r>
              <a:rPr lang="en-US" dirty="0"/>
              <a:t>Alpha2: 219 qubit SOC-QC system</a:t>
            </a:r>
          </a:p>
        </p:txBody>
      </p:sp>
      <p:sp>
        <p:nvSpPr>
          <p:cNvPr id="3" name="Content Placeholder 2">
            <a:extLst>
              <a:ext uri="{FF2B5EF4-FFF2-40B4-BE49-F238E27FC236}">
                <a16:creationId xmlns:a16="http://schemas.microsoft.com/office/drawing/2014/main" id="{B0723BEB-A466-494E-B6C3-BA28289A0E1B}"/>
              </a:ext>
            </a:extLst>
          </p:cNvPr>
          <p:cNvSpPr>
            <a:spLocks noGrp="1"/>
          </p:cNvSpPr>
          <p:nvPr>
            <p:ph idx="1"/>
          </p:nvPr>
        </p:nvSpPr>
        <p:spPr>
          <a:xfrm>
            <a:off x="4818659" y="3559629"/>
            <a:ext cx="2457450" cy="2157598"/>
          </a:xfrm>
        </p:spPr>
        <p:txBody>
          <a:bodyPr>
            <a:normAutofit fontScale="70000" lnSpcReduction="20000"/>
          </a:bodyPr>
          <a:lstStyle/>
          <a:p>
            <a:r>
              <a:rPr lang="en-US" dirty="0"/>
              <a:t>Quantum gate operation using localized barrier control</a:t>
            </a:r>
          </a:p>
          <a:p>
            <a:r>
              <a:rPr lang="en-US" dirty="0"/>
              <a:t>Pulse width and shape control allows generation of controlled R(</a:t>
            </a:r>
            <a:r>
              <a:rPr lang="en-US" dirty="0">
                <a:latin typeface="Symbol" panose="05050102010706020507" pitchFamily="18" charset="2"/>
              </a:rPr>
              <a:t>p </a:t>
            </a:r>
            <a:r>
              <a:rPr lang="en-US" dirty="0"/>
              <a:t>/64)</a:t>
            </a:r>
          </a:p>
          <a:p>
            <a:r>
              <a:rPr lang="en-US" dirty="0"/>
              <a:t>Quantum like transport using concatenated R(</a:t>
            </a:r>
            <a:r>
              <a:rPr lang="en-US" dirty="0">
                <a:latin typeface="Symbol" panose="05050102010706020507" pitchFamily="18" charset="2"/>
              </a:rPr>
              <a:t>p</a:t>
            </a:r>
            <a:r>
              <a:rPr lang="en-US" dirty="0"/>
              <a:t>/2) operation</a:t>
            </a:r>
          </a:p>
        </p:txBody>
      </p:sp>
      <p:sp>
        <p:nvSpPr>
          <p:cNvPr id="5" name="Slide Number Placeholder 4">
            <a:extLst>
              <a:ext uri="{FF2B5EF4-FFF2-40B4-BE49-F238E27FC236}">
                <a16:creationId xmlns:a16="http://schemas.microsoft.com/office/drawing/2014/main" id="{F2294051-F569-4EE0-A047-E34F7841578F}"/>
              </a:ext>
            </a:extLst>
          </p:cNvPr>
          <p:cNvSpPr>
            <a:spLocks noGrp="1"/>
          </p:cNvSpPr>
          <p:nvPr>
            <p:ph type="sldNum" sz="quarter" idx="12"/>
          </p:nvPr>
        </p:nvSpPr>
        <p:spPr/>
        <p:txBody>
          <a:bodyPr/>
          <a:lstStyle/>
          <a:p>
            <a:fld id="{C43AAD86-3C19-40C3-8D8D-C16BAD3EF3A6}" type="slidenum">
              <a:rPr lang="en-US" smtClean="0"/>
              <a:t>28</a:t>
            </a:fld>
            <a:endParaRPr lang="en-US"/>
          </a:p>
        </p:txBody>
      </p:sp>
      <p:sp>
        <p:nvSpPr>
          <p:cNvPr id="6" name="Content Placeholder 2">
            <a:extLst>
              <a:ext uri="{FF2B5EF4-FFF2-40B4-BE49-F238E27FC236}">
                <a16:creationId xmlns:a16="http://schemas.microsoft.com/office/drawing/2014/main" id="{61700E3D-0F1F-4169-828A-12929F516945}"/>
              </a:ext>
            </a:extLst>
          </p:cNvPr>
          <p:cNvSpPr txBox="1">
            <a:spLocks/>
          </p:cNvSpPr>
          <p:nvPr/>
        </p:nvSpPr>
        <p:spPr>
          <a:xfrm>
            <a:off x="2266950" y="3559629"/>
            <a:ext cx="2457450" cy="2157598"/>
          </a:xfrm>
          <a:prstGeom prst="rect">
            <a:avLst/>
          </a:prstGeom>
        </p:spPr>
        <p:txBody>
          <a:bodyPr vert="horz" lIns="68580" tIns="34290" rIns="68580" bIns="34290" rtlCol="0">
            <a:normAutofit lnSpcReduction="10000"/>
          </a:bodyPr>
          <a:lst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lassic transport &amp; detection</a:t>
            </a:r>
          </a:p>
          <a:p>
            <a:r>
              <a:rPr lang="en-US" sz="1800" dirty="0"/>
              <a:t>Electrons can be shifted into correct position in Array by CCD like transport</a:t>
            </a:r>
          </a:p>
          <a:p>
            <a:r>
              <a:rPr lang="en-US" sz="1800" dirty="0"/>
              <a:t>Partial readout and re-injection</a:t>
            </a:r>
          </a:p>
        </p:txBody>
      </p:sp>
      <p:sp>
        <p:nvSpPr>
          <p:cNvPr id="7" name="Content Placeholder 2">
            <a:extLst>
              <a:ext uri="{FF2B5EF4-FFF2-40B4-BE49-F238E27FC236}">
                <a16:creationId xmlns:a16="http://schemas.microsoft.com/office/drawing/2014/main" id="{49C650B8-5F95-4ABA-9B48-5371835F0687}"/>
              </a:ext>
            </a:extLst>
          </p:cNvPr>
          <p:cNvSpPr txBox="1">
            <a:spLocks/>
          </p:cNvSpPr>
          <p:nvPr/>
        </p:nvSpPr>
        <p:spPr>
          <a:xfrm>
            <a:off x="7418984" y="3559629"/>
            <a:ext cx="2457450" cy="2157598"/>
          </a:xfrm>
          <a:prstGeom prst="rect">
            <a:avLst/>
          </a:prstGeom>
        </p:spPr>
        <p:txBody>
          <a:bodyPr vert="horz" lIns="68580" tIns="34290" rIns="68580" bIns="34290" rtlCol="0">
            <a:normAutofit lnSpcReduction="10000"/>
          </a:bodyPr>
          <a:lst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Collective qubit operations by common barrier control</a:t>
            </a:r>
          </a:p>
          <a:p>
            <a:r>
              <a:rPr lang="en-US" sz="1800" dirty="0"/>
              <a:t>Realizes quantum annealing operation</a:t>
            </a:r>
          </a:p>
          <a:p>
            <a:r>
              <a:rPr lang="en-US" sz="1800" dirty="0"/>
              <a:t>Realizes global optimization</a:t>
            </a:r>
          </a:p>
        </p:txBody>
      </p:sp>
      <p:pic>
        <p:nvPicPr>
          <p:cNvPr id="8" name="Picture 7">
            <a:extLst>
              <a:ext uri="{FF2B5EF4-FFF2-40B4-BE49-F238E27FC236}">
                <a16:creationId xmlns:a16="http://schemas.microsoft.com/office/drawing/2014/main" id="{352EFE56-E9AB-46A5-B9C4-5148B00430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82061" y="2169217"/>
            <a:ext cx="2460787" cy="1259785"/>
          </a:xfrm>
          <a:prstGeom prst="rect">
            <a:avLst/>
          </a:prstGeom>
        </p:spPr>
      </p:pic>
      <p:pic>
        <p:nvPicPr>
          <p:cNvPr id="9" name="Picture 8">
            <a:extLst>
              <a:ext uri="{FF2B5EF4-FFF2-40B4-BE49-F238E27FC236}">
                <a16:creationId xmlns:a16="http://schemas.microsoft.com/office/drawing/2014/main" id="{3F42B285-6B00-4586-BCD6-F880A9B013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16808" y="2169216"/>
            <a:ext cx="2502176" cy="1255882"/>
          </a:xfrm>
          <a:prstGeom prst="rect">
            <a:avLst/>
          </a:prstGeom>
        </p:spPr>
      </p:pic>
      <p:pic>
        <p:nvPicPr>
          <p:cNvPr id="10" name="Picture 9">
            <a:extLst>
              <a:ext uri="{FF2B5EF4-FFF2-40B4-BE49-F238E27FC236}">
                <a16:creationId xmlns:a16="http://schemas.microsoft.com/office/drawing/2014/main" id="{57453A5B-6872-49CB-86FF-AC5D5133E2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44781" y="2194551"/>
            <a:ext cx="2354777" cy="1199396"/>
          </a:xfrm>
          <a:prstGeom prst="rect">
            <a:avLst/>
          </a:prstGeom>
        </p:spPr>
      </p:pic>
      <p:sp>
        <p:nvSpPr>
          <p:cNvPr id="11" name="Content Placeholder 2">
            <a:extLst>
              <a:ext uri="{FF2B5EF4-FFF2-40B4-BE49-F238E27FC236}">
                <a16:creationId xmlns:a16="http://schemas.microsoft.com/office/drawing/2014/main" id="{FB2F1C1A-3BF3-4C6C-AA75-6A76EFF4E57C}"/>
              </a:ext>
            </a:extLst>
          </p:cNvPr>
          <p:cNvSpPr txBox="1">
            <a:spLocks/>
          </p:cNvSpPr>
          <p:nvPr/>
        </p:nvSpPr>
        <p:spPr>
          <a:xfrm>
            <a:off x="2495645" y="1574331"/>
            <a:ext cx="2047203" cy="592283"/>
          </a:xfrm>
          <a:prstGeom prst="rect">
            <a:avLst/>
          </a:prstGeom>
        </p:spPr>
        <p:txBody>
          <a:bodyPr vert="horz" lIns="68580" tIns="34290" rIns="68580" bIns="34290" rtlCol="0">
            <a:normAutofit fontScale="925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t>Classic Transport</a:t>
            </a:r>
          </a:p>
          <a:p>
            <a:pPr marL="0" indent="0" algn="ctr">
              <a:buNone/>
            </a:pPr>
            <a:r>
              <a:rPr lang="en-US" sz="1800" dirty="0"/>
              <a:t>Large barrier CCD op</a:t>
            </a:r>
          </a:p>
        </p:txBody>
      </p:sp>
      <p:sp>
        <p:nvSpPr>
          <p:cNvPr id="12" name="Content Placeholder 2">
            <a:extLst>
              <a:ext uri="{FF2B5EF4-FFF2-40B4-BE49-F238E27FC236}">
                <a16:creationId xmlns:a16="http://schemas.microsoft.com/office/drawing/2014/main" id="{D838FB37-5E2F-48F2-A9AC-18DEE1E4889F}"/>
              </a:ext>
            </a:extLst>
          </p:cNvPr>
          <p:cNvSpPr txBox="1">
            <a:spLocks/>
          </p:cNvSpPr>
          <p:nvPr/>
        </p:nvSpPr>
        <p:spPr>
          <a:xfrm>
            <a:off x="5341964" y="1574331"/>
            <a:ext cx="2047203" cy="592283"/>
          </a:xfrm>
          <a:prstGeom prst="rect">
            <a:avLst/>
          </a:prstGeom>
        </p:spPr>
        <p:txBody>
          <a:bodyPr vert="horz" lIns="68580" tIns="34290" rIns="68580" bIns="34290" rtlCol="0">
            <a:normAutofit fontScale="925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t>Quantum gate</a:t>
            </a:r>
          </a:p>
          <a:p>
            <a:pPr marL="0" indent="0" algn="ctr">
              <a:buNone/>
            </a:pPr>
            <a:r>
              <a:rPr lang="en-US" sz="1800" dirty="0"/>
              <a:t>Localized gate control</a:t>
            </a:r>
          </a:p>
        </p:txBody>
      </p:sp>
      <p:sp>
        <p:nvSpPr>
          <p:cNvPr id="13" name="Content Placeholder 2">
            <a:extLst>
              <a:ext uri="{FF2B5EF4-FFF2-40B4-BE49-F238E27FC236}">
                <a16:creationId xmlns:a16="http://schemas.microsoft.com/office/drawing/2014/main" id="{69A15BB8-F766-49D5-9734-A9850EB96CE1}"/>
              </a:ext>
            </a:extLst>
          </p:cNvPr>
          <p:cNvSpPr txBox="1">
            <a:spLocks/>
          </p:cNvSpPr>
          <p:nvPr/>
        </p:nvSpPr>
        <p:spPr>
          <a:xfrm>
            <a:off x="8188283" y="1574331"/>
            <a:ext cx="2047203" cy="592283"/>
          </a:xfrm>
          <a:prstGeom prst="rect">
            <a:avLst/>
          </a:prstGeom>
        </p:spPr>
        <p:txBody>
          <a:bodyPr vert="horz" lIns="68580" tIns="34290" rIns="68580" bIns="34290" rtlCol="0">
            <a:normAutofit fontScale="92500" lnSpcReduction="20000"/>
          </a:bodyPr>
          <a:lst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t>Quantum </a:t>
            </a:r>
            <a:r>
              <a:rPr lang="en-US" sz="1800" b="1" dirty="0" err="1"/>
              <a:t>annealling</a:t>
            </a:r>
            <a:endParaRPr lang="en-US" sz="1800" b="1" dirty="0"/>
          </a:p>
          <a:p>
            <a:pPr marL="0" indent="0" algn="ctr">
              <a:buNone/>
            </a:pPr>
            <a:r>
              <a:rPr lang="en-US" sz="1800" dirty="0"/>
              <a:t>Collective gate </a:t>
            </a:r>
            <a:r>
              <a:rPr lang="en-US" sz="1800" dirty="0" err="1"/>
              <a:t>contol</a:t>
            </a:r>
            <a:endParaRPr lang="en-US" sz="1800" dirty="0"/>
          </a:p>
        </p:txBody>
      </p:sp>
      <p:sp>
        <p:nvSpPr>
          <p:cNvPr id="16" name="Rectangle 15">
            <a:extLst>
              <a:ext uri="{FF2B5EF4-FFF2-40B4-BE49-F238E27FC236}">
                <a16:creationId xmlns:a16="http://schemas.microsoft.com/office/drawing/2014/main" id="{DB399068-C7A1-4A69-ABE5-21CE608255EF}"/>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7" name="Footer Placeholder 3">
            <a:extLst>
              <a:ext uri="{FF2B5EF4-FFF2-40B4-BE49-F238E27FC236}">
                <a16:creationId xmlns:a16="http://schemas.microsoft.com/office/drawing/2014/main" id="{2D012881-2466-4018-8285-5C69C758D234}"/>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2742047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25298"/>
            <a:ext cx="8229600" cy="715962"/>
          </a:xfrm>
        </p:spPr>
        <p:txBody>
          <a:bodyPr/>
          <a:lstStyle/>
          <a:p>
            <a:r>
              <a:rPr lang="en-US" dirty="0"/>
              <a:t>219 Qbit structure</a:t>
            </a:r>
          </a:p>
        </p:txBody>
      </p:sp>
      <p:sp>
        <p:nvSpPr>
          <p:cNvPr id="3" name="Content Placeholder 2"/>
          <p:cNvSpPr>
            <a:spLocks noGrp="1"/>
          </p:cNvSpPr>
          <p:nvPr>
            <p:ph idx="1"/>
          </p:nvPr>
        </p:nvSpPr>
        <p:spPr>
          <a:xfrm>
            <a:off x="1703512" y="5505550"/>
            <a:ext cx="8820980" cy="850801"/>
          </a:xfrm>
        </p:spPr>
        <p:txBody>
          <a:bodyPr/>
          <a:lstStyle/>
          <a:p>
            <a:r>
              <a:rPr lang="en-US" sz="1800" dirty="0"/>
              <a:t>AI optimized tensor flow neural network processor cell</a:t>
            </a:r>
          </a:p>
          <a:p>
            <a:r>
              <a:rPr lang="en-US" sz="1800" dirty="0"/>
              <a:t>Will allow first testing of AI tensor flow with build in quantum annealing error correction</a:t>
            </a:r>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29</a:t>
            </a:fld>
            <a:endParaRPr lang="de-DE" altLang="en-US"/>
          </a:p>
        </p:txBody>
      </p:sp>
      <p:pic>
        <p:nvPicPr>
          <p:cNvPr id="34818"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703513" y="1052736"/>
            <a:ext cx="8936441" cy="4392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a:extLst>
              <a:ext uri="{FF2B5EF4-FFF2-40B4-BE49-F238E27FC236}">
                <a16:creationId xmlns:a16="http://schemas.microsoft.com/office/drawing/2014/main" id="{106F7AB5-80EF-44DE-BF76-3E5FAE551286}"/>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8" name="Footer Placeholder 3">
            <a:extLst>
              <a:ext uri="{FF2B5EF4-FFF2-40B4-BE49-F238E27FC236}">
                <a16:creationId xmlns:a16="http://schemas.microsoft.com/office/drawing/2014/main" id="{C9A31468-C4E6-4D7E-B886-722F76D331C6}"/>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3774100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031ED-88DB-9B4C-8E2F-5B67BD51050C}"/>
              </a:ext>
            </a:extLst>
          </p:cNvPr>
          <p:cNvSpPr>
            <a:spLocks noGrp="1"/>
          </p:cNvSpPr>
          <p:nvPr>
            <p:ph type="title"/>
          </p:nvPr>
        </p:nvSpPr>
        <p:spPr/>
        <p:txBody>
          <a:bodyPr/>
          <a:lstStyle/>
          <a:p>
            <a:r>
              <a:rPr lang="en-US" dirty="0"/>
              <a:t>Silicon based charge qubit based approach with spin twist</a:t>
            </a:r>
          </a:p>
        </p:txBody>
      </p:sp>
      <p:grpSp>
        <p:nvGrpSpPr>
          <p:cNvPr id="3" name="Group 2">
            <a:extLst>
              <a:ext uri="{FF2B5EF4-FFF2-40B4-BE49-F238E27FC236}">
                <a16:creationId xmlns:a16="http://schemas.microsoft.com/office/drawing/2014/main" id="{6307A6C9-4254-4E04-9AB1-0834FA89058A}"/>
              </a:ext>
            </a:extLst>
          </p:cNvPr>
          <p:cNvGrpSpPr/>
          <p:nvPr/>
        </p:nvGrpSpPr>
        <p:grpSpPr>
          <a:xfrm>
            <a:off x="3492225" y="1709368"/>
            <a:ext cx="3056965" cy="3685316"/>
            <a:chOff x="415457" y="1958029"/>
            <a:chExt cx="4075953" cy="4913755"/>
          </a:xfrm>
        </p:grpSpPr>
        <p:grpSp>
          <p:nvGrpSpPr>
            <p:cNvPr id="7" name="Group 6">
              <a:extLst>
                <a:ext uri="{FF2B5EF4-FFF2-40B4-BE49-F238E27FC236}">
                  <a16:creationId xmlns:a16="http://schemas.microsoft.com/office/drawing/2014/main" id="{7C6DA2B2-AD1D-7649-9C3B-2054BED3F2D0}"/>
                </a:ext>
              </a:extLst>
            </p:cNvPr>
            <p:cNvGrpSpPr/>
            <p:nvPr/>
          </p:nvGrpSpPr>
          <p:grpSpPr>
            <a:xfrm>
              <a:off x="415457" y="1958029"/>
              <a:ext cx="3996523" cy="3669341"/>
              <a:chOff x="415457" y="2026609"/>
              <a:chExt cx="3996523" cy="3669341"/>
            </a:xfrm>
          </p:grpSpPr>
          <p:pic>
            <p:nvPicPr>
              <p:cNvPr id="1025" name="Picture 1" descr="page1image3909280">
                <a:extLst>
                  <a:ext uri="{FF2B5EF4-FFF2-40B4-BE49-F238E27FC236}">
                    <a16:creationId xmlns:a16="http://schemas.microsoft.com/office/drawing/2014/main" id="{C8AD31B6-58DA-FC47-B272-DD3DA3FA9A9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81192" y="2026609"/>
                <a:ext cx="3830788" cy="302164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A374514D-C805-8247-9A70-D84FF39B37D5}"/>
                  </a:ext>
                </a:extLst>
              </p:cNvPr>
              <p:cNvSpPr/>
              <p:nvPr/>
            </p:nvSpPr>
            <p:spPr>
              <a:xfrm>
                <a:off x="415457" y="2180496"/>
                <a:ext cx="331470" cy="3165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95F5921-E82E-464A-B4E0-8C78FBC952D1}"/>
                  </a:ext>
                </a:extLst>
              </p:cNvPr>
              <p:cNvSpPr/>
              <p:nvPr/>
            </p:nvSpPr>
            <p:spPr>
              <a:xfrm>
                <a:off x="415457" y="3348990"/>
                <a:ext cx="331470" cy="6743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6B6AA44-F4A2-B042-95D9-B11E8ACA7D81}"/>
                  </a:ext>
                </a:extLst>
              </p:cNvPr>
              <p:cNvSpPr/>
              <p:nvPr/>
            </p:nvSpPr>
            <p:spPr>
              <a:xfrm>
                <a:off x="488014" y="5021580"/>
                <a:ext cx="331470" cy="6743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Picture 9">
              <a:extLst>
                <a:ext uri="{FF2B5EF4-FFF2-40B4-BE49-F238E27FC236}">
                  <a16:creationId xmlns:a16="http://schemas.microsoft.com/office/drawing/2014/main" id="{051CBC97-824F-0746-8DA9-1834C849B63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9226" y="5142045"/>
              <a:ext cx="3732184" cy="1729739"/>
            </a:xfrm>
            <a:prstGeom prst="rect">
              <a:avLst/>
            </a:prstGeom>
          </p:spPr>
        </p:pic>
        <p:sp>
          <p:nvSpPr>
            <p:cNvPr id="12" name="Rounded Rectangle 11">
              <a:extLst>
                <a:ext uri="{FF2B5EF4-FFF2-40B4-BE49-F238E27FC236}">
                  <a16:creationId xmlns:a16="http://schemas.microsoft.com/office/drawing/2014/main" id="{028C7107-C27C-6D41-A344-14144D75F708}"/>
                </a:ext>
              </a:extLst>
            </p:cNvPr>
            <p:cNvSpPr/>
            <p:nvPr/>
          </p:nvSpPr>
          <p:spPr>
            <a:xfrm>
              <a:off x="1897380" y="3697605"/>
              <a:ext cx="1325880" cy="1221105"/>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Arrow Connector 13">
              <a:extLst>
                <a:ext uri="{FF2B5EF4-FFF2-40B4-BE49-F238E27FC236}">
                  <a16:creationId xmlns:a16="http://schemas.microsoft.com/office/drawing/2014/main" id="{7813C666-47AE-D245-9A44-6DE001C31ADB}"/>
                </a:ext>
              </a:extLst>
            </p:cNvPr>
            <p:cNvCxnSpPr>
              <a:cxnSpLocks/>
            </p:cNvCxnSpPr>
            <p:nvPr/>
          </p:nvCxnSpPr>
          <p:spPr>
            <a:xfrm>
              <a:off x="2553736" y="4933951"/>
              <a:ext cx="0" cy="461009"/>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sp>
        <p:nvSpPr>
          <p:cNvPr id="15" name="Rectangle 3">
            <a:extLst>
              <a:ext uri="{FF2B5EF4-FFF2-40B4-BE49-F238E27FC236}">
                <a16:creationId xmlns:a16="http://schemas.microsoft.com/office/drawing/2014/main" id="{B50B1B13-A8EC-594E-8552-207818B4AC3F}"/>
              </a:ext>
            </a:extLst>
          </p:cNvPr>
          <p:cNvSpPr>
            <a:spLocks noChangeArrowheads="1"/>
          </p:cNvSpPr>
          <p:nvPr/>
        </p:nvSpPr>
        <p:spPr bwMode="auto">
          <a:xfrm>
            <a:off x="7185948" y="2505471"/>
            <a:ext cx="138564"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US"/>
          </a:p>
        </p:txBody>
      </p:sp>
      <p:grpSp>
        <p:nvGrpSpPr>
          <p:cNvPr id="6" name="Group 5">
            <a:extLst>
              <a:ext uri="{FF2B5EF4-FFF2-40B4-BE49-F238E27FC236}">
                <a16:creationId xmlns:a16="http://schemas.microsoft.com/office/drawing/2014/main" id="{1AA706B7-6070-4301-B09E-F15E012E86BA}"/>
              </a:ext>
            </a:extLst>
          </p:cNvPr>
          <p:cNvGrpSpPr/>
          <p:nvPr/>
        </p:nvGrpSpPr>
        <p:grpSpPr>
          <a:xfrm>
            <a:off x="7006487" y="1943970"/>
            <a:ext cx="4850153" cy="3055989"/>
            <a:chOff x="5531693" y="2102414"/>
            <a:chExt cx="6466870" cy="4074652"/>
          </a:xfrm>
        </p:grpSpPr>
        <p:grpSp>
          <p:nvGrpSpPr>
            <p:cNvPr id="74" name="Group 73">
              <a:extLst>
                <a:ext uri="{FF2B5EF4-FFF2-40B4-BE49-F238E27FC236}">
                  <a16:creationId xmlns:a16="http://schemas.microsoft.com/office/drawing/2014/main" id="{2144B7BA-AE6B-564D-8EA2-64803612996D}"/>
                </a:ext>
              </a:extLst>
            </p:cNvPr>
            <p:cNvGrpSpPr/>
            <p:nvPr/>
          </p:nvGrpSpPr>
          <p:grpSpPr>
            <a:xfrm>
              <a:off x="5531693" y="2102414"/>
              <a:ext cx="6379643" cy="1222074"/>
              <a:chOff x="4957512" y="2206926"/>
              <a:chExt cx="6379643" cy="1222074"/>
            </a:xfrm>
          </p:grpSpPr>
          <p:grpSp>
            <p:nvGrpSpPr>
              <p:cNvPr id="33" name="Group 32">
                <a:extLst>
                  <a:ext uri="{FF2B5EF4-FFF2-40B4-BE49-F238E27FC236}">
                    <a16:creationId xmlns:a16="http://schemas.microsoft.com/office/drawing/2014/main" id="{AE2FB00E-F0F8-A047-A757-E4594368D41E}"/>
                  </a:ext>
                </a:extLst>
              </p:cNvPr>
              <p:cNvGrpSpPr/>
              <p:nvPr/>
            </p:nvGrpSpPr>
            <p:grpSpPr>
              <a:xfrm>
                <a:off x="4957512" y="2640330"/>
                <a:ext cx="4991088" cy="788670"/>
                <a:chOff x="5420362" y="2552700"/>
                <a:chExt cx="4991088" cy="788670"/>
              </a:xfrm>
            </p:grpSpPr>
            <p:cxnSp>
              <p:nvCxnSpPr>
                <p:cNvPr id="24" name="Straight Connector 23">
                  <a:extLst>
                    <a:ext uri="{FF2B5EF4-FFF2-40B4-BE49-F238E27FC236}">
                      <a16:creationId xmlns:a16="http://schemas.microsoft.com/office/drawing/2014/main" id="{4757DCBB-13ED-D947-BC9B-9DEFAE45BC0B}"/>
                    </a:ext>
                  </a:extLst>
                </p:cNvPr>
                <p:cNvCxnSpPr>
                  <a:cxnSpLocks/>
                </p:cNvCxnSpPr>
                <p:nvPr/>
              </p:nvCxnSpPr>
              <p:spPr>
                <a:xfrm>
                  <a:off x="5420362" y="256032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E911B4C-CD7E-1243-81CF-3E1AE5C55620}"/>
                    </a:ext>
                  </a:extLst>
                </p:cNvPr>
                <p:cNvCxnSpPr>
                  <a:cxnSpLocks/>
                </p:cNvCxnSpPr>
                <p:nvPr/>
              </p:nvCxnSpPr>
              <p:spPr>
                <a:xfrm>
                  <a:off x="6412230" y="334137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EA0DA4-FCB1-DC45-ACFB-0A1305C78E44}"/>
                    </a:ext>
                  </a:extLst>
                </p:cNvPr>
                <p:cNvCxnSpPr>
                  <a:cxnSpLocks/>
                </p:cNvCxnSpPr>
                <p:nvPr/>
              </p:nvCxnSpPr>
              <p:spPr>
                <a:xfrm>
                  <a:off x="7415528" y="256032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C2C6177-B9AE-0648-B7A2-DC9890F6FEEA}"/>
                    </a:ext>
                  </a:extLst>
                </p:cNvPr>
                <p:cNvCxnSpPr>
                  <a:cxnSpLocks/>
                </p:cNvCxnSpPr>
                <p:nvPr/>
              </p:nvCxnSpPr>
              <p:spPr>
                <a:xfrm>
                  <a:off x="8416290" y="334137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966D296-976E-7545-97E8-5621A55509D8}"/>
                    </a:ext>
                  </a:extLst>
                </p:cNvPr>
                <p:cNvCxnSpPr>
                  <a:cxnSpLocks/>
                </p:cNvCxnSpPr>
                <p:nvPr/>
              </p:nvCxnSpPr>
              <p:spPr>
                <a:xfrm flipV="1">
                  <a:off x="6412230"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A40B67F-ABE8-E24E-8A18-973AFAA5AAD3}"/>
                    </a:ext>
                  </a:extLst>
                </p:cNvPr>
                <p:cNvCxnSpPr>
                  <a:cxnSpLocks/>
                </p:cNvCxnSpPr>
                <p:nvPr/>
              </p:nvCxnSpPr>
              <p:spPr>
                <a:xfrm flipV="1">
                  <a:off x="7415528"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42F929E-33B3-9347-9D76-8A30F94BDAEB}"/>
                    </a:ext>
                  </a:extLst>
                </p:cNvPr>
                <p:cNvCxnSpPr>
                  <a:cxnSpLocks/>
                </p:cNvCxnSpPr>
                <p:nvPr/>
              </p:nvCxnSpPr>
              <p:spPr>
                <a:xfrm flipV="1">
                  <a:off x="8408664"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8F97CBB-24E7-6240-B6D9-601240CADD38}"/>
                    </a:ext>
                  </a:extLst>
                </p:cNvPr>
                <p:cNvCxnSpPr>
                  <a:cxnSpLocks/>
                </p:cNvCxnSpPr>
                <p:nvPr/>
              </p:nvCxnSpPr>
              <p:spPr>
                <a:xfrm flipV="1">
                  <a:off x="9419582"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03B9902-B26D-2D43-BC67-65312CDCE8EB}"/>
                    </a:ext>
                  </a:extLst>
                </p:cNvPr>
                <p:cNvCxnSpPr>
                  <a:cxnSpLocks/>
                </p:cNvCxnSpPr>
                <p:nvPr/>
              </p:nvCxnSpPr>
              <p:spPr>
                <a:xfrm>
                  <a:off x="9419582" y="255270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8" name="Oval 37">
                <a:extLst>
                  <a:ext uri="{FF2B5EF4-FFF2-40B4-BE49-F238E27FC236}">
                    <a16:creationId xmlns:a16="http://schemas.microsoft.com/office/drawing/2014/main" id="{D8A62920-D6B5-D043-B5F3-BC48B2037818}"/>
                  </a:ext>
                </a:extLst>
              </p:cNvPr>
              <p:cNvSpPr/>
              <p:nvPr/>
            </p:nvSpPr>
            <p:spPr>
              <a:xfrm>
                <a:off x="6289131" y="2897121"/>
                <a:ext cx="327600" cy="33147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Straight Arrow Connector 67">
                <a:extLst>
                  <a:ext uri="{FF2B5EF4-FFF2-40B4-BE49-F238E27FC236}">
                    <a16:creationId xmlns:a16="http://schemas.microsoft.com/office/drawing/2014/main" id="{2A733EF7-7A94-DC40-A589-145B35979447}"/>
                  </a:ext>
                </a:extLst>
              </p:cNvPr>
              <p:cNvCxnSpPr/>
              <p:nvPr/>
            </p:nvCxnSpPr>
            <p:spPr>
              <a:xfrm>
                <a:off x="7448612" y="2357817"/>
                <a:ext cx="0" cy="7050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54BA023C-6DD2-3E4E-8C31-AF2E4CD6CBBC}"/>
                  </a:ext>
                </a:extLst>
              </p:cNvPr>
              <p:cNvSpPr txBox="1"/>
              <p:nvPr/>
            </p:nvSpPr>
            <p:spPr>
              <a:xfrm>
                <a:off x="8771410" y="2705368"/>
                <a:ext cx="2565745" cy="492442"/>
              </a:xfrm>
              <a:prstGeom prst="rect">
                <a:avLst/>
              </a:prstGeom>
              <a:noFill/>
            </p:spPr>
            <p:txBody>
              <a:bodyPr wrap="none" rtlCol="0">
                <a:spAutoFit/>
              </a:bodyPr>
              <a:lstStyle/>
              <a:p>
                <a:pPr algn="ctr"/>
                <a:r>
                  <a:rPr lang="en-US" dirty="0"/>
                  <a:t>Localized electron </a:t>
                </a:r>
              </a:p>
            </p:txBody>
          </p:sp>
          <p:graphicFrame>
            <p:nvGraphicFramePr>
              <p:cNvPr id="73" name="Object 72">
                <a:extLst>
                  <a:ext uri="{FF2B5EF4-FFF2-40B4-BE49-F238E27FC236}">
                    <a16:creationId xmlns:a16="http://schemas.microsoft.com/office/drawing/2014/main" id="{A457C5F2-FECB-B24C-AF14-BFDDCFF28970}"/>
                  </a:ext>
                </a:extLst>
              </p:cNvPr>
              <p:cNvGraphicFramePr>
                <a:graphicFrameLocks noChangeAspect="1"/>
              </p:cNvGraphicFramePr>
              <p:nvPr/>
            </p:nvGraphicFramePr>
            <p:xfrm>
              <a:off x="6268780" y="2206926"/>
              <a:ext cx="342900" cy="419100"/>
            </p:xfrm>
            <a:graphic>
              <a:graphicData uri="http://schemas.openxmlformats.org/presentationml/2006/ole">
                <mc:AlternateContent xmlns:mc="http://schemas.openxmlformats.org/markup-compatibility/2006">
                  <mc:Choice xmlns:v="urn:schemas-microsoft-com:vml" Requires="v">
                    <p:oleObj spid="_x0000_s2070" r:id="rId5" imgW="342900" imgH="419100" progId="Equation.DSMT4">
                      <p:embed/>
                    </p:oleObj>
                  </mc:Choice>
                  <mc:Fallback>
                    <p:oleObj r:id="rId5" imgW="342900" imgH="419100" progId="Equation.DSMT4">
                      <p:embed/>
                      <p:pic>
                        <p:nvPicPr>
                          <p:cNvPr id="73" name="Object 72">
                            <a:extLst>
                              <a:ext uri="{FF2B5EF4-FFF2-40B4-BE49-F238E27FC236}">
                                <a16:creationId xmlns:a16="http://schemas.microsoft.com/office/drawing/2014/main" id="{A457C5F2-FECB-B24C-AF14-BFDDCFF28970}"/>
                              </a:ext>
                            </a:extLst>
                          </p:cNvPr>
                          <p:cNvPicPr/>
                          <p:nvPr/>
                        </p:nvPicPr>
                        <p:blipFill>
                          <a:blip r:embed="rId6"/>
                          <a:stretch>
                            <a:fillRect/>
                          </a:stretch>
                        </p:blipFill>
                        <p:spPr>
                          <a:xfrm>
                            <a:off x="6268780" y="2206926"/>
                            <a:ext cx="342900" cy="419100"/>
                          </a:xfrm>
                          <a:prstGeom prst="rect">
                            <a:avLst/>
                          </a:prstGeom>
                        </p:spPr>
                      </p:pic>
                    </p:oleObj>
                  </mc:Fallback>
                </mc:AlternateContent>
              </a:graphicData>
            </a:graphic>
          </p:graphicFrame>
        </p:grpSp>
        <p:grpSp>
          <p:nvGrpSpPr>
            <p:cNvPr id="78" name="Group 77">
              <a:extLst>
                <a:ext uri="{FF2B5EF4-FFF2-40B4-BE49-F238E27FC236}">
                  <a16:creationId xmlns:a16="http://schemas.microsoft.com/office/drawing/2014/main" id="{6142334A-11F6-2E44-ACE5-1AC722028637}"/>
                </a:ext>
              </a:extLst>
            </p:cNvPr>
            <p:cNvGrpSpPr/>
            <p:nvPr/>
          </p:nvGrpSpPr>
          <p:grpSpPr>
            <a:xfrm>
              <a:off x="5531693" y="3697605"/>
              <a:ext cx="6303565" cy="1106593"/>
              <a:chOff x="4957512" y="3802117"/>
              <a:chExt cx="6303565" cy="1106593"/>
            </a:xfrm>
          </p:grpSpPr>
          <p:sp>
            <p:nvSpPr>
              <p:cNvPr id="50" name="Oval 49">
                <a:extLst>
                  <a:ext uri="{FF2B5EF4-FFF2-40B4-BE49-F238E27FC236}">
                    <a16:creationId xmlns:a16="http://schemas.microsoft.com/office/drawing/2014/main" id="{1C56F7D6-5AC7-544F-BE14-9BA0EA2244F4}"/>
                  </a:ext>
                </a:extLst>
              </p:cNvPr>
              <p:cNvSpPr/>
              <p:nvPr/>
            </p:nvSpPr>
            <p:spPr>
              <a:xfrm>
                <a:off x="6289131" y="4204367"/>
                <a:ext cx="327600" cy="331470"/>
              </a:xfrm>
              <a:prstGeom prst="ellips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2" name="Group 61">
                <a:extLst>
                  <a:ext uri="{FF2B5EF4-FFF2-40B4-BE49-F238E27FC236}">
                    <a16:creationId xmlns:a16="http://schemas.microsoft.com/office/drawing/2014/main" id="{54A2C7D4-4991-B045-A72A-B49056452595}"/>
                  </a:ext>
                </a:extLst>
              </p:cNvPr>
              <p:cNvGrpSpPr/>
              <p:nvPr/>
            </p:nvGrpSpPr>
            <p:grpSpPr>
              <a:xfrm>
                <a:off x="4957512" y="3947576"/>
                <a:ext cx="4991088" cy="788670"/>
                <a:chOff x="5420362" y="3859946"/>
                <a:chExt cx="4991088" cy="788670"/>
              </a:xfrm>
            </p:grpSpPr>
            <p:grpSp>
              <p:nvGrpSpPr>
                <p:cNvPr id="40" name="Group 39">
                  <a:extLst>
                    <a:ext uri="{FF2B5EF4-FFF2-40B4-BE49-F238E27FC236}">
                      <a16:creationId xmlns:a16="http://schemas.microsoft.com/office/drawing/2014/main" id="{1628FA05-6BB4-884B-8772-797714670F54}"/>
                    </a:ext>
                  </a:extLst>
                </p:cNvPr>
                <p:cNvGrpSpPr/>
                <p:nvPr/>
              </p:nvGrpSpPr>
              <p:grpSpPr>
                <a:xfrm>
                  <a:off x="5420362" y="3859946"/>
                  <a:ext cx="4991088" cy="788670"/>
                  <a:chOff x="5420362" y="2552700"/>
                  <a:chExt cx="4991088" cy="788670"/>
                </a:xfrm>
              </p:grpSpPr>
              <p:cxnSp>
                <p:nvCxnSpPr>
                  <p:cNvPr id="41" name="Straight Connector 40">
                    <a:extLst>
                      <a:ext uri="{FF2B5EF4-FFF2-40B4-BE49-F238E27FC236}">
                        <a16:creationId xmlns:a16="http://schemas.microsoft.com/office/drawing/2014/main" id="{1E8D39A8-C1DC-8642-9943-3BD2266DA47A}"/>
                      </a:ext>
                    </a:extLst>
                  </p:cNvPr>
                  <p:cNvCxnSpPr>
                    <a:cxnSpLocks/>
                  </p:cNvCxnSpPr>
                  <p:nvPr/>
                </p:nvCxnSpPr>
                <p:spPr>
                  <a:xfrm>
                    <a:off x="5420362" y="256032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0FEF143-50CE-1345-86CB-BD03DED36FB8}"/>
                      </a:ext>
                    </a:extLst>
                  </p:cNvPr>
                  <p:cNvCxnSpPr>
                    <a:cxnSpLocks/>
                  </p:cNvCxnSpPr>
                  <p:nvPr/>
                </p:nvCxnSpPr>
                <p:spPr>
                  <a:xfrm>
                    <a:off x="6412230" y="334137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8B9CD90-C3E9-6041-BD7B-E75D277A3AE5}"/>
                      </a:ext>
                    </a:extLst>
                  </p:cNvPr>
                  <p:cNvCxnSpPr>
                    <a:cxnSpLocks/>
                  </p:cNvCxnSpPr>
                  <p:nvPr/>
                </p:nvCxnSpPr>
                <p:spPr>
                  <a:xfrm>
                    <a:off x="7415528" y="292608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4134102-0B16-4444-8842-5D00AC6C3C92}"/>
                      </a:ext>
                    </a:extLst>
                  </p:cNvPr>
                  <p:cNvCxnSpPr>
                    <a:cxnSpLocks/>
                  </p:cNvCxnSpPr>
                  <p:nvPr/>
                </p:nvCxnSpPr>
                <p:spPr>
                  <a:xfrm>
                    <a:off x="8416290" y="334137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C6A18AC-84F2-6646-B711-8D73D60A7C51}"/>
                      </a:ext>
                    </a:extLst>
                  </p:cNvPr>
                  <p:cNvCxnSpPr>
                    <a:cxnSpLocks/>
                  </p:cNvCxnSpPr>
                  <p:nvPr/>
                </p:nvCxnSpPr>
                <p:spPr>
                  <a:xfrm flipV="1">
                    <a:off x="6412230"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C98E0E6-EDB7-F147-A4B8-AA22A10F38C1}"/>
                      </a:ext>
                    </a:extLst>
                  </p:cNvPr>
                  <p:cNvCxnSpPr>
                    <a:cxnSpLocks/>
                  </p:cNvCxnSpPr>
                  <p:nvPr/>
                </p:nvCxnSpPr>
                <p:spPr>
                  <a:xfrm flipV="1">
                    <a:off x="7404098" y="2926080"/>
                    <a:ext cx="0" cy="39600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76C92F3-A5C6-E548-B9B1-2360CA012DDB}"/>
                      </a:ext>
                    </a:extLst>
                  </p:cNvPr>
                  <p:cNvCxnSpPr>
                    <a:cxnSpLocks/>
                  </p:cNvCxnSpPr>
                  <p:nvPr/>
                </p:nvCxnSpPr>
                <p:spPr>
                  <a:xfrm flipV="1">
                    <a:off x="9419582"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2F91D54-07DE-8F47-A1F0-210EB5830E37}"/>
                      </a:ext>
                    </a:extLst>
                  </p:cNvPr>
                  <p:cNvCxnSpPr>
                    <a:cxnSpLocks/>
                  </p:cNvCxnSpPr>
                  <p:nvPr/>
                </p:nvCxnSpPr>
                <p:spPr>
                  <a:xfrm>
                    <a:off x="9419582" y="255270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grpSp>
            <p:cxnSp>
              <p:nvCxnSpPr>
                <p:cNvPr id="63" name="Straight Connector 62">
                  <a:extLst>
                    <a:ext uri="{FF2B5EF4-FFF2-40B4-BE49-F238E27FC236}">
                      <a16:creationId xmlns:a16="http://schemas.microsoft.com/office/drawing/2014/main" id="{32650DE2-2687-0D41-9552-34D13C42C72D}"/>
                    </a:ext>
                  </a:extLst>
                </p:cNvPr>
                <p:cNvCxnSpPr>
                  <a:cxnSpLocks/>
                </p:cNvCxnSpPr>
                <p:nvPr/>
              </p:nvCxnSpPr>
              <p:spPr>
                <a:xfrm flipV="1">
                  <a:off x="8416290" y="4233326"/>
                  <a:ext cx="0" cy="39600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7" name="Oval 66">
                <a:extLst>
                  <a:ext uri="{FF2B5EF4-FFF2-40B4-BE49-F238E27FC236}">
                    <a16:creationId xmlns:a16="http://schemas.microsoft.com/office/drawing/2014/main" id="{22CAB829-7E76-A247-98E2-DD79F495F615}"/>
                  </a:ext>
                </a:extLst>
              </p:cNvPr>
              <p:cNvSpPr/>
              <p:nvPr/>
            </p:nvSpPr>
            <p:spPr>
              <a:xfrm>
                <a:off x="8274765" y="4218118"/>
                <a:ext cx="327600" cy="331470"/>
              </a:xfrm>
              <a:prstGeom prst="ellips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Freeform 68">
                <a:extLst>
                  <a:ext uri="{FF2B5EF4-FFF2-40B4-BE49-F238E27FC236}">
                    <a16:creationId xmlns:a16="http://schemas.microsoft.com/office/drawing/2014/main" id="{347A5C27-45E8-5D40-8C41-4C6CDEC7DD31}"/>
                  </a:ext>
                </a:extLst>
              </p:cNvPr>
              <p:cNvSpPr/>
              <p:nvPr/>
            </p:nvSpPr>
            <p:spPr>
              <a:xfrm>
                <a:off x="6772339" y="3802117"/>
                <a:ext cx="1445241" cy="331465"/>
              </a:xfrm>
              <a:custGeom>
                <a:avLst/>
                <a:gdLst>
                  <a:gd name="connsiteX0" fmla="*/ 0 w 1188720"/>
                  <a:gd name="connsiteY0" fmla="*/ 206002 h 206002"/>
                  <a:gd name="connsiteX1" fmla="*/ 548640 w 1188720"/>
                  <a:gd name="connsiteY1" fmla="*/ 262 h 206002"/>
                  <a:gd name="connsiteX2" fmla="*/ 1188720 w 1188720"/>
                  <a:gd name="connsiteY2" fmla="*/ 171712 h 206002"/>
                </a:gdLst>
                <a:ahLst/>
                <a:cxnLst>
                  <a:cxn ang="0">
                    <a:pos x="connsiteX0" y="connsiteY0"/>
                  </a:cxn>
                  <a:cxn ang="0">
                    <a:pos x="connsiteX1" y="connsiteY1"/>
                  </a:cxn>
                  <a:cxn ang="0">
                    <a:pos x="connsiteX2" y="connsiteY2"/>
                  </a:cxn>
                </a:cxnLst>
                <a:rect l="l" t="t" r="r" b="b"/>
                <a:pathLst>
                  <a:path w="1188720" h="206002">
                    <a:moveTo>
                      <a:pt x="0" y="206002"/>
                    </a:moveTo>
                    <a:cubicBezTo>
                      <a:pt x="175260" y="105989"/>
                      <a:pt x="350520" y="5977"/>
                      <a:pt x="548640" y="262"/>
                    </a:cubicBezTo>
                    <a:cubicBezTo>
                      <a:pt x="746760" y="-5453"/>
                      <a:pt x="967740" y="83129"/>
                      <a:pt x="1188720" y="171712"/>
                    </a:cubicBezTo>
                  </a:path>
                </a:pathLst>
              </a:custGeom>
              <a:noFill/>
              <a:ln>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a:extLst>
                  <a:ext uri="{FF2B5EF4-FFF2-40B4-BE49-F238E27FC236}">
                    <a16:creationId xmlns:a16="http://schemas.microsoft.com/office/drawing/2014/main" id="{54042BA3-8F7D-3A40-B95F-E12ED5CEFCDE}"/>
                  </a:ext>
                </a:extLst>
              </p:cNvPr>
              <p:cNvSpPr txBox="1"/>
              <p:nvPr/>
            </p:nvSpPr>
            <p:spPr>
              <a:xfrm>
                <a:off x="8841184" y="4046936"/>
                <a:ext cx="2419893" cy="861774"/>
              </a:xfrm>
              <a:prstGeom prst="rect">
                <a:avLst/>
              </a:prstGeom>
              <a:noFill/>
            </p:spPr>
            <p:txBody>
              <a:bodyPr wrap="none" rtlCol="0">
                <a:spAutoFit/>
              </a:bodyPr>
              <a:lstStyle/>
              <a:p>
                <a:pPr algn="ctr"/>
                <a:r>
                  <a:rPr lang="en-US" dirty="0"/>
                  <a:t>Occupancy (Rabi)</a:t>
                </a:r>
              </a:p>
              <a:p>
                <a:pPr algn="ctr"/>
                <a:r>
                  <a:rPr lang="en-US" dirty="0"/>
                  <a:t>Oscillations</a:t>
                </a:r>
              </a:p>
            </p:txBody>
          </p:sp>
        </p:grpSp>
        <p:grpSp>
          <p:nvGrpSpPr>
            <p:cNvPr id="79" name="Group 78">
              <a:extLst>
                <a:ext uri="{FF2B5EF4-FFF2-40B4-BE49-F238E27FC236}">
                  <a16:creationId xmlns:a16="http://schemas.microsoft.com/office/drawing/2014/main" id="{95588771-4DCB-A643-8ACC-BABB7D80D7F3}"/>
                </a:ext>
              </a:extLst>
            </p:cNvPr>
            <p:cNvGrpSpPr/>
            <p:nvPr/>
          </p:nvGrpSpPr>
          <p:grpSpPr>
            <a:xfrm>
              <a:off x="5531693" y="4904139"/>
              <a:ext cx="6466870" cy="1272927"/>
              <a:chOff x="4957512" y="5008651"/>
              <a:chExt cx="6466870" cy="1272927"/>
            </a:xfrm>
          </p:grpSpPr>
          <p:grpSp>
            <p:nvGrpSpPr>
              <p:cNvPr id="51" name="Group 50">
                <a:extLst>
                  <a:ext uri="{FF2B5EF4-FFF2-40B4-BE49-F238E27FC236}">
                    <a16:creationId xmlns:a16="http://schemas.microsoft.com/office/drawing/2014/main" id="{EEE45099-6B76-8142-B86F-69DDA2642E27}"/>
                  </a:ext>
                </a:extLst>
              </p:cNvPr>
              <p:cNvGrpSpPr/>
              <p:nvPr/>
            </p:nvGrpSpPr>
            <p:grpSpPr>
              <a:xfrm>
                <a:off x="4957512" y="5492908"/>
                <a:ext cx="4991088" cy="788670"/>
                <a:chOff x="5420362" y="2552700"/>
                <a:chExt cx="4991088" cy="788670"/>
              </a:xfrm>
            </p:grpSpPr>
            <p:cxnSp>
              <p:nvCxnSpPr>
                <p:cNvPr id="52" name="Straight Connector 51">
                  <a:extLst>
                    <a:ext uri="{FF2B5EF4-FFF2-40B4-BE49-F238E27FC236}">
                      <a16:creationId xmlns:a16="http://schemas.microsoft.com/office/drawing/2014/main" id="{E2BC44B3-1D34-0247-BA88-4D9A207EF4D4}"/>
                    </a:ext>
                  </a:extLst>
                </p:cNvPr>
                <p:cNvCxnSpPr>
                  <a:cxnSpLocks/>
                </p:cNvCxnSpPr>
                <p:nvPr/>
              </p:nvCxnSpPr>
              <p:spPr>
                <a:xfrm>
                  <a:off x="5420362" y="256032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00F8851-AD13-7047-878E-29758439F8A0}"/>
                    </a:ext>
                  </a:extLst>
                </p:cNvPr>
                <p:cNvCxnSpPr>
                  <a:cxnSpLocks/>
                </p:cNvCxnSpPr>
                <p:nvPr/>
              </p:nvCxnSpPr>
              <p:spPr>
                <a:xfrm>
                  <a:off x="6412230" y="334137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E8205FF-714A-1147-BF2D-24B7C4C536AB}"/>
                    </a:ext>
                  </a:extLst>
                </p:cNvPr>
                <p:cNvCxnSpPr>
                  <a:cxnSpLocks/>
                </p:cNvCxnSpPr>
                <p:nvPr/>
              </p:nvCxnSpPr>
              <p:spPr>
                <a:xfrm>
                  <a:off x="7415528" y="256032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5C1D81B-55B1-CA45-92E8-0A79770601E3}"/>
                    </a:ext>
                  </a:extLst>
                </p:cNvPr>
                <p:cNvCxnSpPr>
                  <a:cxnSpLocks/>
                </p:cNvCxnSpPr>
                <p:nvPr/>
              </p:nvCxnSpPr>
              <p:spPr>
                <a:xfrm>
                  <a:off x="8416290" y="334137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2440358-6676-274F-8BFF-F09E86F7E68B}"/>
                    </a:ext>
                  </a:extLst>
                </p:cNvPr>
                <p:cNvCxnSpPr>
                  <a:cxnSpLocks/>
                </p:cNvCxnSpPr>
                <p:nvPr/>
              </p:nvCxnSpPr>
              <p:spPr>
                <a:xfrm flipV="1">
                  <a:off x="6412230"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A802CAA-0672-644F-B773-7C50B6495850}"/>
                    </a:ext>
                  </a:extLst>
                </p:cNvPr>
                <p:cNvCxnSpPr>
                  <a:cxnSpLocks/>
                </p:cNvCxnSpPr>
                <p:nvPr/>
              </p:nvCxnSpPr>
              <p:spPr>
                <a:xfrm flipV="1">
                  <a:off x="7415528"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B690688-A006-064E-8BF9-4D0515DC1E47}"/>
                    </a:ext>
                  </a:extLst>
                </p:cNvPr>
                <p:cNvCxnSpPr>
                  <a:cxnSpLocks/>
                </p:cNvCxnSpPr>
                <p:nvPr/>
              </p:nvCxnSpPr>
              <p:spPr>
                <a:xfrm flipV="1">
                  <a:off x="8408664"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6FE680E-637A-B240-AEE1-222C91B6EC0E}"/>
                    </a:ext>
                  </a:extLst>
                </p:cNvPr>
                <p:cNvCxnSpPr>
                  <a:cxnSpLocks/>
                </p:cNvCxnSpPr>
                <p:nvPr/>
              </p:nvCxnSpPr>
              <p:spPr>
                <a:xfrm flipV="1">
                  <a:off x="9419582" y="2560320"/>
                  <a:ext cx="0" cy="78105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E2F9D03-5C9B-534F-BDBE-6659649034E0}"/>
                    </a:ext>
                  </a:extLst>
                </p:cNvPr>
                <p:cNvCxnSpPr>
                  <a:cxnSpLocks/>
                </p:cNvCxnSpPr>
                <p:nvPr/>
              </p:nvCxnSpPr>
              <p:spPr>
                <a:xfrm>
                  <a:off x="9419582" y="2552700"/>
                  <a:ext cx="991868"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61" name="Oval 60">
                <a:extLst>
                  <a:ext uri="{FF2B5EF4-FFF2-40B4-BE49-F238E27FC236}">
                    <a16:creationId xmlns:a16="http://schemas.microsoft.com/office/drawing/2014/main" id="{8F622E7F-1F07-8B4A-A49C-B9B3380A5227}"/>
                  </a:ext>
                </a:extLst>
              </p:cNvPr>
              <p:cNvSpPr/>
              <p:nvPr/>
            </p:nvSpPr>
            <p:spPr>
              <a:xfrm>
                <a:off x="8297625" y="5725318"/>
                <a:ext cx="327600" cy="33147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Straight Arrow Connector 70">
                <a:extLst>
                  <a:ext uri="{FF2B5EF4-FFF2-40B4-BE49-F238E27FC236}">
                    <a16:creationId xmlns:a16="http://schemas.microsoft.com/office/drawing/2014/main" id="{7A956E07-7523-7142-A3F6-8884311E8171}"/>
                  </a:ext>
                </a:extLst>
              </p:cNvPr>
              <p:cNvCxnSpPr>
                <a:cxnSpLocks/>
              </p:cNvCxnSpPr>
              <p:nvPr/>
            </p:nvCxnSpPr>
            <p:spPr>
              <a:xfrm flipV="1">
                <a:off x="7448612" y="5102174"/>
                <a:ext cx="0" cy="760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76" name="Object 75">
                <a:extLst>
                  <a:ext uri="{FF2B5EF4-FFF2-40B4-BE49-F238E27FC236}">
                    <a16:creationId xmlns:a16="http://schemas.microsoft.com/office/drawing/2014/main" id="{2501DE7A-31CC-DC4D-BCE9-5EE9BB154E19}"/>
                  </a:ext>
                </a:extLst>
              </p:cNvPr>
              <p:cNvGraphicFramePr>
                <a:graphicFrameLocks noChangeAspect="1"/>
              </p:cNvGraphicFramePr>
              <p:nvPr/>
            </p:nvGraphicFramePr>
            <p:xfrm>
              <a:off x="8297625" y="5008651"/>
              <a:ext cx="355600" cy="419100"/>
            </p:xfrm>
            <a:graphic>
              <a:graphicData uri="http://schemas.openxmlformats.org/presentationml/2006/ole">
                <mc:AlternateContent xmlns:mc="http://schemas.openxmlformats.org/markup-compatibility/2006">
                  <mc:Choice xmlns:v="urn:schemas-microsoft-com:vml" Requires="v">
                    <p:oleObj spid="_x0000_s2071" r:id="rId7" imgW="355600" imgH="419100" progId="Equation.DSMT4">
                      <p:embed/>
                    </p:oleObj>
                  </mc:Choice>
                  <mc:Fallback>
                    <p:oleObj r:id="rId7" imgW="355600" imgH="419100" progId="Equation.DSMT4">
                      <p:embed/>
                      <p:pic>
                        <p:nvPicPr>
                          <p:cNvPr id="76" name="Object 75">
                            <a:extLst>
                              <a:ext uri="{FF2B5EF4-FFF2-40B4-BE49-F238E27FC236}">
                                <a16:creationId xmlns:a16="http://schemas.microsoft.com/office/drawing/2014/main" id="{2501DE7A-31CC-DC4D-BCE9-5EE9BB154E19}"/>
                              </a:ext>
                            </a:extLst>
                          </p:cNvPr>
                          <p:cNvPicPr/>
                          <p:nvPr/>
                        </p:nvPicPr>
                        <p:blipFill>
                          <a:blip r:embed="rId8"/>
                          <a:stretch>
                            <a:fillRect/>
                          </a:stretch>
                        </p:blipFill>
                        <p:spPr>
                          <a:xfrm>
                            <a:off x="8297625" y="5008651"/>
                            <a:ext cx="355600" cy="419100"/>
                          </a:xfrm>
                          <a:prstGeom prst="rect">
                            <a:avLst/>
                          </a:prstGeom>
                        </p:spPr>
                      </p:pic>
                    </p:oleObj>
                  </mc:Fallback>
                </mc:AlternateContent>
              </a:graphicData>
            </a:graphic>
          </p:graphicFrame>
          <p:sp>
            <p:nvSpPr>
              <p:cNvPr id="77" name="TextBox 76">
                <a:extLst>
                  <a:ext uri="{FF2B5EF4-FFF2-40B4-BE49-F238E27FC236}">
                    <a16:creationId xmlns:a16="http://schemas.microsoft.com/office/drawing/2014/main" id="{BEB13335-8DF4-894F-8736-AA6743F6FE57}"/>
                  </a:ext>
                </a:extLst>
              </p:cNvPr>
              <p:cNvSpPr txBox="1"/>
              <p:nvPr/>
            </p:nvSpPr>
            <p:spPr>
              <a:xfrm>
                <a:off x="8858637" y="5591646"/>
                <a:ext cx="2565745" cy="492443"/>
              </a:xfrm>
              <a:prstGeom prst="rect">
                <a:avLst/>
              </a:prstGeom>
              <a:noFill/>
            </p:spPr>
            <p:txBody>
              <a:bodyPr wrap="none" rtlCol="0">
                <a:spAutoFit/>
              </a:bodyPr>
              <a:lstStyle/>
              <a:p>
                <a:pPr algn="ctr"/>
                <a:r>
                  <a:rPr lang="en-US" dirty="0"/>
                  <a:t>Localized electron </a:t>
                </a:r>
              </a:p>
            </p:txBody>
          </p:sp>
        </p:grpSp>
      </p:grpSp>
      <p:sp>
        <p:nvSpPr>
          <p:cNvPr id="65" name="Rectangle 64">
            <a:extLst>
              <a:ext uri="{FF2B5EF4-FFF2-40B4-BE49-F238E27FC236}">
                <a16:creationId xmlns:a16="http://schemas.microsoft.com/office/drawing/2014/main" id="{1E954C12-F754-416F-BC6B-61CC13520964}"/>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66" name="Footer Placeholder 3">
            <a:extLst>
              <a:ext uri="{FF2B5EF4-FFF2-40B4-BE49-F238E27FC236}">
                <a16:creationId xmlns:a16="http://schemas.microsoft.com/office/drawing/2014/main" id="{AB0166A3-5DA1-400B-8BC1-567B847FF7DE}"/>
              </a:ext>
            </a:extLst>
          </p:cNvPr>
          <p:cNvSpPr txBox="1">
            <a:spLocks/>
          </p:cNvSpPr>
          <p:nvPr/>
        </p:nvSpPr>
        <p:spPr>
          <a:xfrm>
            <a:off x="353005" y="6478923"/>
            <a:ext cx="1677890" cy="202741"/>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ctr" defTabSz="457200" rtl="0" eaLnBrk="1" fontAlgn="base" hangingPunct="1">
              <a:spcBef>
                <a:spcPct val="0"/>
              </a:spcBef>
              <a:spcAft>
                <a:spcPct val="0"/>
              </a:spcAft>
              <a:defRPr sz="1200" kern="1200">
                <a:solidFill>
                  <a:srgbClr val="898989"/>
                </a:solidFill>
                <a:latin typeface="Calibri" pitchFamily="34" charset="0"/>
                <a:ea typeface="ＭＳ Ｐゴシック" charset="-128"/>
                <a:cs typeface="+mn-cs"/>
              </a:defRPr>
            </a:lvl1pPr>
            <a:lvl2pPr marL="0" lvl="1" algn="ctr" defTabSz="457200" rtl="0" eaLnBrk="1" fontAlgn="auto" hangingPunct="1">
              <a:spcBef>
                <a:spcPts val="0"/>
              </a:spcBef>
              <a:spcAft>
                <a:spcPts val="0"/>
              </a:spcAft>
              <a:defRPr sz="1400" kern="1200">
                <a:solidFill>
                  <a:schemeClr val="tx1"/>
                </a:solidFill>
                <a:latin typeface="+mn-lt"/>
                <a:ea typeface="+mn-ea"/>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a:lstStyle>
          <a:p>
            <a:pPr>
              <a:defRPr/>
            </a:pPr>
            <a:r>
              <a:rPr lang="en-US" altLang="en-US"/>
              <a:t>© 2019 Equal 1 Inc.  </a:t>
            </a:r>
            <a:endParaRPr lang="de-DE" altLang="en-US" dirty="0"/>
          </a:p>
        </p:txBody>
      </p:sp>
    </p:spTree>
    <p:extLst>
      <p:ext uri="{BB962C8B-B14F-4D97-AF65-F5344CB8AC3E}">
        <p14:creationId xmlns:p14="http://schemas.microsoft.com/office/powerpoint/2010/main" val="34433272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50886-B55F-F348-92EF-30287CC2804E}"/>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C1303247-4CD4-1E44-9ADC-7E2F0D740293}"/>
              </a:ext>
            </a:extLst>
          </p:cNvPr>
          <p:cNvSpPr>
            <a:spLocks noGrp="1"/>
          </p:cNvSpPr>
          <p:nvPr>
            <p:ph idx="1"/>
          </p:nvPr>
        </p:nvSpPr>
        <p:spPr/>
        <p:txBody>
          <a:bodyPr/>
          <a:lstStyle/>
          <a:p>
            <a:r>
              <a:rPr lang="en-US" dirty="0"/>
              <a:t>We have successfully designed and manufactured a SOC to characterize charge based quantum qubits</a:t>
            </a:r>
          </a:p>
          <a:p>
            <a:r>
              <a:rPr lang="en-US" dirty="0"/>
              <a:t>Full system was build with cryocooler and FPGA control</a:t>
            </a:r>
          </a:p>
          <a:p>
            <a:r>
              <a:rPr lang="en-US" dirty="0"/>
              <a:t>All signal generation and detection is performed at </a:t>
            </a:r>
            <a:r>
              <a:rPr lang="en-US" dirty="0" err="1"/>
              <a:t>cryo</a:t>
            </a:r>
            <a:r>
              <a:rPr lang="en-US" dirty="0"/>
              <a:t> temperature (5.2K currently)</a:t>
            </a:r>
          </a:p>
          <a:p>
            <a:r>
              <a:rPr lang="en-US" dirty="0"/>
              <a:t>All electronics is fully functional at 5.2K </a:t>
            </a:r>
          </a:p>
          <a:p>
            <a:r>
              <a:rPr lang="en-US" dirty="0"/>
              <a:t>System level power consumption is 1.6mW for 8 detectors and 32 x 150 </a:t>
            </a:r>
            <a:r>
              <a:rPr lang="en-US" dirty="0" err="1"/>
              <a:t>psec</a:t>
            </a:r>
            <a:r>
              <a:rPr lang="en-US" dirty="0"/>
              <a:t> 8 bit  CDACs with 6GHz clock speed, on chip pattern generator and reference voltage generation</a:t>
            </a:r>
          </a:p>
          <a:p>
            <a:r>
              <a:rPr lang="en-US" dirty="0"/>
              <a:t>Quantum bit cell allow successful single electron injection and transport through the quantum cell with 8 quantum wells</a:t>
            </a:r>
          </a:p>
          <a:p>
            <a:r>
              <a:rPr lang="en-US" dirty="0"/>
              <a:t>Non-trivial electron distribution with respect to CDAC pulse width is observed and could indicate Rabi oscillation, would be consistent with 30 </a:t>
            </a:r>
            <a:r>
              <a:rPr lang="en-US" dirty="0" err="1"/>
              <a:t>nsec</a:t>
            </a:r>
            <a:r>
              <a:rPr lang="en-US" dirty="0"/>
              <a:t> coherence time</a:t>
            </a:r>
          </a:p>
          <a:p>
            <a:r>
              <a:rPr lang="en-US" dirty="0"/>
              <a:t>Technology offers potential allow integration of 10-100 </a:t>
            </a:r>
            <a:r>
              <a:rPr lang="en-US" dirty="0" err="1"/>
              <a:t>kgates</a:t>
            </a:r>
            <a:r>
              <a:rPr lang="en-US" dirty="0"/>
              <a:t> within 1-2 year </a:t>
            </a:r>
            <a:r>
              <a:rPr lang="en-US"/>
              <a:t>time horizon</a:t>
            </a:r>
            <a:endParaRPr lang="en-US" dirty="0"/>
          </a:p>
          <a:p>
            <a:endParaRPr lang="en-US" dirty="0"/>
          </a:p>
        </p:txBody>
      </p:sp>
      <p:sp>
        <p:nvSpPr>
          <p:cNvPr id="5" name="Slide Number Placeholder 4">
            <a:extLst>
              <a:ext uri="{FF2B5EF4-FFF2-40B4-BE49-F238E27FC236}">
                <a16:creationId xmlns:a16="http://schemas.microsoft.com/office/drawing/2014/main" id="{68E017FF-7FB2-0D44-9982-E5757FACFBCC}"/>
              </a:ext>
            </a:extLst>
          </p:cNvPr>
          <p:cNvSpPr>
            <a:spLocks noGrp="1"/>
          </p:cNvSpPr>
          <p:nvPr>
            <p:ph type="sldNum" sz="quarter" idx="12"/>
          </p:nvPr>
        </p:nvSpPr>
        <p:spPr/>
        <p:txBody>
          <a:bodyPr/>
          <a:lstStyle/>
          <a:p>
            <a:fld id="{BDDA4418-520B-4E43-A742-115F1EFE0E3F}" type="slidenum">
              <a:rPr lang="de-DE" altLang="en-US" smtClean="0"/>
              <a:pPr/>
              <a:t>30</a:t>
            </a:fld>
            <a:endParaRPr lang="de-DE" altLang="en-US"/>
          </a:p>
        </p:txBody>
      </p:sp>
      <p:sp>
        <p:nvSpPr>
          <p:cNvPr id="6" name="Rectangle 5">
            <a:extLst>
              <a:ext uri="{FF2B5EF4-FFF2-40B4-BE49-F238E27FC236}">
                <a16:creationId xmlns:a16="http://schemas.microsoft.com/office/drawing/2014/main" id="{7E8B3034-E901-4978-B5DC-13AE044CBFBA}"/>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7" name="Footer Placeholder 3">
            <a:extLst>
              <a:ext uri="{FF2B5EF4-FFF2-40B4-BE49-F238E27FC236}">
                <a16:creationId xmlns:a16="http://schemas.microsoft.com/office/drawing/2014/main" id="{99EE4025-E76D-4AB0-A930-313559F4AEB9}"/>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242265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031ED-88DB-9B4C-8E2F-5B67BD51050C}"/>
              </a:ext>
            </a:extLst>
          </p:cNvPr>
          <p:cNvSpPr>
            <a:spLocks noGrp="1"/>
          </p:cNvSpPr>
          <p:nvPr>
            <p:ph type="title"/>
          </p:nvPr>
        </p:nvSpPr>
        <p:spPr>
          <a:xfrm>
            <a:off x="1538732" y="176336"/>
            <a:ext cx="9561823" cy="760350"/>
          </a:xfrm>
        </p:spPr>
        <p:txBody>
          <a:bodyPr/>
          <a:lstStyle/>
          <a:p>
            <a:r>
              <a:rPr lang="en-US" dirty="0"/>
              <a:t>WKB Schrodinger formalism: Chord line 3D to 1D reduction</a:t>
            </a:r>
          </a:p>
        </p:txBody>
      </p:sp>
      <p:sp>
        <p:nvSpPr>
          <p:cNvPr id="15" name="Rectangle 3">
            <a:extLst>
              <a:ext uri="{FF2B5EF4-FFF2-40B4-BE49-F238E27FC236}">
                <a16:creationId xmlns:a16="http://schemas.microsoft.com/office/drawing/2014/main" id="{B50B1B13-A8EC-594E-8552-207818B4AC3F}"/>
              </a:ext>
            </a:extLst>
          </p:cNvPr>
          <p:cNvSpPr>
            <a:spLocks noChangeArrowheads="1"/>
          </p:cNvSpPr>
          <p:nvPr/>
        </p:nvSpPr>
        <p:spPr bwMode="auto">
          <a:xfrm>
            <a:off x="5589272" y="2505471"/>
            <a:ext cx="138564"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US"/>
          </a:p>
        </p:txBody>
      </p:sp>
      <p:pic>
        <p:nvPicPr>
          <p:cNvPr id="64" name="Picture 63">
            <a:extLst>
              <a:ext uri="{FF2B5EF4-FFF2-40B4-BE49-F238E27FC236}">
                <a16:creationId xmlns:a16="http://schemas.microsoft.com/office/drawing/2014/main" id="{BD0B2B1F-1A18-A84E-908C-9E8F6E0698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7549" y="2238834"/>
            <a:ext cx="2493497" cy="1733149"/>
          </a:xfrm>
          <a:prstGeom prst="rect">
            <a:avLst/>
          </a:prstGeom>
        </p:spPr>
      </p:pic>
      <p:pic>
        <p:nvPicPr>
          <p:cNvPr id="3" name="Picture 2">
            <a:extLst>
              <a:ext uri="{FF2B5EF4-FFF2-40B4-BE49-F238E27FC236}">
                <a16:creationId xmlns:a16="http://schemas.microsoft.com/office/drawing/2014/main" id="{3F3115AD-464C-EA42-8377-FF735EF5D4C6}"/>
              </a:ext>
            </a:extLst>
          </p:cNvPr>
          <p:cNvPicPr>
            <a:picLocks noChangeAspect="1"/>
          </p:cNvPicPr>
          <p:nvPr/>
        </p:nvPicPr>
        <p:blipFill>
          <a:blip r:embed="rId4"/>
          <a:stretch>
            <a:fillRect/>
          </a:stretch>
        </p:blipFill>
        <p:spPr>
          <a:xfrm>
            <a:off x="1851854" y="4525728"/>
            <a:ext cx="2369190" cy="810032"/>
          </a:xfrm>
          <a:prstGeom prst="rect">
            <a:avLst/>
          </a:prstGeom>
        </p:spPr>
      </p:pic>
      <p:pic>
        <p:nvPicPr>
          <p:cNvPr id="6" name="Picture 5">
            <a:extLst>
              <a:ext uri="{FF2B5EF4-FFF2-40B4-BE49-F238E27FC236}">
                <a16:creationId xmlns:a16="http://schemas.microsoft.com/office/drawing/2014/main" id="{ADB95B90-E014-6D4E-B907-EA98F8B6D41E}"/>
              </a:ext>
            </a:extLst>
          </p:cNvPr>
          <p:cNvPicPr>
            <a:picLocks noChangeAspect="1"/>
          </p:cNvPicPr>
          <p:nvPr/>
        </p:nvPicPr>
        <p:blipFill>
          <a:blip r:embed="rId5"/>
          <a:stretch>
            <a:fillRect/>
          </a:stretch>
        </p:blipFill>
        <p:spPr>
          <a:xfrm>
            <a:off x="4407064" y="2255173"/>
            <a:ext cx="2493497" cy="1547951"/>
          </a:xfrm>
          <a:prstGeom prst="rect">
            <a:avLst/>
          </a:prstGeom>
        </p:spPr>
      </p:pic>
      <p:pic>
        <p:nvPicPr>
          <p:cNvPr id="13" name="Picture 12">
            <a:extLst>
              <a:ext uri="{FF2B5EF4-FFF2-40B4-BE49-F238E27FC236}">
                <a16:creationId xmlns:a16="http://schemas.microsoft.com/office/drawing/2014/main" id="{D0057BED-1F44-D943-AC25-3465DC4CC6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63851" y="4090215"/>
            <a:ext cx="2221976" cy="1513685"/>
          </a:xfrm>
          <a:prstGeom prst="rect">
            <a:avLst/>
          </a:prstGeom>
        </p:spPr>
      </p:pic>
      <p:sp>
        <p:nvSpPr>
          <p:cNvPr id="16" name="TextBox 15">
            <a:extLst>
              <a:ext uri="{FF2B5EF4-FFF2-40B4-BE49-F238E27FC236}">
                <a16:creationId xmlns:a16="http://schemas.microsoft.com/office/drawing/2014/main" id="{72C8EC13-0CDB-AD42-8E10-BB6B4C7DC6EA}"/>
              </a:ext>
            </a:extLst>
          </p:cNvPr>
          <p:cNvSpPr txBox="1"/>
          <p:nvPr/>
        </p:nvSpPr>
        <p:spPr>
          <a:xfrm>
            <a:off x="1578985" y="2144217"/>
            <a:ext cx="3116431" cy="369332"/>
          </a:xfrm>
          <a:prstGeom prst="rect">
            <a:avLst/>
          </a:prstGeom>
          <a:noFill/>
        </p:spPr>
        <p:txBody>
          <a:bodyPr wrap="none" rtlCol="0">
            <a:spAutoFit/>
          </a:bodyPr>
          <a:lstStyle/>
          <a:p>
            <a:pPr algn="ctr"/>
            <a:r>
              <a:rPr lang="en-US" dirty="0"/>
              <a:t>2D Problem: Potential Function</a:t>
            </a:r>
          </a:p>
        </p:txBody>
      </p:sp>
      <p:sp>
        <p:nvSpPr>
          <p:cNvPr id="65" name="TextBox 64">
            <a:extLst>
              <a:ext uri="{FF2B5EF4-FFF2-40B4-BE49-F238E27FC236}">
                <a16:creationId xmlns:a16="http://schemas.microsoft.com/office/drawing/2014/main" id="{A66DCC43-39A7-4346-B3A0-6BC2214B15AC}"/>
              </a:ext>
            </a:extLst>
          </p:cNvPr>
          <p:cNvSpPr txBox="1"/>
          <p:nvPr/>
        </p:nvSpPr>
        <p:spPr>
          <a:xfrm>
            <a:off x="1265071" y="4119226"/>
            <a:ext cx="3542766" cy="369332"/>
          </a:xfrm>
          <a:prstGeom prst="rect">
            <a:avLst/>
          </a:prstGeom>
          <a:noFill/>
        </p:spPr>
        <p:txBody>
          <a:bodyPr wrap="none" rtlCol="0">
            <a:spAutoFit/>
          </a:bodyPr>
          <a:lstStyle/>
          <a:p>
            <a:pPr algn="ctr"/>
            <a:r>
              <a:rPr lang="en-US" dirty="0"/>
              <a:t>Displacement of the Wave-Function</a:t>
            </a:r>
          </a:p>
        </p:txBody>
      </p:sp>
      <p:sp>
        <p:nvSpPr>
          <p:cNvPr id="66" name="TextBox 65">
            <a:extLst>
              <a:ext uri="{FF2B5EF4-FFF2-40B4-BE49-F238E27FC236}">
                <a16:creationId xmlns:a16="http://schemas.microsoft.com/office/drawing/2014/main" id="{FA6DBA4F-D03F-A044-B9C9-C5A9AF63B612}"/>
              </a:ext>
            </a:extLst>
          </p:cNvPr>
          <p:cNvSpPr txBox="1"/>
          <p:nvPr/>
        </p:nvSpPr>
        <p:spPr>
          <a:xfrm>
            <a:off x="4750961" y="2249207"/>
            <a:ext cx="1972335" cy="369332"/>
          </a:xfrm>
          <a:prstGeom prst="rect">
            <a:avLst/>
          </a:prstGeom>
          <a:noFill/>
        </p:spPr>
        <p:txBody>
          <a:bodyPr wrap="none" rtlCol="0">
            <a:spAutoFit/>
          </a:bodyPr>
          <a:lstStyle/>
          <a:p>
            <a:pPr algn="ctr"/>
            <a:r>
              <a:rPr lang="en-US" dirty="0"/>
              <a:t>2D Wave-Function:</a:t>
            </a:r>
          </a:p>
        </p:txBody>
      </p:sp>
      <p:sp>
        <p:nvSpPr>
          <p:cNvPr id="70" name="TextBox 69">
            <a:extLst>
              <a:ext uri="{FF2B5EF4-FFF2-40B4-BE49-F238E27FC236}">
                <a16:creationId xmlns:a16="http://schemas.microsoft.com/office/drawing/2014/main" id="{832BB780-61A5-604C-A5B8-13DA7F077252}"/>
              </a:ext>
            </a:extLst>
          </p:cNvPr>
          <p:cNvSpPr txBox="1"/>
          <p:nvPr/>
        </p:nvSpPr>
        <p:spPr>
          <a:xfrm>
            <a:off x="4857128" y="4056991"/>
            <a:ext cx="1511119" cy="369332"/>
          </a:xfrm>
          <a:prstGeom prst="rect">
            <a:avLst/>
          </a:prstGeom>
          <a:noFill/>
        </p:spPr>
        <p:txBody>
          <a:bodyPr wrap="none" rtlCol="0">
            <a:spAutoFit/>
          </a:bodyPr>
          <a:lstStyle/>
          <a:p>
            <a:pPr algn="ctr"/>
            <a:r>
              <a:rPr lang="en-US" dirty="0"/>
              <a:t>1D Reduction:</a:t>
            </a:r>
          </a:p>
        </p:txBody>
      </p:sp>
      <p:graphicFrame>
        <p:nvGraphicFramePr>
          <p:cNvPr id="81" name="Object 80">
            <a:extLst>
              <a:ext uri="{FF2B5EF4-FFF2-40B4-BE49-F238E27FC236}">
                <a16:creationId xmlns:a16="http://schemas.microsoft.com/office/drawing/2014/main" id="{AC9E5585-064D-E444-9EF9-0F1085CC8E1C}"/>
              </a:ext>
            </a:extLst>
          </p:cNvPr>
          <p:cNvGraphicFramePr>
            <a:graphicFrameLocks noChangeAspect="1"/>
          </p:cNvGraphicFramePr>
          <p:nvPr/>
        </p:nvGraphicFramePr>
        <p:xfrm>
          <a:off x="7061069" y="2634013"/>
          <a:ext cx="3465910" cy="619125"/>
        </p:xfrm>
        <a:graphic>
          <a:graphicData uri="http://schemas.openxmlformats.org/presentationml/2006/ole">
            <mc:AlternateContent xmlns:mc="http://schemas.openxmlformats.org/markup-compatibility/2006">
              <mc:Choice xmlns:v="urn:schemas-microsoft-com:vml" Requires="v">
                <p:oleObj spid="_x0000_s3094" r:id="rId7" imgW="4508500" imgH="825500" progId="Equation.DSMT4">
                  <p:embed/>
                </p:oleObj>
              </mc:Choice>
              <mc:Fallback>
                <p:oleObj r:id="rId7" imgW="4508500" imgH="825500" progId="Equation.DSMT4">
                  <p:embed/>
                  <p:pic>
                    <p:nvPicPr>
                      <p:cNvPr id="81" name="Object 80">
                        <a:extLst>
                          <a:ext uri="{FF2B5EF4-FFF2-40B4-BE49-F238E27FC236}">
                            <a16:creationId xmlns:a16="http://schemas.microsoft.com/office/drawing/2014/main" id="{AC9E5585-064D-E444-9EF9-0F1085CC8E1C}"/>
                          </a:ext>
                        </a:extLst>
                      </p:cNvPr>
                      <p:cNvPicPr>
                        <a:picLocks noChangeAspect="1" noChangeArrowheads="1"/>
                      </p:cNvPicPr>
                      <p:nvPr/>
                    </p:nvPicPr>
                    <p:blipFill>
                      <a:blip r:embed="rId8"/>
                      <a:srcRect/>
                      <a:stretch>
                        <a:fillRect/>
                      </a:stretch>
                    </p:blipFill>
                    <p:spPr bwMode="auto">
                      <a:xfrm>
                        <a:off x="7061069" y="2634013"/>
                        <a:ext cx="3465910" cy="6191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3" name="Object 82">
            <a:extLst>
              <a:ext uri="{FF2B5EF4-FFF2-40B4-BE49-F238E27FC236}">
                <a16:creationId xmlns:a16="http://schemas.microsoft.com/office/drawing/2014/main" id="{DB4AA703-609E-8F43-B0DA-F304A9FE6C77}"/>
              </a:ext>
            </a:extLst>
          </p:cNvPr>
          <p:cNvGraphicFramePr>
            <a:graphicFrameLocks noChangeAspect="1"/>
          </p:cNvGraphicFramePr>
          <p:nvPr/>
        </p:nvGraphicFramePr>
        <p:xfrm>
          <a:off x="7388308" y="3975258"/>
          <a:ext cx="2772965" cy="581025"/>
        </p:xfrm>
        <a:graphic>
          <a:graphicData uri="http://schemas.openxmlformats.org/presentationml/2006/ole">
            <mc:AlternateContent xmlns:mc="http://schemas.openxmlformats.org/markup-compatibility/2006">
              <mc:Choice xmlns:v="urn:schemas-microsoft-com:vml" Requires="v">
                <p:oleObj spid="_x0000_s3095" r:id="rId9" imgW="3606800" imgH="774700" progId="Equation.DSMT4">
                  <p:embed/>
                </p:oleObj>
              </mc:Choice>
              <mc:Fallback>
                <p:oleObj r:id="rId9" imgW="3606800" imgH="774700" progId="Equation.DSMT4">
                  <p:embed/>
                  <p:pic>
                    <p:nvPicPr>
                      <p:cNvPr id="83" name="Object 82">
                        <a:extLst>
                          <a:ext uri="{FF2B5EF4-FFF2-40B4-BE49-F238E27FC236}">
                            <a16:creationId xmlns:a16="http://schemas.microsoft.com/office/drawing/2014/main" id="{DB4AA703-609E-8F43-B0DA-F304A9FE6C77}"/>
                          </a:ext>
                        </a:extLst>
                      </p:cNvPr>
                      <p:cNvPicPr>
                        <a:picLocks noChangeAspect="1" noChangeArrowheads="1"/>
                      </p:cNvPicPr>
                      <p:nvPr/>
                    </p:nvPicPr>
                    <p:blipFill>
                      <a:blip r:embed="rId10"/>
                      <a:srcRect/>
                      <a:stretch>
                        <a:fillRect/>
                      </a:stretch>
                    </p:blipFill>
                    <p:spPr bwMode="auto">
                      <a:xfrm>
                        <a:off x="7388308" y="3975258"/>
                        <a:ext cx="2772965" cy="581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TextBox 83">
            <a:extLst>
              <a:ext uri="{FF2B5EF4-FFF2-40B4-BE49-F238E27FC236}">
                <a16:creationId xmlns:a16="http://schemas.microsoft.com/office/drawing/2014/main" id="{709940B6-365C-2D4E-853E-5A8AA37DDDAD}"/>
              </a:ext>
            </a:extLst>
          </p:cNvPr>
          <p:cNvSpPr txBox="1"/>
          <p:nvPr/>
        </p:nvSpPr>
        <p:spPr>
          <a:xfrm>
            <a:off x="7081665" y="2084639"/>
            <a:ext cx="3386248" cy="369332"/>
          </a:xfrm>
          <a:prstGeom prst="rect">
            <a:avLst/>
          </a:prstGeom>
          <a:noFill/>
        </p:spPr>
        <p:txBody>
          <a:bodyPr wrap="none" rtlCol="0">
            <a:spAutoFit/>
          </a:bodyPr>
          <a:lstStyle/>
          <a:p>
            <a:pPr algn="ctr"/>
            <a:r>
              <a:rPr lang="en-US" dirty="0"/>
              <a:t>2D (Time-Independent) Equation: </a:t>
            </a:r>
          </a:p>
        </p:txBody>
      </p:sp>
      <p:sp>
        <p:nvSpPr>
          <p:cNvPr id="85" name="TextBox 84">
            <a:extLst>
              <a:ext uri="{FF2B5EF4-FFF2-40B4-BE49-F238E27FC236}">
                <a16:creationId xmlns:a16="http://schemas.microsoft.com/office/drawing/2014/main" id="{B7A66E79-F8F5-7A41-A4CB-A894EFED550D}"/>
              </a:ext>
            </a:extLst>
          </p:cNvPr>
          <p:cNvSpPr txBox="1"/>
          <p:nvPr/>
        </p:nvSpPr>
        <p:spPr>
          <a:xfrm>
            <a:off x="7100900" y="3498295"/>
            <a:ext cx="3386248" cy="369332"/>
          </a:xfrm>
          <a:prstGeom prst="rect">
            <a:avLst/>
          </a:prstGeom>
          <a:noFill/>
        </p:spPr>
        <p:txBody>
          <a:bodyPr wrap="none" rtlCol="0">
            <a:spAutoFit/>
          </a:bodyPr>
          <a:lstStyle/>
          <a:p>
            <a:pPr algn="ctr"/>
            <a:r>
              <a:rPr lang="en-US" dirty="0"/>
              <a:t>1D (Time-Independent) Equation: </a:t>
            </a:r>
          </a:p>
        </p:txBody>
      </p:sp>
      <p:pic>
        <p:nvPicPr>
          <p:cNvPr id="86" name="Picture 85">
            <a:extLst>
              <a:ext uri="{FF2B5EF4-FFF2-40B4-BE49-F238E27FC236}">
                <a16:creationId xmlns:a16="http://schemas.microsoft.com/office/drawing/2014/main" id="{7BE74847-BD3F-A44D-849E-86CA71852C1E}"/>
              </a:ext>
            </a:extLst>
          </p:cNvPr>
          <p:cNvPicPr>
            <a:picLocks noChangeAspect="1"/>
          </p:cNvPicPr>
          <p:nvPr/>
        </p:nvPicPr>
        <p:blipFill>
          <a:blip r:embed="rId11"/>
          <a:stretch>
            <a:fillRect/>
          </a:stretch>
        </p:blipFill>
        <p:spPr>
          <a:xfrm>
            <a:off x="7522264" y="4653809"/>
            <a:ext cx="2385475" cy="1075802"/>
          </a:xfrm>
          <a:prstGeom prst="rect">
            <a:avLst/>
          </a:prstGeom>
        </p:spPr>
      </p:pic>
      <p:sp>
        <p:nvSpPr>
          <p:cNvPr id="19" name="Rectangle 18">
            <a:extLst>
              <a:ext uri="{FF2B5EF4-FFF2-40B4-BE49-F238E27FC236}">
                <a16:creationId xmlns:a16="http://schemas.microsoft.com/office/drawing/2014/main" id="{3D51C715-E9CD-41BF-9256-E7FF2C6CC7E5}"/>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20" name="Footer Placeholder 3">
            <a:extLst>
              <a:ext uri="{FF2B5EF4-FFF2-40B4-BE49-F238E27FC236}">
                <a16:creationId xmlns:a16="http://schemas.microsoft.com/office/drawing/2014/main" id="{3381E596-21D5-4B45-966E-2C994B431FB4}"/>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1354048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599E7-C171-5E42-A3B1-DA4E62CB5760}"/>
              </a:ext>
            </a:extLst>
          </p:cNvPr>
          <p:cNvSpPr>
            <a:spLocks noGrp="1"/>
          </p:cNvSpPr>
          <p:nvPr>
            <p:ph type="title"/>
          </p:nvPr>
        </p:nvSpPr>
        <p:spPr/>
        <p:txBody>
          <a:bodyPr/>
          <a:lstStyle/>
          <a:p>
            <a:r>
              <a:rPr lang="en-US" dirty="0"/>
              <a:t>Schrodinger formalism: analysis of 8-well system</a:t>
            </a:r>
          </a:p>
        </p:txBody>
      </p:sp>
      <p:sp>
        <p:nvSpPr>
          <p:cNvPr id="18" name="Rectangle 17">
            <a:extLst>
              <a:ext uri="{FF2B5EF4-FFF2-40B4-BE49-F238E27FC236}">
                <a16:creationId xmlns:a16="http://schemas.microsoft.com/office/drawing/2014/main" id="{76B8146B-39D2-0D44-A321-7325064AC0C6}"/>
              </a:ext>
            </a:extLst>
          </p:cNvPr>
          <p:cNvSpPr/>
          <p:nvPr/>
        </p:nvSpPr>
        <p:spPr>
          <a:xfrm>
            <a:off x="7387817" y="3500838"/>
            <a:ext cx="308730" cy="2728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1" name="Picture 1" descr="page1image5988512">
            <a:extLst>
              <a:ext uri="{FF2B5EF4-FFF2-40B4-BE49-F238E27FC236}">
                <a16:creationId xmlns:a16="http://schemas.microsoft.com/office/drawing/2014/main" id="{662AB5AD-CB03-F44A-A56A-92DE43CD021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77475" y="1196752"/>
            <a:ext cx="2844316" cy="430710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CE1FE98-72A0-7946-B049-8825D2BA036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74914" y="1520788"/>
            <a:ext cx="2973497" cy="3931971"/>
          </a:xfrm>
          <a:prstGeom prst="rect">
            <a:avLst/>
          </a:prstGeom>
        </p:spPr>
      </p:pic>
      <p:pic>
        <p:nvPicPr>
          <p:cNvPr id="21" name="Picture 20">
            <a:extLst>
              <a:ext uri="{FF2B5EF4-FFF2-40B4-BE49-F238E27FC236}">
                <a16:creationId xmlns:a16="http://schemas.microsoft.com/office/drawing/2014/main" id="{D3629686-756A-5D4A-A3E8-5355B2066C0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12729" y="1448780"/>
            <a:ext cx="3195647" cy="4024503"/>
          </a:xfrm>
          <a:prstGeom prst="rect">
            <a:avLst/>
          </a:prstGeom>
        </p:spPr>
      </p:pic>
      <p:sp>
        <p:nvSpPr>
          <p:cNvPr id="22" name="TextBox 21">
            <a:extLst>
              <a:ext uri="{FF2B5EF4-FFF2-40B4-BE49-F238E27FC236}">
                <a16:creationId xmlns:a16="http://schemas.microsoft.com/office/drawing/2014/main" id="{EAF70DC4-077F-394E-B5B9-34C5FEF9C47C}"/>
              </a:ext>
            </a:extLst>
          </p:cNvPr>
          <p:cNvSpPr txBox="1"/>
          <p:nvPr/>
        </p:nvSpPr>
        <p:spPr>
          <a:xfrm>
            <a:off x="1127448" y="1090591"/>
            <a:ext cx="1702389" cy="369332"/>
          </a:xfrm>
          <a:prstGeom prst="rect">
            <a:avLst/>
          </a:prstGeom>
          <a:noFill/>
        </p:spPr>
        <p:txBody>
          <a:bodyPr wrap="none" rtlCol="0">
            <a:spAutoFit/>
          </a:bodyPr>
          <a:lstStyle/>
          <a:p>
            <a:r>
              <a:rPr lang="en-US" dirty="0"/>
              <a:t>Eigen-functions:</a:t>
            </a:r>
          </a:p>
        </p:txBody>
      </p:sp>
      <p:sp>
        <p:nvSpPr>
          <p:cNvPr id="24" name="TextBox 23">
            <a:extLst>
              <a:ext uri="{FF2B5EF4-FFF2-40B4-BE49-F238E27FC236}">
                <a16:creationId xmlns:a16="http://schemas.microsoft.com/office/drawing/2014/main" id="{1B84F710-5B0C-9743-9C09-F352C886B57D}"/>
              </a:ext>
            </a:extLst>
          </p:cNvPr>
          <p:cNvSpPr txBox="1"/>
          <p:nvPr/>
        </p:nvSpPr>
        <p:spPr>
          <a:xfrm>
            <a:off x="4259796" y="1130990"/>
            <a:ext cx="3000630" cy="369332"/>
          </a:xfrm>
          <a:prstGeom prst="rect">
            <a:avLst/>
          </a:prstGeom>
          <a:noFill/>
        </p:spPr>
        <p:txBody>
          <a:bodyPr wrap="none" rtlCol="0">
            <a:spAutoFit/>
          </a:bodyPr>
          <a:lstStyle/>
          <a:p>
            <a:r>
              <a:rPr lang="en-US" dirty="0"/>
              <a:t>Occupancy (Rabi) Oscillations:</a:t>
            </a:r>
          </a:p>
        </p:txBody>
      </p:sp>
      <p:sp>
        <p:nvSpPr>
          <p:cNvPr id="26" name="TextBox 25">
            <a:extLst>
              <a:ext uri="{FF2B5EF4-FFF2-40B4-BE49-F238E27FC236}">
                <a16:creationId xmlns:a16="http://schemas.microsoft.com/office/drawing/2014/main" id="{45C2D578-C3AD-314F-9F92-18425182DCB2}"/>
              </a:ext>
            </a:extLst>
          </p:cNvPr>
          <p:cNvSpPr txBox="1"/>
          <p:nvPr/>
        </p:nvSpPr>
        <p:spPr>
          <a:xfrm>
            <a:off x="7680176" y="1016732"/>
            <a:ext cx="4027964" cy="646331"/>
          </a:xfrm>
          <a:prstGeom prst="rect">
            <a:avLst/>
          </a:prstGeom>
          <a:noFill/>
        </p:spPr>
        <p:txBody>
          <a:bodyPr wrap="square" rtlCol="0">
            <a:spAutoFit/>
          </a:bodyPr>
          <a:lstStyle/>
          <a:p>
            <a:r>
              <a:rPr lang="en-US" dirty="0"/>
              <a:t>Occupancy (Rabi) Oscillations if more energy levels are involved:</a:t>
            </a:r>
          </a:p>
        </p:txBody>
      </p:sp>
      <p:sp>
        <p:nvSpPr>
          <p:cNvPr id="13" name="Rectangle 12">
            <a:extLst>
              <a:ext uri="{FF2B5EF4-FFF2-40B4-BE49-F238E27FC236}">
                <a16:creationId xmlns:a16="http://schemas.microsoft.com/office/drawing/2014/main" id="{A8ED8A02-8A53-4CBA-A11D-70D51177186A}"/>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4" name="Footer Placeholder 3">
            <a:extLst>
              <a:ext uri="{FF2B5EF4-FFF2-40B4-BE49-F238E27FC236}">
                <a16:creationId xmlns:a16="http://schemas.microsoft.com/office/drawing/2014/main" id="{E67BCB5D-3CA4-4219-9401-3EA53131D0E3}"/>
              </a:ext>
            </a:extLst>
          </p:cNvPr>
          <p:cNvSpPr txBox="1">
            <a:spLocks/>
          </p:cNvSpPr>
          <p:nvPr/>
        </p:nvSpPr>
        <p:spPr>
          <a:xfrm>
            <a:off x="353005" y="6478923"/>
            <a:ext cx="1677890" cy="202741"/>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ctr" defTabSz="457200" rtl="0" eaLnBrk="1" fontAlgn="base" hangingPunct="1">
              <a:spcBef>
                <a:spcPct val="0"/>
              </a:spcBef>
              <a:spcAft>
                <a:spcPct val="0"/>
              </a:spcAft>
              <a:defRPr sz="1200" kern="1200">
                <a:solidFill>
                  <a:srgbClr val="898989"/>
                </a:solidFill>
                <a:latin typeface="Calibri" pitchFamily="34" charset="0"/>
                <a:ea typeface="ＭＳ Ｐゴシック" charset="-128"/>
                <a:cs typeface="+mn-cs"/>
              </a:defRPr>
            </a:lvl1pPr>
            <a:lvl2pPr marL="0" lvl="1" algn="ctr" defTabSz="457200" rtl="0" eaLnBrk="1" fontAlgn="auto" hangingPunct="1">
              <a:spcBef>
                <a:spcPts val="0"/>
              </a:spcBef>
              <a:spcAft>
                <a:spcPts val="0"/>
              </a:spcAft>
              <a:defRPr sz="1400" kern="1200">
                <a:solidFill>
                  <a:schemeClr val="tx1"/>
                </a:solidFill>
                <a:latin typeface="+mn-lt"/>
                <a:ea typeface="+mn-ea"/>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a:lstStyle>
          <a:p>
            <a:pPr>
              <a:defRPr/>
            </a:pPr>
            <a:r>
              <a:rPr lang="en-US" altLang="en-US"/>
              <a:t>© 2019 Equal 1 Inc.  </a:t>
            </a:r>
            <a:endParaRPr lang="de-DE" altLang="en-US" dirty="0"/>
          </a:p>
        </p:txBody>
      </p:sp>
      <p:sp>
        <p:nvSpPr>
          <p:cNvPr id="12" name="TextBox 11">
            <a:extLst>
              <a:ext uri="{FF2B5EF4-FFF2-40B4-BE49-F238E27FC236}">
                <a16:creationId xmlns:a16="http://schemas.microsoft.com/office/drawing/2014/main" id="{5A0F95BF-22C3-462E-92FD-D72125CC8B22}"/>
              </a:ext>
            </a:extLst>
          </p:cNvPr>
          <p:cNvSpPr txBox="1"/>
          <p:nvPr/>
        </p:nvSpPr>
        <p:spPr>
          <a:xfrm>
            <a:off x="338670" y="5445224"/>
            <a:ext cx="11822404" cy="923330"/>
          </a:xfrm>
          <a:prstGeom prst="rect">
            <a:avLst/>
          </a:prstGeom>
          <a:noFill/>
        </p:spPr>
        <p:txBody>
          <a:bodyPr wrap="none" rtlCol="0">
            <a:spAutoFit/>
          </a:bodyPr>
          <a:lstStyle/>
          <a:p>
            <a:pPr marL="285750" indent="-285750">
              <a:buFont typeface="Arial" panose="020B0604020202020204" pitchFamily="34" charset="0"/>
              <a:buChar char="•"/>
            </a:pPr>
            <a:r>
              <a:rPr lang="en-US" dirty="0"/>
              <a:t>Pairs of eigenfunction show energy level splitting in magnetic field -&gt; spin correctly captured and can be used </a:t>
            </a:r>
          </a:p>
          <a:p>
            <a:pPr marL="285750" indent="-285750">
              <a:buFont typeface="Arial" panose="020B0604020202020204" pitchFamily="34" charset="0"/>
              <a:buChar char="•"/>
            </a:pPr>
            <a:r>
              <a:rPr lang="en-US" dirty="0"/>
              <a:t>Because charge domain switching can be performed with 20-50 </a:t>
            </a:r>
            <a:r>
              <a:rPr lang="en-US" dirty="0" err="1"/>
              <a:t>psec</a:t>
            </a:r>
            <a:r>
              <a:rPr lang="en-US" dirty="0"/>
              <a:t> time constant short coherence times are acceptable</a:t>
            </a:r>
          </a:p>
          <a:p>
            <a:pPr marL="285750" indent="-285750">
              <a:buFont typeface="Arial" panose="020B0604020202020204" pitchFamily="34" charset="0"/>
              <a:buChar char="•"/>
            </a:pPr>
            <a:r>
              <a:rPr lang="en-US" dirty="0"/>
              <a:t>Magnetic field can be generated by slow resonate RF filed (10 MHz in macro resonator structure (cryostat)</a:t>
            </a:r>
          </a:p>
        </p:txBody>
      </p:sp>
    </p:spTree>
    <p:extLst>
      <p:ext uri="{BB962C8B-B14F-4D97-AF65-F5344CB8AC3E}">
        <p14:creationId xmlns:p14="http://schemas.microsoft.com/office/powerpoint/2010/main" val="3927331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A08A-6A3E-3049-A477-6A25B4D80834}"/>
              </a:ext>
            </a:extLst>
          </p:cNvPr>
          <p:cNvSpPr>
            <a:spLocks noGrp="1"/>
          </p:cNvSpPr>
          <p:nvPr>
            <p:ph type="title"/>
          </p:nvPr>
        </p:nvSpPr>
        <p:spPr/>
        <p:txBody>
          <a:bodyPr/>
          <a:lstStyle/>
          <a:p>
            <a:pPr algn="ctr"/>
            <a:r>
              <a:rPr lang="en-US" dirty="0"/>
              <a:t>Quantum computing SOC die </a:t>
            </a:r>
            <a:r>
              <a:rPr lang="en-US" dirty="0" err="1"/>
              <a:t>photogragh</a:t>
            </a:r>
            <a:endParaRPr lang="en-US" dirty="0"/>
          </a:p>
        </p:txBody>
      </p:sp>
      <p:pic>
        <p:nvPicPr>
          <p:cNvPr id="5" name="Content Placeholder 4">
            <a:extLst>
              <a:ext uri="{FF2B5EF4-FFF2-40B4-BE49-F238E27FC236}">
                <a16:creationId xmlns:a16="http://schemas.microsoft.com/office/drawing/2014/main" id="{A4E243A2-A8E5-924B-9D2E-0DD45FDCF1C6}"/>
              </a:ext>
            </a:extLst>
          </p:cNvPr>
          <p:cNvPicPr>
            <a:picLocks noGrp="1" noChangeAspect="1"/>
          </p:cNvPicPr>
          <p:nvPr>
            <p:ph idx="1"/>
          </p:nvPr>
        </p:nvPicPr>
        <p:blipFill>
          <a:blip r:embed="rId2"/>
          <a:stretch>
            <a:fillRect/>
          </a:stretch>
        </p:blipFill>
        <p:spPr>
          <a:xfrm>
            <a:off x="5468639" y="1932920"/>
            <a:ext cx="6142150" cy="4088368"/>
          </a:xfrm>
        </p:spPr>
      </p:pic>
      <p:grpSp>
        <p:nvGrpSpPr>
          <p:cNvPr id="7" name="Group 6">
            <a:extLst>
              <a:ext uri="{FF2B5EF4-FFF2-40B4-BE49-F238E27FC236}">
                <a16:creationId xmlns:a16="http://schemas.microsoft.com/office/drawing/2014/main" id="{A3E67642-716C-4367-A9A7-160E112511DD}"/>
              </a:ext>
            </a:extLst>
          </p:cNvPr>
          <p:cNvGrpSpPr/>
          <p:nvPr/>
        </p:nvGrpSpPr>
        <p:grpSpPr>
          <a:xfrm>
            <a:off x="333481" y="1976295"/>
            <a:ext cx="4544435" cy="4088368"/>
            <a:chOff x="243972" y="1197531"/>
            <a:chExt cx="4191000" cy="4191000"/>
          </a:xfrm>
        </p:grpSpPr>
        <p:pic>
          <p:nvPicPr>
            <p:cNvPr id="8" name="Picture 2">
              <a:extLst>
                <a:ext uri="{FF2B5EF4-FFF2-40B4-BE49-F238E27FC236}">
                  <a16:creationId xmlns:a16="http://schemas.microsoft.com/office/drawing/2014/main" id="{07279699-C5F8-49D0-B448-911435BC021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43972" y="1197531"/>
              <a:ext cx="4191000" cy="419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a:extLst>
                <a:ext uri="{FF2B5EF4-FFF2-40B4-BE49-F238E27FC236}">
                  <a16:creationId xmlns:a16="http://schemas.microsoft.com/office/drawing/2014/main" id="{3CD358A1-2B88-4E0B-B0FE-C5E744D75EF3}"/>
                </a:ext>
              </a:extLst>
            </p:cNvPr>
            <p:cNvSpPr/>
            <p:nvPr/>
          </p:nvSpPr>
          <p:spPr>
            <a:xfrm>
              <a:off x="304800" y="1290935"/>
              <a:ext cx="742670" cy="3953924"/>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10" name="Rectangle 9">
              <a:extLst>
                <a:ext uri="{FF2B5EF4-FFF2-40B4-BE49-F238E27FC236}">
                  <a16:creationId xmlns:a16="http://schemas.microsoft.com/office/drawing/2014/main" id="{BB1478AA-3355-4FC1-BDDB-9A543B6EBE31}"/>
                </a:ext>
              </a:extLst>
            </p:cNvPr>
            <p:cNvSpPr/>
            <p:nvPr/>
          </p:nvSpPr>
          <p:spPr>
            <a:xfrm>
              <a:off x="3657600" y="1290934"/>
              <a:ext cx="685800" cy="3966865"/>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11" name="Rectangle 10">
              <a:extLst>
                <a:ext uri="{FF2B5EF4-FFF2-40B4-BE49-F238E27FC236}">
                  <a16:creationId xmlns:a16="http://schemas.microsoft.com/office/drawing/2014/main" id="{7451B4DF-8757-450F-B51A-C5A30EF7D785}"/>
                </a:ext>
              </a:extLst>
            </p:cNvPr>
            <p:cNvSpPr/>
            <p:nvPr/>
          </p:nvSpPr>
          <p:spPr>
            <a:xfrm>
              <a:off x="1143000" y="1283746"/>
              <a:ext cx="1061731" cy="697453"/>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12" name="Rectangle 11">
              <a:extLst>
                <a:ext uri="{FF2B5EF4-FFF2-40B4-BE49-F238E27FC236}">
                  <a16:creationId xmlns:a16="http://schemas.microsoft.com/office/drawing/2014/main" id="{73C01774-B764-4315-96EA-2B3D492B7F51}"/>
                </a:ext>
              </a:extLst>
            </p:cNvPr>
            <p:cNvSpPr/>
            <p:nvPr/>
          </p:nvSpPr>
          <p:spPr>
            <a:xfrm>
              <a:off x="1143000" y="4918493"/>
              <a:ext cx="2362200" cy="326366"/>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13" name="Rectangle 12">
              <a:extLst>
                <a:ext uri="{FF2B5EF4-FFF2-40B4-BE49-F238E27FC236}">
                  <a16:creationId xmlns:a16="http://schemas.microsoft.com/office/drawing/2014/main" id="{E80F76B6-8015-4C53-BDAF-AB861EBC222F}"/>
                </a:ext>
              </a:extLst>
            </p:cNvPr>
            <p:cNvSpPr/>
            <p:nvPr/>
          </p:nvSpPr>
          <p:spPr>
            <a:xfrm>
              <a:off x="1143000" y="2057398"/>
              <a:ext cx="2362200" cy="2755835"/>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14" name="TextBox 13">
              <a:extLst>
                <a:ext uri="{FF2B5EF4-FFF2-40B4-BE49-F238E27FC236}">
                  <a16:creationId xmlns:a16="http://schemas.microsoft.com/office/drawing/2014/main" id="{5BC905D8-1D31-4174-BBEB-7CD605184F2A}"/>
                </a:ext>
              </a:extLst>
            </p:cNvPr>
            <p:cNvSpPr txBox="1"/>
            <p:nvPr/>
          </p:nvSpPr>
          <p:spPr>
            <a:xfrm>
              <a:off x="1243484" y="4015385"/>
              <a:ext cx="2186127" cy="536355"/>
            </a:xfrm>
            <a:prstGeom prst="rect">
              <a:avLst/>
            </a:prstGeom>
            <a:noFill/>
          </p:spPr>
          <p:txBody>
            <a:bodyPr wrap="square" rtlCol="0">
              <a:spAutoFit/>
            </a:bodyPr>
            <a:lstStyle/>
            <a:p>
              <a:pPr algn="ctr" defTabSz="342892"/>
              <a:r>
                <a:rPr lang="en-US" sz="2800" b="1" dirty="0">
                  <a:solidFill>
                    <a:srgbClr val="FFFF00"/>
                  </a:solidFill>
                </a:rPr>
                <a:t>28 test cells</a:t>
              </a:r>
            </a:p>
          </p:txBody>
        </p:sp>
        <p:sp>
          <p:nvSpPr>
            <p:cNvPr id="15" name="TextBox 14">
              <a:extLst>
                <a:ext uri="{FF2B5EF4-FFF2-40B4-BE49-F238E27FC236}">
                  <a16:creationId xmlns:a16="http://schemas.microsoft.com/office/drawing/2014/main" id="{F93F1399-3284-4954-9B39-4BE611306ABF}"/>
                </a:ext>
              </a:extLst>
            </p:cNvPr>
            <p:cNvSpPr txBox="1"/>
            <p:nvPr/>
          </p:nvSpPr>
          <p:spPr>
            <a:xfrm>
              <a:off x="1446362" y="4894099"/>
              <a:ext cx="1755474" cy="378603"/>
            </a:xfrm>
            <a:prstGeom prst="rect">
              <a:avLst/>
            </a:prstGeom>
            <a:noFill/>
          </p:spPr>
          <p:txBody>
            <a:bodyPr wrap="square" rtlCol="0">
              <a:spAutoFit/>
            </a:bodyPr>
            <a:lstStyle/>
            <a:p>
              <a:pPr algn="ctr" defTabSz="342892"/>
              <a:r>
                <a:rPr lang="en-US" b="1" dirty="0">
                  <a:solidFill>
                    <a:srgbClr val="FFFF00"/>
                  </a:solidFill>
                </a:rPr>
                <a:t>Analog</a:t>
              </a:r>
            </a:p>
          </p:txBody>
        </p:sp>
        <p:sp>
          <p:nvSpPr>
            <p:cNvPr id="16" name="TextBox 15">
              <a:extLst>
                <a:ext uri="{FF2B5EF4-FFF2-40B4-BE49-F238E27FC236}">
                  <a16:creationId xmlns:a16="http://schemas.microsoft.com/office/drawing/2014/main" id="{3A5C5BDD-8907-4B5D-B88A-56F552331DDB}"/>
                </a:ext>
              </a:extLst>
            </p:cNvPr>
            <p:cNvSpPr txBox="1"/>
            <p:nvPr/>
          </p:nvSpPr>
          <p:spPr>
            <a:xfrm>
              <a:off x="1133372" y="1318643"/>
              <a:ext cx="960276" cy="662556"/>
            </a:xfrm>
            <a:prstGeom prst="rect">
              <a:avLst/>
            </a:prstGeom>
            <a:noFill/>
          </p:spPr>
          <p:txBody>
            <a:bodyPr wrap="square" rtlCol="0">
              <a:spAutoFit/>
            </a:bodyPr>
            <a:lstStyle/>
            <a:p>
              <a:pPr algn="ctr" defTabSz="342892"/>
              <a:r>
                <a:rPr lang="en-US" sz="1200" b="1" dirty="0">
                  <a:solidFill>
                    <a:srgbClr val="FFFF00"/>
                  </a:solidFill>
                </a:rPr>
                <a:t>Digital pattern memory</a:t>
              </a:r>
            </a:p>
          </p:txBody>
        </p:sp>
        <p:sp>
          <p:nvSpPr>
            <p:cNvPr id="17" name="TextBox 16">
              <a:extLst>
                <a:ext uri="{FF2B5EF4-FFF2-40B4-BE49-F238E27FC236}">
                  <a16:creationId xmlns:a16="http://schemas.microsoft.com/office/drawing/2014/main" id="{2528F8CF-10AA-4B18-A04B-2F9B36C090B2}"/>
                </a:ext>
              </a:extLst>
            </p:cNvPr>
            <p:cNvSpPr txBox="1"/>
            <p:nvPr/>
          </p:nvSpPr>
          <p:spPr>
            <a:xfrm rot="16200000">
              <a:off x="-987728" y="3164262"/>
              <a:ext cx="3351527" cy="347680"/>
            </a:xfrm>
            <a:prstGeom prst="rect">
              <a:avLst/>
            </a:prstGeom>
            <a:noFill/>
          </p:spPr>
          <p:txBody>
            <a:bodyPr wrap="square" rtlCol="0">
              <a:spAutoFit/>
            </a:bodyPr>
            <a:lstStyle/>
            <a:p>
              <a:pPr algn="ctr" defTabSz="342892"/>
              <a:r>
                <a:rPr lang="en-US" b="1" dirty="0">
                  <a:solidFill>
                    <a:srgbClr val="FFFF00"/>
                  </a:solidFill>
                </a:rPr>
                <a:t>400 Mbyte/sec 8+2 bit interface </a:t>
              </a:r>
            </a:p>
          </p:txBody>
        </p:sp>
        <p:sp>
          <p:nvSpPr>
            <p:cNvPr id="18" name="TextBox 17">
              <a:extLst>
                <a:ext uri="{FF2B5EF4-FFF2-40B4-BE49-F238E27FC236}">
                  <a16:creationId xmlns:a16="http://schemas.microsoft.com/office/drawing/2014/main" id="{1D8840BD-334B-4D73-A9CD-6CECE64947EC}"/>
                </a:ext>
              </a:extLst>
            </p:cNvPr>
            <p:cNvSpPr txBox="1"/>
            <p:nvPr/>
          </p:nvSpPr>
          <p:spPr>
            <a:xfrm rot="16200000">
              <a:off x="2985767" y="3265009"/>
              <a:ext cx="2091039" cy="340608"/>
            </a:xfrm>
            <a:prstGeom prst="rect">
              <a:avLst/>
            </a:prstGeom>
            <a:noFill/>
          </p:spPr>
          <p:txBody>
            <a:bodyPr wrap="square" rtlCol="0">
              <a:spAutoFit/>
            </a:bodyPr>
            <a:lstStyle/>
            <a:p>
              <a:pPr algn="ctr" defTabSz="342892"/>
              <a:r>
                <a:rPr lang="en-US" b="1" dirty="0">
                  <a:solidFill>
                    <a:srgbClr val="FFFF00"/>
                  </a:solidFill>
                </a:rPr>
                <a:t>Analog IO interface</a:t>
              </a:r>
            </a:p>
          </p:txBody>
        </p:sp>
        <p:sp>
          <p:nvSpPr>
            <p:cNvPr id="19" name="Rectangle 18">
              <a:extLst>
                <a:ext uri="{FF2B5EF4-FFF2-40B4-BE49-F238E27FC236}">
                  <a16:creationId xmlns:a16="http://schemas.microsoft.com/office/drawing/2014/main" id="{EDFA8A9E-C732-4EA5-8816-62245AB480E5}"/>
                </a:ext>
              </a:extLst>
            </p:cNvPr>
            <p:cNvSpPr/>
            <p:nvPr/>
          </p:nvSpPr>
          <p:spPr>
            <a:xfrm>
              <a:off x="1455661" y="2774148"/>
              <a:ext cx="354004" cy="668740"/>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20" name="TextBox 19">
              <a:extLst>
                <a:ext uri="{FF2B5EF4-FFF2-40B4-BE49-F238E27FC236}">
                  <a16:creationId xmlns:a16="http://schemas.microsoft.com/office/drawing/2014/main" id="{DA2F241B-79B9-4844-BD9E-A3A36F3D538E}"/>
                </a:ext>
              </a:extLst>
            </p:cNvPr>
            <p:cNvSpPr txBox="1"/>
            <p:nvPr/>
          </p:nvSpPr>
          <p:spPr>
            <a:xfrm rot="16200000">
              <a:off x="1230808" y="2985543"/>
              <a:ext cx="765405" cy="283840"/>
            </a:xfrm>
            <a:prstGeom prst="rect">
              <a:avLst/>
            </a:prstGeom>
            <a:noFill/>
          </p:spPr>
          <p:txBody>
            <a:bodyPr wrap="square" rtlCol="0">
              <a:spAutoFit/>
            </a:bodyPr>
            <a:lstStyle/>
            <a:p>
              <a:pPr algn="ctr" defTabSz="342892"/>
              <a:r>
                <a:rPr lang="en-US" sz="1400" b="1" dirty="0">
                  <a:solidFill>
                    <a:srgbClr val="FFFF00"/>
                  </a:solidFill>
                </a:rPr>
                <a:t>1 core</a:t>
              </a:r>
            </a:p>
          </p:txBody>
        </p:sp>
        <p:sp>
          <p:nvSpPr>
            <p:cNvPr id="27" name="Rectangle 26">
              <a:extLst>
                <a:ext uri="{FF2B5EF4-FFF2-40B4-BE49-F238E27FC236}">
                  <a16:creationId xmlns:a16="http://schemas.microsoft.com/office/drawing/2014/main" id="{93B0FADB-A6FD-4AF3-A102-D6E1ED1738AC}"/>
                </a:ext>
              </a:extLst>
            </p:cNvPr>
            <p:cNvSpPr/>
            <p:nvPr/>
          </p:nvSpPr>
          <p:spPr>
            <a:xfrm>
              <a:off x="2246048" y="1278739"/>
              <a:ext cx="1353246" cy="702460"/>
            </a:xfrm>
            <a:prstGeom prst="rect">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92"/>
              <a:endParaRPr lang="en-US" sz="1200">
                <a:solidFill>
                  <a:prstClr val="white"/>
                </a:solidFill>
              </a:endParaRPr>
            </a:p>
          </p:txBody>
        </p:sp>
        <p:sp>
          <p:nvSpPr>
            <p:cNvPr id="28" name="TextBox 27">
              <a:extLst>
                <a:ext uri="{FF2B5EF4-FFF2-40B4-BE49-F238E27FC236}">
                  <a16:creationId xmlns:a16="http://schemas.microsoft.com/office/drawing/2014/main" id="{3A4F0E7E-02B4-46DD-BA12-3D95DE57C970}"/>
                </a:ext>
              </a:extLst>
            </p:cNvPr>
            <p:cNvSpPr txBox="1"/>
            <p:nvPr/>
          </p:nvSpPr>
          <p:spPr>
            <a:xfrm>
              <a:off x="2435538" y="1313976"/>
              <a:ext cx="1110978" cy="662556"/>
            </a:xfrm>
            <a:prstGeom prst="rect">
              <a:avLst/>
            </a:prstGeom>
            <a:noFill/>
          </p:spPr>
          <p:txBody>
            <a:bodyPr wrap="square" rtlCol="0">
              <a:spAutoFit/>
            </a:bodyPr>
            <a:lstStyle/>
            <a:p>
              <a:pPr algn="ctr" defTabSz="342892"/>
              <a:r>
                <a:rPr lang="en-US" sz="1200" b="1" dirty="0">
                  <a:solidFill>
                    <a:srgbClr val="FFFF00"/>
                  </a:solidFill>
                </a:rPr>
                <a:t>Device characterization module</a:t>
              </a:r>
            </a:p>
          </p:txBody>
        </p:sp>
      </p:grpSp>
      <p:sp>
        <p:nvSpPr>
          <p:cNvPr id="3" name="TextBox 2">
            <a:extLst>
              <a:ext uri="{FF2B5EF4-FFF2-40B4-BE49-F238E27FC236}">
                <a16:creationId xmlns:a16="http://schemas.microsoft.com/office/drawing/2014/main" id="{E2A4111F-806E-4572-8EA4-6568BF27ED5D}"/>
              </a:ext>
            </a:extLst>
          </p:cNvPr>
          <p:cNvSpPr txBox="1"/>
          <p:nvPr/>
        </p:nvSpPr>
        <p:spPr>
          <a:xfrm>
            <a:off x="1854282" y="1370956"/>
            <a:ext cx="1714765" cy="461665"/>
          </a:xfrm>
          <a:prstGeom prst="rect">
            <a:avLst/>
          </a:prstGeom>
          <a:noFill/>
        </p:spPr>
        <p:txBody>
          <a:bodyPr wrap="none" rtlCol="0">
            <a:spAutoFit/>
          </a:bodyPr>
          <a:lstStyle/>
          <a:p>
            <a:r>
              <a:rPr lang="en-US" sz="2400" b="1" dirty="0"/>
              <a:t>Layout view</a:t>
            </a:r>
          </a:p>
        </p:txBody>
      </p:sp>
      <p:sp>
        <p:nvSpPr>
          <p:cNvPr id="22" name="TextBox 21">
            <a:extLst>
              <a:ext uri="{FF2B5EF4-FFF2-40B4-BE49-F238E27FC236}">
                <a16:creationId xmlns:a16="http://schemas.microsoft.com/office/drawing/2014/main" id="{002D2787-4F7F-4389-A663-3665A3093D71}"/>
              </a:ext>
            </a:extLst>
          </p:cNvPr>
          <p:cNvSpPr txBox="1"/>
          <p:nvPr/>
        </p:nvSpPr>
        <p:spPr>
          <a:xfrm>
            <a:off x="8505013" y="1347565"/>
            <a:ext cx="2172261" cy="461665"/>
          </a:xfrm>
          <a:prstGeom prst="rect">
            <a:avLst/>
          </a:prstGeom>
          <a:noFill/>
        </p:spPr>
        <p:txBody>
          <a:bodyPr wrap="none" rtlCol="0">
            <a:spAutoFit/>
          </a:bodyPr>
          <a:lstStyle/>
          <a:p>
            <a:r>
              <a:rPr lang="en-US" sz="2400" b="1" dirty="0"/>
              <a:t>Die Photograph</a:t>
            </a:r>
          </a:p>
        </p:txBody>
      </p:sp>
      <p:sp>
        <p:nvSpPr>
          <p:cNvPr id="23" name="Rectangle 22">
            <a:extLst>
              <a:ext uri="{FF2B5EF4-FFF2-40B4-BE49-F238E27FC236}">
                <a16:creationId xmlns:a16="http://schemas.microsoft.com/office/drawing/2014/main" id="{71B302D8-145A-4B6F-8DBC-C12A98002C41}"/>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26" name="Footer Placeholder 3">
            <a:extLst>
              <a:ext uri="{FF2B5EF4-FFF2-40B4-BE49-F238E27FC236}">
                <a16:creationId xmlns:a16="http://schemas.microsoft.com/office/drawing/2014/main" id="{80942771-50E8-4B28-B929-6E9F1C8ECBDD}"/>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1186087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qual1 QPU </a:t>
            </a:r>
            <a:r>
              <a:rPr lang="en-US" dirty="0" err="1"/>
              <a:t>SoC</a:t>
            </a:r>
            <a:r>
              <a:rPr lang="en-US" dirty="0"/>
              <a:t> daughter-board assembly</a:t>
            </a:r>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7</a:t>
            </a:fld>
            <a:endParaRPr lang="de-DE" altLang="en-US"/>
          </a:p>
        </p:txBody>
      </p:sp>
      <p:pic>
        <p:nvPicPr>
          <p:cNvPr id="9218" name="Picture 2" descr="https://paper-attachments.dropbox.com/s_D86633EAAF26E42ADC9863E4D66377E661C9E8AC7682A06DB408BD7E2B6CAA51_1555611699166_2019-04-16+17.18.16.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99894" y="1034590"/>
            <a:ext cx="3956047" cy="5274730"/>
          </a:xfrm>
          <a:prstGeom prst="rect">
            <a:avLst/>
          </a:prstGeom>
          <a:noFill/>
          <a:extLst>
            <a:ext uri="{909E8E84-426E-40DD-AFC4-6F175D3DCCD1}">
              <a14:hiddenFill xmlns:a14="http://schemas.microsoft.com/office/drawing/2010/main">
                <a:solidFill>
                  <a:srgbClr val="FFFFFF"/>
                </a:solidFill>
              </a14:hiddenFill>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951984" y="1052737"/>
            <a:ext cx="4226562" cy="5252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827749" y="1304764"/>
            <a:ext cx="3591689" cy="523220"/>
          </a:xfrm>
          <a:prstGeom prst="rect">
            <a:avLst/>
          </a:prstGeom>
          <a:noFill/>
        </p:spPr>
        <p:txBody>
          <a:bodyPr wrap="none" rtlCol="0">
            <a:spAutoFit/>
          </a:bodyPr>
          <a:lstStyle/>
          <a:p>
            <a:r>
              <a:rPr lang="en-US" sz="2800" b="1" i="1" dirty="0">
                <a:effectLst>
                  <a:outerShdw blurRad="38100" dist="38100" dir="2700000" algn="tl">
                    <a:srgbClr val="000000">
                      <a:alpha val="43137"/>
                    </a:srgbClr>
                  </a:outerShdw>
                </a:effectLst>
              </a:rPr>
              <a:t>Equal1 22FDX QPU </a:t>
            </a:r>
            <a:r>
              <a:rPr lang="en-US" sz="2800" b="1" i="1" dirty="0" err="1">
                <a:effectLst>
                  <a:outerShdw blurRad="38100" dist="38100" dir="2700000" algn="tl">
                    <a:srgbClr val="000000">
                      <a:alpha val="43137"/>
                    </a:srgbClr>
                  </a:outerShdw>
                </a:effectLst>
              </a:rPr>
              <a:t>SoC</a:t>
            </a:r>
            <a:endParaRPr lang="en-US" sz="2800" b="1" i="1" dirty="0">
              <a:effectLst>
                <a:outerShdw blurRad="38100" dist="38100" dir="2700000" algn="tl">
                  <a:srgbClr val="000000">
                    <a:alpha val="43137"/>
                  </a:srgbClr>
                </a:outerShdw>
              </a:effectLst>
            </a:endParaRPr>
          </a:p>
        </p:txBody>
      </p:sp>
      <p:cxnSp>
        <p:nvCxnSpPr>
          <p:cNvPr id="8" name="Straight Arrow Connector 7"/>
          <p:cNvCxnSpPr>
            <a:cxnSpLocks/>
            <a:stCxn id="6" idx="2"/>
          </p:cNvCxnSpPr>
          <p:nvPr/>
        </p:nvCxnSpPr>
        <p:spPr>
          <a:xfrm flipH="1">
            <a:off x="2891645" y="1827984"/>
            <a:ext cx="2731949" cy="12049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cxnSpLocks/>
            <a:stCxn id="6" idx="2"/>
          </p:cNvCxnSpPr>
          <p:nvPr/>
        </p:nvCxnSpPr>
        <p:spPr>
          <a:xfrm>
            <a:off x="5623593" y="1827985"/>
            <a:ext cx="2467796" cy="162131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670D7289-DD9C-494A-A091-196CFC8DB137}"/>
              </a:ext>
            </a:extLst>
          </p:cNvPr>
          <p:cNvSpPr txBox="1"/>
          <p:nvPr/>
        </p:nvSpPr>
        <p:spPr>
          <a:xfrm>
            <a:off x="1650937" y="5454078"/>
            <a:ext cx="3563668" cy="738664"/>
          </a:xfrm>
          <a:prstGeom prst="rect">
            <a:avLst/>
          </a:prstGeom>
          <a:noFill/>
        </p:spPr>
        <p:txBody>
          <a:bodyPr wrap="none" rtlCol="0">
            <a:spAutoFit/>
          </a:bodyPr>
          <a:lstStyle/>
          <a:p>
            <a:pPr marL="285750" indent="-285750">
              <a:buFont typeface="Arial" panose="020B0604020202020204" pitchFamily="34" charset="0"/>
              <a:buChar char="•"/>
            </a:pPr>
            <a:r>
              <a:rPr lang="en-US" sz="1400" dirty="0"/>
              <a:t>3x3 mm^2 QPU with 28 experimental cells</a:t>
            </a:r>
          </a:p>
          <a:p>
            <a:pPr marL="285750" indent="-285750">
              <a:buFont typeface="Arial" panose="020B0604020202020204" pitchFamily="34" charset="0"/>
              <a:buChar char="•"/>
            </a:pPr>
            <a:r>
              <a:rPr lang="en-US" sz="1400" dirty="0"/>
              <a:t>143 pin </a:t>
            </a:r>
            <a:r>
              <a:rPr lang="en-US" sz="1400" dirty="0" err="1"/>
              <a:t>uBGA</a:t>
            </a:r>
            <a:r>
              <a:rPr lang="en-US" sz="1400" dirty="0"/>
              <a:t> with 250um pitch</a:t>
            </a:r>
          </a:p>
          <a:p>
            <a:pPr marL="285750" indent="-285750">
              <a:buFont typeface="Arial" panose="020B0604020202020204" pitchFamily="34" charset="0"/>
              <a:buChar char="•"/>
            </a:pPr>
            <a:r>
              <a:rPr lang="en-US" sz="1400" dirty="0"/>
              <a:t>fully verified design</a:t>
            </a:r>
          </a:p>
        </p:txBody>
      </p:sp>
      <p:sp>
        <p:nvSpPr>
          <p:cNvPr id="12" name="Rectangle 11">
            <a:extLst>
              <a:ext uri="{FF2B5EF4-FFF2-40B4-BE49-F238E27FC236}">
                <a16:creationId xmlns:a16="http://schemas.microsoft.com/office/drawing/2014/main" id="{4DEB2E23-4A26-4E82-98D3-9A70934E7D48}"/>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4" name="Footer Placeholder 3">
            <a:extLst>
              <a:ext uri="{FF2B5EF4-FFF2-40B4-BE49-F238E27FC236}">
                <a16:creationId xmlns:a16="http://schemas.microsoft.com/office/drawing/2014/main" id="{63ADC30B-D8DE-4B93-BDF2-52DA5C2075B1}"/>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2386923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ryo</a:t>
            </a:r>
            <a:r>
              <a:rPr lang="en-US" dirty="0"/>
              <a:t>-Finger Assembly</a:t>
            </a:r>
          </a:p>
        </p:txBody>
      </p:sp>
      <p:sp>
        <p:nvSpPr>
          <p:cNvPr id="5" name="Slide Number Placeholder 4"/>
          <p:cNvSpPr>
            <a:spLocks noGrp="1"/>
          </p:cNvSpPr>
          <p:nvPr>
            <p:ph type="sldNum" sz="quarter" idx="12"/>
          </p:nvPr>
        </p:nvSpPr>
        <p:spPr/>
        <p:txBody>
          <a:bodyPr/>
          <a:lstStyle/>
          <a:p>
            <a:fld id="{BDDA4418-520B-4E43-A742-115F1EFE0E3F}" type="slidenum">
              <a:rPr lang="de-DE" altLang="en-US" smtClean="0"/>
              <a:pPr/>
              <a:t>8</a:t>
            </a:fld>
            <a:endParaRPr lang="de-DE" altLang="en-US"/>
          </a:p>
        </p:txBody>
      </p:sp>
      <p:sp>
        <p:nvSpPr>
          <p:cNvPr id="7" name="AutoShape 2" descr="https://paper.dropbox.com/ep/redirect/image?url=https%3A%2F%2Fpaper-attachments.dropbox.com%2Fs_D86633EAAF26E42ADC9863E4D66377E661C9E8AC7682A06DB408BD7E2B6CAA51_1555611699476_2019-04-16%2B17.06.38.jpg&amp;hmac=%2B%2FvU2F4kXmSMfAjQrIQQImCBDXElqRPwqbCg3xCg79E%3D"/>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43" name="Picture 3"/>
          <p:cNvPicPr>
            <a:picLocks noGrp="1" noChangeAspect="1" noChangeArrowheads="1"/>
          </p:cNvPicPr>
          <p:nvPr>
            <p:ph idx="1"/>
          </p:nvPr>
        </p:nvPicPr>
        <p:blipFill>
          <a:blip r:embed="rId2" cstate="screen">
            <a:extLst>
              <a:ext uri="{28A0092B-C50C-407E-A947-70E740481C1C}">
                <a14:useLocalDpi xmlns:a14="http://schemas.microsoft.com/office/drawing/2010/main"/>
              </a:ext>
            </a:extLst>
          </a:blip>
          <a:srcRect/>
          <a:stretch>
            <a:fillRect/>
          </a:stretch>
        </p:blipFill>
        <p:spPr bwMode="auto">
          <a:xfrm>
            <a:off x="1511076" y="991258"/>
            <a:ext cx="4692937" cy="34189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4"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47210" y="2412133"/>
            <a:ext cx="4620790" cy="3897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a:extLst>
              <a:ext uri="{FF2B5EF4-FFF2-40B4-BE49-F238E27FC236}">
                <a16:creationId xmlns:a16="http://schemas.microsoft.com/office/drawing/2014/main" id="{359DA44C-67DF-45F9-9E3E-CBB880A4E621}"/>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10" name="Footer Placeholder 3">
            <a:extLst>
              <a:ext uri="{FF2B5EF4-FFF2-40B4-BE49-F238E27FC236}">
                <a16:creationId xmlns:a16="http://schemas.microsoft.com/office/drawing/2014/main" id="{05526A25-D45D-4DA1-A7E7-9152316A88A4}"/>
              </a:ext>
            </a:extLst>
          </p:cNvPr>
          <p:cNvSpPr>
            <a:spLocks noGrp="1"/>
          </p:cNvSpPr>
          <p:nvPr>
            <p:ph type="ftr" sz="quarter" idx="11"/>
          </p:nvPr>
        </p:nvSpPr>
        <p:spPr>
          <a:xfrm>
            <a:off x="353005" y="6478923"/>
            <a:ext cx="1677890" cy="202741"/>
          </a:xfrm>
        </p:spPr>
        <p:txBody>
          <a:bodyPr/>
          <a:lstStyle/>
          <a:p>
            <a:pPr>
              <a:defRPr/>
            </a:pPr>
            <a:r>
              <a:rPr lang="en-US" altLang="en-US" dirty="0"/>
              <a:t>© 2019 Equal 1 Inc.  </a:t>
            </a:r>
            <a:endParaRPr lang="de-DE" altLang="en-US" dirty="0"/>
          </a:p>
        </p:txBody>
      </p:sp>
    </p:spTree>
    <p:extLst>
      <p:ext uri="{BB962C8B-B14F-4D97-AF65-F5344CB8AC3E}">
        <p14:creationId xmlns:p14="http://schemas.microsoft.com/office/powerpoint/2010/main" val="4820294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 name="Picture 134"/>
          <p:cNvPicPr/>
          <p:nvPr/>
        </p:nvPicPr>
        <p:blipFill>
          <a:blip r:embed="rId2"/>
          <a:stretch/>
        </p:blipFill>
        <p:spPr>
          <a:xfrm>
            <a:off x="5909268" y="1196752"/>
            <a:ext cx="5191288" cy="4899777"/>
          </a:xfrm>
          <a:prstGeom prst="rect">
            <a:avLst/>
          </a:prstGeom>
          <a:ln>
            <a:noFill/>
          </a:ln>
        </p:spPr>
      </p:pic>
      <p:sp>
        <p:nvSpPr>
          <p:cNvPr id="2" name="Title 1">
            <a:extLst>
              <a:ext uri="{FF2B5EF4-FFF2-40B4-BE49-F238E27FC236}">
                <a16:creationId xmlns:a16="http://schemas.microsoft.com/office/drawing/2014/main" id="{DEC8BB0D-E6F3-4BC3-AED6-37A9288CE590}"/>
              </a:ext>
            </a:extLst>
          </p:cNvPr>
          <p:cNvSpPr>
            <a:spLocks noGrp="1"/>
          </p:cNvSpPr>
          <p:nvPr>
            <p:ph type="title"/>
          </p:nvPr>
        </p:nvSpPr>
        <p:spPr/>
        <p:txBody>
          <a:bodyPr/>
          <a:lstStyle/>
          <a:p>
            <a:r>
              <a:rPr lang="en-US" dirty="0"/>
              <a:t>Full system integration is single 32U 19 inch rack</a:t>
            </a:r>
          </a:p>
        </p:txBody>
      </p:sp>
      <p:sp>
        <p:nvSpPr>
          <p:cNvPr id="3" name="Content Placeholder 2">
            <a:extLst>
              <a:ext uri="{FF2B5EF4-FFF2-40B4-BE49-F238E27FC236}">
                <a16:creationId xmlns:a16="http://schemas.microsoft.com/office/drawing/2014/main" id="{107F08A6-24A7-4272-9A4F-5EAC77B95343}"/>
              </a:ext>
            </a:extLst>
          </p:cNvPr>
          <p:cNvSpPr>
            <a:spLocks noGrp="1"/>
          </p:cNvSpPr>
          <p:nvPr>
            <p:ph idx="1"/>
          </p:nvPr>
        </p:nvSpPr>
        <p:spPr>
          <a:xfrm>
            <a:off x="596516" y="5336750"/>
            <a:ext cx="4777402" cy="759780"/>
          </a:xfrm>
        </p:spPr>
        <p:txBody>
          <a:bodyPr/>
          <a:lstStyle/>
          <a:p>
            <a:r>
              <a:rPr lang="en-US" dirty="0"/>
              <a:t>4K operation allow compact </a:t>
            </a:r>
            <a:r>
              <a:rPr lang="en-US" dirty="0" err="1"/>
              <a:t>cryo</a:t>
            </a:r>
            <a:r>
              <a:rPr lang="en-US" dirty="0"/>
              <a:t> setup with large cooling capacity</a:t>
            </a:r>
          </a:p>
          <a:p>
            <a:pPr marL="0" indent="0">
              <a:buNone/>
            </a:pPr>
            <a:endParaRPr lang="en-US" dirty="0"/>
          </a:p>
        </p:txBody>
      </p:sp>
      <p:sp>
        <p:nvSpPr>
          <p:cNvPr id="8" name="Rectangle 7">
            <a:extLst>
              <a:ext uri="{FF2B5EF4-FFF2-40B4-BE49-F238E27FC236}">
                <a16:creationId xmlns:a16="http://schemas.microsoft.com/office/drawing/2014/main" id="{386AA131-DFC8-4476-A16B-9CF2E4628A2E}"/>
              </a:ext>
            </a:extLst>
          </p:cNvPr>
          <p:cNvSpPr/>
          <p:nvPr/>
        </p:nvSpPr>
        <p:spPr>
          <a:xfrm>
            <a:off x="2639616" y="6453335"/>
            <a:ext cx="6341875" cy="253916"/>
          </a:xfrm>
          <a:prstGeom prst="rect">
            <a:avLst/>
          </a:prstGeom>
        </p:spPr>
        <p:txBody>
          <a:bodyPr wrap="square">
            <a:spAutoFit/>
          </a:bodyPr>
          <a:lstStyle/>
          <a:p>
            <a:r>
              <a:rPr lang="en-IE" sz="1050" b="1" dirty="0">
                <a:solidFill>
                  <a:srgbClr val="003366"/>
                </a:solidFill>
                <a:latin typeface="Helvetica Neue" panose="02000503000000020004" pitchFamily="2" charset="0"/>
              </a:rPr>
              <a:t>International Workshop on Cryogenic Electronics for quantum Systems, Fermilab June 19, 2019</a:t>
            </a:r>
          </a:p>
        </p:txBody>
      </p:sp>
      <p:sp>
        <p:nvSpPr>
          <p:cNvPr id="9" name="Footer Placeholder 3">
            <a:extLst>
              <a:ext uri="{FF2B5EF4-FFF2-40B4-BE49-F238E27FC236}">
                <a16:creationId xmlns:a16="http://schemas.microsoft.com/office/drawing/2014/main" id="{9E06B71E-EE97-424A-8F13-5F0391E5A342}"/>
              </a:ext>
            </a:extLst>
          </p:cNvPr>
          <p:cNvSpPr txBox="1">
            <a:spLocks/>
          </p:cNvSpPr>
          <p:nvPr/>
        </p:nvSpPr>
        <p:spPr>
          <a:xfrm>
            <a:off x="353005" y="6478923"/>
            <a:ext cx="1677890" cy="202741"/>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ctr" defTabSz="457200" rtl="0" eaLnBrk="1" fontAlgn="base" hangingPunct="1">
              <a:spcBef>
                <a:spcPct val="0"/>
              </a:spcBef>
              <a:spcAft>
                <a:spcPct val="0"/>
              </a:spcAft>
              <a:defRPr sz="1200" kern="1200">
                <a:solidFill>
                  <a:srgbClr val="898989"/>
                </a:solidFill>
                <a:latin typeface="Calibri" pitchFamily="34" charset="0"/>
                <a:ea typeface="ＭＳ Ｐゴシック" charset="-128"/>
                <a:cs typeface="+mn-cs"/>
              </a:defRPr>
            </a:lvl1pPr>
            <a:lvl2pPr marL="0" lvl="1" algn="ctr" defTabSz="457200" rtl="0" eaLnBrk="1" fontAlgn="auto" hangingPunct="1">
              <a:spcBef>
                <a:spcPts val="0"/>
              </a:spcBef>
              <a:spcAft>
                <a:spcPts val="0"/>
              </a:spcAft>
              <a:defRPr sz="1400" kern="1200">
                <a:solidFill>
                  <a:schemeClr val="tx1"/>
                </a:solidFill>
                <a:latin typeface="+mn-lt"/>
                <a:ea typeface="+mn-ea"/>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a:lstStyle>
          <a:p>
            <a:pPr>
              <a:defRPr/>
            </a:pPr>
            <a:r>
              <a:rPr lang="en-US" altLang="en-US"/>
              <a:t>© 2019 Equal 1 Inc.  </a:t>
            </a:r>
            <a:endParaRPr lang="de-DE" altLang="en-US" dirty="0"/>
          </a:p>
        </p:txBody>
      </p:sp>
      <p:pic>
        <p:nvPicPr>
          <p:cNvPr id="12" name="Picture 11">
            <a:extLst>
              <a:ext uri="{FF2B5EF4-FFF2-40B4-BE49-F238E27FC236}">
                <a16:creationId xmlns:a16="http://schemas.microsoft.com/office/drawing/2014/main" id="{9C091E12-94EA-44DE-9C5D-DF98F851CEE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400000">
            <a:off x="404840" y="1703336"/>
            <a:ext cx="4052667" cy="3039500"/>
          </a:xfrm>
          <a:prstGeom prst="rect">
            <a:avLst/>
          </a:prstGeom>
        </p:spPr>
      </p:pic>
    </p:spTree>
    <p:extLst>
      <p:ext uri="{BB962C8B-B14F-4D97-AF65-F5344CB8AC3E}">
        <p14:creationId xmlns:p14="http://schemas.microsoft.com/office/powerpoint/2010/main" val="2628509940"/>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CLTPnCmSZKr2qhyTjpH3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108</TotalTime>
  <Words>2206</Words>
  <Application>Microsoft Macintosh PowerPoint</Application>
  <PresentationFormat>Widescreen</PresentationFormat>
  <Paragraphs>332</Paragraphs>
  <Slides>3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30</vt:i4>
      </vt:variant>
    </vt:vector>
  </HeadingPairs>
  <TitlesOfParts>
    <vt:vector size="38" baseType="lpstr">
      <vt:lpstr>Arial</vt:lpstr>
      <vt:lpstr>Calibri</vt:lpstr>
      <vt:lpstr>Calibri Light</vt:lpstr>
      <vt:lpstr>Helvetica Neue</vt:lpstr>
      <vt:lpstr>Symbol</vt:lpstr>
      <vt:lpstr>Office Theme</vt:lpstr>
      <vt:lpstr>think-cell Slide</vt:lpstr>
      <vt:lpstr>Equation.DSMT4</vt:lpstr>
      <vt:lpstr>Fully integrated quantum computing SOC in 22nm FD-SOI</vt:lpstr>
      <vt:lpstr>Team is based out of Silicon Valley &amp; Dublin, Ireland</vt:lpstr>
      <vt:lpstr>Silicon based charge qubit based approach with spin twist</vt:lpstr>
      <vt:lpstr>WKB Schrodinger formalism: Chord line 3D to 1D reduction</vt:lpstr>
      <vt:lpstr>Schrodinger formalism: analysis of 8-well system</vt:lpstr>
      <vt:lpstr>Quantum computing SOC die photogragh</vt:lpstr>
      <vt:lpstr>Equal1 QPU SoC daughter-board assembly</vt:lpstr>
      <vt:lpstr>Cryo-Finger Assembly</vt:lpstr>
      <vt:lpstr>Full system integration is single 32U 19 inch rack</vt:lpstr>
      <vt:lpstr>Equal1 Cryo Measurement Machine</vt:lpstr>
      <vt:lpstr>equal1.labs: all for one and one for all!</vt:lpstr>
      <vt:lpstr>Early observations of transistor behavior</vt:lpstr>
      <vt:lpstr>Key 22FDX Advantage for Cryogenic Electronics</vt:lpstr>
      <vt:lpstr>entangled quantum aperture logic 1 dimensional = equal1</vt:lpstr>
      <vt:lpstr>QC SOC block diagram</vt:lpstr>
      <vt:lpstr>Floorplan of QC electronics and qubit cell</vt:lpstr>
      <vt:lpstr>Reference voltage generations</vt:lpstr>
      <vt:lpstr>qd_frame integrates qd_frame_10</vt:lpstr>
      <vt:lpstr>cdac_8bt inverter switched-cap CDAC Extraction</vt:lpstr>
      <vt:lpstr>CDAC design layout</vt:lpstr>
      <vt:lpstr>Veriloga Qcell Model for system level verification</vt:lpstr>
      <vt:lpstr>Quantum core schematic and layout</vt:lpstr>
      <vt:lpstr>Single electron detector readout</vt:lpstr>
      <vt:lpstr>Single electron operation on Quantum cell verified</vt:lpstr>
      <vt:lpstr>Single electron detector statistics</vt:lpstr>
      <vt:lpstr>Current state of qubit measurements</vt:lpstr>
      <vt:lpstr>Alpha2 test chip</vt:lpstr>
      <vt:lpstr>Alpha2: 219 qubit SOC-QC system</vt:lpstr>
      <vt:lpstr>219 Qbit structure</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al Quantum dot with controlled barrier height and dual side loading</dc:title>
  <dc:creator>Birgit Leipold</dc:creator>
  <cp:lastModifiedBy>Dirk Leipold</cp:lastModifiedBy>
  <cp:revision>1821</cp:revision>
  <cp:lastPrinted>2015-11-16T03:06:37Z</cp:lastPrinted>
  <dcterms:created xsi:type="dcterms:W3CDTF">2015-10-11T21:07:27Z</dcterms:created>
  <dcterms:modified xsi:type="dcterms:W3CDTF">2019-06-25T14:53:39Z</dcterms:modified>
</cp:coreProperties>
</file>